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740" r:id="rId2"/>
    <p:sldId id="902" r:id="rId3"/>
    <p:sldId id="908" r:id="rId4"/>
    <p:sldId id="827" r:id="rId5"/>
    <p:sldId id="894" r:id="rId6"/>
    <p:sldId id="882" r:id="rId7"/>
    <p:sldId id="883" r:id="rId8"/>
    <p:sldId id="884" r:id="rId9"/>
    <p:sldId id="917" r:id="rId10"/>
    <p:sldId id="896" r:id="rId11"/>
    <p:sldId id="912" r:id="rId12"/>
    <p:sldId id="899" r:id="rId13"/>
    <p:sldId id="914" r:id="rId14"/>
    <p:sldId id="918" r:id="rId15"/>
    <p:sldId id="916" r:id="rId16"/>
    <p:sldId id="901" r:id="rId17"/>
    <p:sldId id="913" r:id="rId18"/>
    <p:sldId id="895" r:id="rId19"/>
  </p:sldIdLst>
  <p:sldSz cx="9144000" cy="5143500" type="screen16x9"/>
  <p:notesSz cx="6797675" cy="9926638"/>
  <p:defaultTextStyle>
    <a:defPPr>
      <a:defRPr lang="ru-RU"/>
    </a:defPPr>
    <a:lvl1pPr marL="0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626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298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940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597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225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857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511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3165" algn="l" defTabSz="91329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6600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157" autoAdjust="0"/>
    <p:restoredTop sz="99542" autoAdjust="0"/>
  </p:normalViewPr>
  <p:slideViewPr>
    <p:cSldViewPr>
      <p:cViewPr varScale="1">
        <p:scale>
          <a:sx n="97" d="100"/>
          <a:sy n="97" d="100"/>
        </p:scale>
        <p:origin x="948" y="7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3360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6351" cy="496095"/>
          </a:xfrm>
          <a:prstGeom prst="rect">
            <a:avLst/>
          </a:prstGeom>
        </p:spPr>
        <p:txBody>
          <a:bodyPr vert="horz" lIns="91388" tIns="45694" rIns="91388" bIns="4569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733" y="3"/>
            <a:ext cx="2946351" cy="496095"/>
          </a:xfrm>
          <a:prstGeom prst="rect">
            <a:avLst/>
          </a:prstGeom>
        </p:spPr>
        <p:txBody>
          <a:bodyPr vert="horz" lIns="91388" tIns="45694" rIns="91388" bIns="45694" rtlCol="0"/>
          <a:lstStyle>
            <a:lvl1pPr algn="r">
              <a:defRPr sz="1200"/>
            </a:lvl1pPr>
          </a:lstStyle>
          <a:p>
            <a:fld id="{C18C4FA8-EEA5-4FFC-808A-1FA1FA6BA0D7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88" tIns="45694" rIns="91388" bIns="4569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33" y="4715277"/>
            <a:ext cx="5437821" cy="4466432"/>
          </a:xfrm>
          <a:prstGeom prst="rect">
            <a:avLst/>
          </a:prstGeom>
        </p:spPr>
        <p:txBody>
          <a:bodyPr vert="horz" lIns="91388" tIns="45694" rIns="91388" bIns="4569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965"/>
            <a:ext cx="2946351" cy="496094"/>
          </a:xfrm>
          <a:prstGeom prst="rect">
            <a:avLst/>
          </a:prstGeom>
        </p:spPr>
        <p:txBody>
          <a:bodyPr vert="horz" lIns="91388" tIns="45694" rIns="91388" bIns="4569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733" y="9428965"/>
            <a:ext cx="2946351" cy="496094"/>
          </a:xfrm>
          <a:prstGeom prst="rect">
            <a:avLst/>
          </a:prstGeom>
        </p:spPr>
        <p:txBody>
          <a:bodyPr vert="horz" lIns="91388" tIns="45694" rIns="91388" bIns="45694" rtlCol="0" anchor="b"/>
          <a:lstStyle>
            <a:lvl1pPr algn="r">
              <a:defRPr sz="1200"/>
            </a:lvl1pPr>
          </a:lstStyle>
          <a:p>
            <a:fld id="{57A82366-3086-43CD-8E80-C26FBCA0868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521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626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298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940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597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225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857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511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165" algn="l" defTabSz="91329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3863" y="1241425"/>
            <a:ext cx="5949950" cy="3346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4613" fontAlgn="base">
              <a:spcBef>
                <a:spcPct val="0"/>
              </a:spcBef>
              <a:spcAft>
                <a:spcPct val="0"/>
              </a:spcAft>
              <a:defRPr/>
            </a:pPr>
            <a:fld id="{3BC686FE-C311-4EA8-B7B1-A1A59BD42A53}" type="slidenum">
              <a:rPr lang="ru-RU">
                <a:solidFill>
                  <a:prstClr val="black"/>
                </a:solidFill>
                <a:latin typeface="Arial" charset="0"/>
              </a:rPr>
              <a:pPr defTabSz="904613"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ru-RU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5460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63513" y="1350963"/>
            <a:ext cx="6470650" cy="36401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z="1100"/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95445" indent="-190557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762226" indent="-15244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067115" indent="-15244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372006" indent="-152444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676897" indent="-15244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1981786" indent="-15244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2286678" indent="-15244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2591568" indent="-152444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BC116FB0-2BDF-4304-A375-200A2D542714}" type="slidenum">
              <a:rPr lang="ru-RU" altLang="ru-RU" smtClean="0">
                <a:solidFill>
                  <a:srgbClr val="000000"/>
                </a:solidFill>
              </a:rPr>
              <a:pPr/>
              <a:t>1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5527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B8B8E-8B43-40EE-BAEF-3A2043EDF85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5434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95288" y="1220788"/>
            <a:ext cx="5854700" cy="32940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92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0130" indent="-284666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8661" indent="-22773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4126" indent="-22773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9591" indent="-22773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5056" indent="-2277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60521" indent="-2277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5983" indent="-2277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1449" indent="-22773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26481AEB-ECDF-4D5C-A7A9-610467DFEBD3}" type="slidenum">
              <a:rPr lang="ru-RU" altLang="ru-RU">
                <a:solidFill>
                  <a:srgbClr val="000000"/>
                </a:solidFill>
                <a:latin typeface="Arial" charset="0"/>
              </a:rPr>
              <a:pPr eaLnBrk="1" hangingPunct="1"/>
              <a:t>4</a:t>
            </a:fld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3612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58813" y="1770063"/>
            <a:ext cx="8491537" cy="47767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1076700" indent="-414116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656460" indent="-331292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2319046" indent="-331292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981632" indent="-331292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3644215" indent="-3312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4306801" indent="-3312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4969389" indent="-3312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5631974" indent="-331292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AA39C48C-C0E0-464C-9550-E574E75FD3B4}" type="slidenum">
              <a:rPr lang="ru-RU" altLang="ru-RU" smtClean="0">
                <a:solidFill>
                  <a:srgbClr val="000000"/>
                </a:solidFill>
                <a:latin typeface="Arial" pitchFamily="34" charset="0"/>
              </a:rPr>
              <a:pPr/>
              <a:t>5</a:t>
            </a:fld>
            <a:endParaRPr lang="ru-RU" altLang="ru-RU">
              <a:solidFill>
                <a:srgbClr val="000000"/>
              </a:solidFill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7D9F92-551B-4F7E-A6AB-DABAED57D973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333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CC5590-7C03-4F50-96A8-B60CF49D30D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1451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6218" indent="-286153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7783" indent="-22924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6263" indent="-22924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66326" indent="-229241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21647" indent="-2292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6964" indent="-2292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32284" indent="-2292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7602" indent="-2292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fld id="{CF98ACA2-441A-4E54-A326-57DEA02D474F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170847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2B69E2-7C4F-4C23-A62B-6ECB71BF1991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77712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9D771AB-6DA9-4B6C-A349-029149995FE1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50344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0470" indent="-28479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39181" indent="-227831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594853" indent="-227831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0525" indent="-227831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06201" indent="-2278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61873" indent="-2278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17546" indent="-2278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73223" indent="-22783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fld id="{68666B48-49AA-49A4-A030-60065E0F5105}" type="slidenum">
              <a:rPr lang="ru-RU">
                <a:solidFill>
                  <a:prstClr val="black"/>
                </a:solidFill>
              </a:rPr>
              <a:pPr eaLnBrk="1" hangingPunct="1"/>
              <a:t>14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56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9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2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5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3815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7130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39749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015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3517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62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29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99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65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32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98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65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31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82611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900114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9604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6" indent="0">
              <a:buNone/>
              <a:defRPr sz="2000" b="1"/>
            </a:lvl2pPr>
            <a:lvl3pPr marL="913298" indent="0">
              <a:buNone/>
              <a:defRPr sz="1800" b="1"/>
            </a:lvl3pPr>
            <a:lvl4pPr marL="1369940" indent="0">
              <a:buNone/>
              <a:defRPr sz="1600" b="1"/>
            </a:lvl4pPr>
            <a:lvl5pPr marL="1826597" indent="0">
              <a:buNone/>
              <a:defRPr sz="1600" b="1"/>
            </a:lvl5pPr>
            <a:lvl6pPr marL="2283225" indent="0">
              <a:buNone/>
              <a:defRPr sz="1600" b="1"/>
            </a:lvl6pPr>
            <a:lvl7pPr marL="2739857" indent="0">
              <a:buNone/>
              <a:defRPr sz="1600" b="1"/>
            </a:lvl7pPr>
            <a:lvl8pPr marL="3196511" indent="0">
              <a:buNone/>
              <a:defRPr sz="1600" b="1"/>
            </a:lvl8pPr>
            <a:lvl9pPr marL="365316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6" indent="0">
              <a:buNone/>
              <a:defRPr sz="2000" b="1"/>
            </a:lvl2pPr>
            <a:lvl3pPr marL="913298" indent="0">
              <a:buNone/>
              <a:defRPr sz="1800" b="1"/>
            </a:lvl3pPr>
            <a:lvl4pPr marL="1369940" indent="0">
              <a:buNone/>
              <a:defRPr sz="1600" b="1"/>
            </a:lvl4pPr>
            <a:lvl5pPr marL="1826597" indent="0">
              <a:buNone/>
              <a:defRPr sz="1600" b="1"/>
            </a:lvl5pPr>
            <a:lvl6pPr marL="2283225" indent="0">
              <a:buNone/>
              <a:defRPr sz="1600" b="1"/>
            </a:lvl6pPr>
            <a:lvl7pPr marL="2739857" indent="0">
              <a:buNone/>
              <a:defRPr sz="1600" b="1"/>
            </a:lvl7pPr>
            <a:lvl8pPr marL="3196511" indent="0">
              <a:buNone/>
              <a:defRPr sz="1600" b="1"/>
            </a:lvl8pPr>
            <a:lvl9pPr marL="365316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6109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825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8343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626" indent="0">
              <a:buNone/>
              <a:defRPr sz="1200"/>
            </a:lvl2pPr>
            <a:lvl3pPr marL="913298" indent="0">
              <a:buNone/>
              <a:defRPr sz="1000"/>
            </a:lvl3pPr>
            <a:lvl4pPr marL="1369940" indent="0">
              <a:buNone/>
              <a:defRPr sz="900"/>
            </a:lvl4pPr>
            <a:lvl5pPr marL="1826597" indent="0">
              <a:buNone/>
              <a:defRPr sz="900"/>
            </a:lvl5pPr>
            <a:lvl6pPr marL="2283225" indent="0">
              <a:buNone/>
              <a:defRPr sz="900"/>
            </a:lvl6pPr>
            <a:lvl7pPr marL="2739857" indent="0">
              <a:buNone/>
              <a:defRPr sz="900"/>
            </a:lvl7pPr>
            <a:lvl8pPr marL="3196511" indent="0">
              <a:buNone/>
              <a:defRPr sz="900"/>
            </a:lvl8pPr>
            <a:lvl9pPr marL="3653165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2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626" indent="0">
              <a:buNone/>
              <a:defRPr sz="2800"/>
            </a:lvl2pPr>
            <a:lvl3pPr marL="913298" indent="0">
              <a:buNone/>
              <a:defRPr sz="2400"/>
            </a:lvl3pPr>
            <a:lvl4pPr marL="1369940" indent="0">
              <a:buNone/>
              <a:defRPr sz="2000"/>
            </a:lvl4pPr>
            <a:lvl5pPr marL="1826597" indent="0">
              <a:buNone/>
              <a:defRPr sz="2000"/>
            </a:lvl5pPr>
            <a:lvl6pPr marL="2283225" indent="0">
              <a:buNone/>
              <a:defRPr sz="2000"/>
            </a:lvl6pPr>
            <a:lvl7pPr marL="2739857" indent="0">
              <a:buNone/>
              <a:defRPr sz="2000"/>
            </a:lvl7pPr>
            <a:lvl8pPr marL="3196511" indent="0">
              <a:buNone/>
              <a:defRPr sz="2000"/>
            </a:lvl8pPr>
            <a:lvl9pPr marL="3653165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3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626" indent="0">
              <a:buNone/>
              <a:defRPr sz="1200"/>
            </a:lvl2pPr>
            <a:lvl3pPr marL="913298" indent="0">
              <a:buNone/>
              <a:defRPr sz="1000"/>
            </a:lvl3pPr>
            <a:lvl4pPr marL="1369940" indent="0">
              <a:buNone/>
              <a:defRPr sz="900"/>
            </a:lvl4pPr>
            <a:lvl5pPr marL="1826597" indent="0">
              <a:buNone/>
              <a:defRPr sz="900"/>
            </a:lvl5pPr>
            <a:lvl6pPr marL="2283225" indent="0">
              <a:buNone/>
              <a:defRPr sz="900"/>
            </a:lvl6pPr>
            <a:lvl7pPr marL="2739857" indent="0">
              <a:buNone/>
              <a:defRPr sz="900"/>
            </a:lvl7pPr>
            <a:lvl8pPr marL="3196511" indent="0">
              <a:buNone/>
              <a:defRPr sz="900"/>
            </a:lvl8pPr>
            <a:lvl9pPr marL="3653165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241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336" tIns="45666" rIns="91336" bIns="45666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336" tIns="45666" rIns="91336" bIns="4566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336" tIns="45666" rIns="91336" bIns="4566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095F4C-1EAE-47D7-B68B-5FC89FF24159}" type="datetimeFigureOut">
              <a:rPr lang="ru-RU" smtClean="0"/>
              <a:t>15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336" tIns="45666" rIns="91336" bIns="4566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336" tIns="45666" rIns="91336" bIns="4566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A95C97-3E0F-43B5-B08E-92A3F97641B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02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329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473" indent="-342473" algn="l" defTabSz="91329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064" indent="-285405" algn="l" defTabSz="91329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615" indent="-228317" algn="l" defTabSz="91329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8254" indent="-228317" algn="l" defTabSz="91329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912" indent="-228317" algn="l" defTabSz="91329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540" indent="-228317" algn="l" defTabSz="91329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197" indent="-228317" algn="l" defTabSz="91329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4838" indent="-228317" algn="l" defTabSz="91329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483" indent="-228317" algn="l" defTabSz="91329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6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98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940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97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225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857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511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165" algn="l" defTabSz="9132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microsoft.com/office/2007/relationships/hdphoto" Target="../media/hdphoto1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3.svg"/><Relationship Id="rId9" Type="http://schemas.openxmlformats.org/officeDocument/2006/relationships/image" Target="../media/image2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sv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6"/>
          <p:cNvSpPr txBox="1">
            <a:spLocks noChangeArrowheads="1"/>
          </p:cNvSpPr>
          <p:nvPr/>
        </p:nvSpPr>
        <p:spPr bwMode="auto">
          <a:xfrm>
            <a:off x="3971" y="4749701"/>
            <a:ext cx="9140031" cy="414337"/>
          </a:xfrm>
          <a:prstGeom prst="rect">
            <a:avLst/>
          </a:prstGeom>
          <a:noFill/>
          <a:ln>
            <a:noFill/>
          </a:ln>
          <a:effectLst/>
        </p:spPr>
        <p:txBody>
          <a:bodyPr lIns="81307" tIns="40657" rIns="81307" bIns="4065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68568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i="1" kern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</a:t>
            </a:r>
            <a:r>
              <a:rPr lang="ru-RU" sz="1400" b="1" i="1" kern="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сы</a:t>
            </a:r>
            <a:r>
              <a:rPr lang="ru-RU" sz="1400" b="1" i="1" kern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2 </a:t>
            </a:r>
            <a:r>
              <a:rPr lang="ru-RU" sz="1400" b="1" i="1" kern="0" dirty="0" err="1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en-US" sz="1400" b="1" i="1" kern="0" dirty="0">
              <a:solidFill>
                <a:srgbClr val="0033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26457" y="196487"/>
            <a:ext cx="8288977" cy="6020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1573" tIns="40786" rIns="81573" bIns="40786" anchor="ctr"/>
          <a:lstStyle/>
          <a:p>
            <a:pPr algn="ctr" defTabSz="68568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srgbClr val="003399"/>
                </a:solidFill>
                <a:latin typeface="Arial" pitchFamily="34" charset="0"/>
                <a:cs typeface="Arial" panose="020B0604020202020204" pitchFamily="34" charset="0"/>
              </a:rPr>
              <a:t>ҚР ИНДУСТРИЯ Ж</a:t>
            </a:r>
            <a:r>
              <a:rPr lang="kk-KZ" b="1" dirty="0">
                <a:solidFill>
                  <a:srgbClr val="003399"/>
                </a:solidFill>
                <a:latin typeface="Arial" pitchFamily="34" charset="0"/>
                <a:cs typeface="Arial" panose="020B0604020202020204" pitchFamily="34" charset="0"/>
              </a:rPr>
              <a:t>ӘНЕ ИНФРАҚҰРЫЛРЫМДЫҚ ДАМУ МИНИСТРЛІГІ</a:t>
            </a:r>
          </a:p>
        </p:txBody>
      </p:sp>
      <p:pic>
        <p:nvPicPr>
          <p:cNvPr id="7" name="Рисунок 6" descr="Изображение выглядит как здание&#10;&#10;Автоматически созданное описание">
            <a:extLst>
              <a:ext uri="{FF2B5EF4-FFF2-40B4-BE49-F238E27FC236}">
                <a16:creationId xmlns:a16="http://schemas.microsoft.com/office/drawing/2014/main" id="{AC026D14-46B7-44A9-937D-7CB10447CD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737" y="210688"/>
            <a:ext cx="566089" cy="583729"/>
          </a:xfrm>
          <a:prstGeom prst="rect">
            <a:avLst/>
          </a:prstGeom>
        </p:spPr>
      </p:pic>
      <p:sp>
        <p:nvSpPr>
          <p:cNvPr id="9" name="Заголовок 4"/>
          <p:cNvSpPr txBox="1">
            <a:spLocks/>
          </p:cNvSpPr>
          <p:nvPr/>
        </p:nvSpPr>
        <p:spPr bwMode="auto">
          <a:xfrm>
            <a:off x="248445" y="1866686"/>
            <a:ext cx="8510170" cy="1187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7" tIns="34289" rIns="68567" bIns="34289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Республикасындағы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автомобиль 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жолдарының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жай-күйі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дамуы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700" b="1" dirty="0" err="1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altLang="ru-RU" sz="2700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2607293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96841" y="3594985"/>
            <a:ext cx="9005887" cy="1448503"/>
          </a:xfrm>
          <a:prstGeom prst="roundRect">
            <a:avLst>
              <a:gd name="adj" fmla="val 8102"/>
            </a:avLst>
          </a:prstGeom>
          <a:noFill/>
          <a:ln w="952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grpSp>
        <p:nvGrpSpPr>
          <p:cNvPr id="10244" name="Группа 20"/>
          <p:cNvGrpSpPr>
            <a:grpSpLocks/>
          </p:cNvGrpSpPr>
          <p:nvPr/>
        </p:nvGrpSpPr>
        <p:grpSpPr bwMode="auto">
          <a:xfrm>
            <a:off x="1416050" y="887503"/>
            <a:ext cx="6438900" cy="2784872"/>
            <a:chOff x="670091" y="863070"/>
            <a:chExt cx="7860072" cy="4315945"/>
          </a:xfrm>
        </p:grpSpPr>
        <p:sp>
          <p:nvSpPr>
            <p:cNvPr id="23" name="TextBox 22"/>
            <p:cNvSpPr txBox="1"/>
            <p:nvPr/>
          </p:nvSpPr>
          <p:spPr>
            <a:xfrm>
              <a:off x="3532352" y="4033511"/>
              <a:ext cx="875925" cy="763179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tx2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6000" rIns="36000" anchor="ctr">
              <a:spAutoFit/>
            </a:bodyPr>
            <a:lstStyle/>
            <a:p>
              <a:pPr algn="ctr" eaLnBrk="1" hangingPunct="1">
                <a:defRPr/>
              </a:pPr>
              <a:r>
                <a:rPr lang="ru-RU" sz="500" b="1" dirty="0" err="1">
                  <a:solidFill>
                    <a:schemeClr val="bg1"/>
                  </a:solidFill>
                </a:rPr>
                <a:t>Тараз</a:t>
              </a:r>
              <a:r>
                <a:rPr lang="ru-RU" sz="500" b="1" dirty="0">
                  <a:solidFill>
                    <a:schemeClr val="bg1"/>
                  </a:solidFill>
                </a:rPr>
                <a:t> – Шымкент - Ташкент</a:t>
              </a:r>
            </a:p>
            <a:p>
              <a:pPr algn="ctr" eaLnBrk="1" hangingPunct="1">
                <a:defRPr/>
              </a:pPr>
              <a:r>
                <a:rPr lang="ru-RU" sz="400" dirty="0">
                  <a:solidFill>
                    <a:schemeClr val="bg1"/>
                  </a:solidFill>
                </a:rPr>
                <a:t>Протяженность – 179 км</a:t>
              </a:r>
            </a:p>
            <a:p>
              <a:pPr algn="ctr" eaLnBrk="1" hangingPunct="1">
                <a:defRPr/>
              </a:pPr>
              <a:r>
                <a:rPr lang="ru-RU" sz="400" dirty="0">
                  <a:solidFill>
                    <a:schemeClr val="bg1"/>
                  </a:solidFill>
                </a:rPr>
                <a:t>Срок реализации – 2013-2017 </a:t>
              </a:r>
              <a:r>
                <a:rPr lang="ru-RU" sz="400" dirty="0" err="1">
                  <a:solidFill>
                    <a:schemeClr val="bg1"/>
                  </a:solidFill>
                </a:rPr>
                <a:t>гг</a:t>
              </a:r>
              <a:endParaRPr lang="ru-RU" sz="4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400" dirty="0">
                  <a:solidFill>
                    <a:schemeClr val="bg1"/>
                  </a:solidFill>
                </a:rPr>
                <a:t>Стоимость – </a:t>
              </a:r>
              <a:r>
                <a:rPr lang="en-US" sz="400" dirty="0">
                  <a:solidFill>
                    <a:schemeClr val="bg1"/>
                  </a:solidFill>
                </a:rPr>
                <a:t>82</a:t>
              </a:r>
              <a:r>
                <a:rPr lang="ru-RU" sz="400" dirty="0">
                  <a:solidFill>
                    <a:schemeClr val="bg1"/>
                  </a:solidFill>
                </a:rPr>
                <a:t> млрд. </a:t>
              </a:r>
              <a:r>
                <a:rPr lang="ru-RU" sz="400" dirty="0" err="1">
                  <a:solidFill>
                    <a:schemeClr val="bg1"/>
                  </a:solidFill>
                </a:rPr>
                <a:t>тг</a:t>
              </a:r>
              <a:endParaRPr lang="ru-RU" sz="400" dirty="0">
                <a:solidFill>
                  <a:schemeClr val="bg1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840325" y="3365175"/>
              <a:ext cx="833292" cy="763179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6000" rIns="36000">
              <a:spAutoFit/>
            </a:bodyPr>
            <a:lstStyle/>
            <a:p>
              <a:pPr algn="ctr" eaLnBrk="1" hangingPunct="1">
                <a:defRPr/>
              </a:pPr>
              <a:r>
                <a:rPr lang="ru-RU" sz="500" b="1" dirty="0" err="1"/>
                <a:t>Узынагаш</a:t>
              </a:r>
              <a:r>
                <a:rPr lang="ru-RU" sz="500" b="1" dirty="0"/>
                <a:t> – Карасай батыр</a:t>
              </a:r>
            </a:p>
            <a:p>
              <a:pPr eaLnBrk="1" hangingPunct="1">
                <a:defRPr/>
              </a:pPr>
              <a:r>
                <a:rPr lang="ru-RU" sz="400" dirty="0"/>
                <a:t>Протяженность – 90 км</a:t>
              </a:r>
            </a:p>
            <a:p>
              <a:pPr eaLnBrk="1" hangingPunct="1">
                <a:defRPr/>
              </a:pPr>
              <a:r>
                <a:rPr lang="ru-RU" sz="400" dirty="0"/>
                <a:t>Срок реализации – 2018-2020 гг.</a:t>
              </a:r>
            </a:p>
            <a:p>
              <a:pPr eaLnBrk="1" hangingPunct="1">
                <a:defRPr/>
              </a:pPr>
              <a:r>
                <a:rPr lang="ru-RU" sz="400" dirty="0"/>
                <a:t>Стоимость –</a:t>
              </a:r>
              <a:r>
                <a:rPr lang="en-US" sz="400" dirty="0"/>
                <a:t> </a:t>
              </a:r>
              <a:r>
                <a:rPr lang="ru-RU" sz="400" dirty="0"/>
                <a:t>45 </a:t>
              </a:r>
              <a:r>
                <a:rPr lang="ru-RU" sz="400" dirty="0" err="1"/>
                <a:t>млрд.тг</a:t>
              </a:r>
              <a:r>
                <a:rPr lang="ru-RU" sz="400" dirty="0"/>
                <a:t>.</a:t>
              </a:r>
            </a:p>
          </p:txBody>
        </p:sp>
        <p:cxnSp>
          <p:nvCxnSpPr>
            <p:cNvPr id="28" name="Прямая со стрелкой 27"/>
            <p:cNvCxnSpPr>
              <a:stCxn id="27" idx="0"/>
            </p:cNvCxnSpPr>
            <p:nvPr/>
          </p:nvCxnSpPr>
          <p:spPr>
            <a:xfrm flipH="1" flipV="1">
              <a:off x="6472126" y="3248929"/>
              <a:ext cx="784845" cy="116246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357" name="Picture 3" descr="C:\Users\B.Akhmetov\Desktop\Новый рисунок (3).bmp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091" y="863070"/>
              <a:ext cx="7860072" cy="431594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prstDash val="dash"/>
              <a:miter lim="800000"/>
              <a:headEnd/>
              <a:tailEnd/>
            </a:ln>
          </p:spPr>
        </p:pic>
        <p:sp>
          <p:nvSpPr>
            <p:cNvPr id="46" name="Прямоугольник 45"/>
            <p:cNvSpPr/>
            <p:nvPr/>
          </p:nvSpPr>
          <p:spPr>
            <a:xfrm>
              <a:off x="1061544" y="4953899"/>
              <a:ext cx="885615" cy="10517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5270636" y="4878246"/>
              <a:ext cx="883677" cy="1033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2896724" y="1938827"/>
              <a:ext cx="505788" cy="12916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64" name="Полилиния 63"/>
            <p:cNvSpPr/>
            <p:nvPr/>
          </p:nvSpPr>
          <p:spPr>
            <a:xfrm>
              <a:off x="1670041" y="2023706"/>
              <a:ext cx="158907" cy="1029627"/>
            </a:xfrm>
            <a:custGeom>
              <a:avLst/>
              <a:gdLst>
                <a:gd name="connsiteX0" fmla="*/ 52387 w 209550"/>
                <a:gd name="connsiteY0" fmla="*/ 247650 h 247650"/>
                <a:gd name="connsiteX1" fmla="*/ 33337 w 209550"/>
                <a:gd name="connsiteY1" fmla="*/ 195263 h 247650"/>
                <a:gd name="connsiteX2" fmla="*/ 14287 w 209550"/>
                <a:gd name="connsiteY2" fmla="*/ 128588 h 247650"/>
                <a:gd name="connsiteX3" fmla="*/ 0 w 209550"/>
                <a:gd name="connsiteY3" fmla="*/ 114300 h 247650"/>
                <a:gd name="connsiteX4" fmla="*/ 142875 w 209550"/>
                <a:gd name="connsiteY4" fmla="*/ 85725 h 247650"/>
                <a:gd name="connsiteX5" fmla="*/ 157162 w 209550"/>
                <a:gd name="connsiteY5" fmla="*/ 76200 h 247650"/>
                <a:gd name="connsiteX6" fmla="*/ 171450 w 209550"/>
                <a:gd name="connsiteY6" fmla="*/ 71438 h 247650"/>
                <a:gd name="connsiteX7" fmla="*/ 185737 w 209550"/>
                <a:gd name="connsiteY7" fmla="*/ 42863 h 247650"/>
                <a:gd name="connsiteX8" fmla="*/ 195262 w 209550"/>
                <a:gd name="connsiteY8" fmla="*/ 23813 h 247650"/>
                <a:gd name="connsiteX9" fmla="*/ 200025 w 209550"/>
                <a:gd name="connsiteY9" fmla="*/ 9525 h 247650"/>
                <a:gd name="connsiteX10" fmla="*/ 209550 w 209550"/>
                <a:gd name="connsiteY10" fmla="*/ 0 h 247650"/>
                <a:gd name="connsiteX0" fmla="*/ 63 w 640339"/>
                <a:gd name="connsiteY0" fmla="*/ 948353 h 948353"/>
                <a:gd name="connsiteX1" fmla="*/ 464126 w 640339"/>
                <a:gd name="connsiteY1" fmla="*/ 195263 h 948353"/>
                <a:gd name="connsiteX2" fmla="*/ 445076 w 640339"/>
                <a:gd name="connsiteY2" fmla="*/ 128588 h 948353"/>
                <a:gd name="connsiteX3" fmla="*/ 430789 w 640339"/>
                <a:gd name="connsiteY3" fmla="*/ 114300 h 948353"/>
                <a:gd name="connsiteX4" fmla="*/ 573664 w 640339"/>
                <a:gd name="connsiteY4" fmla="*/ 85725 h 948353"/>
                <a:gd name="connsiteX5" fmla="*/ 587951 w 640339"/>
                <a:gd name="connsiteY5" fmla="*/ 76200 h 948353"/>
                <a:gd name="connsiteX6" fmla="*/ 602239 w 640339"/>
                <a:gd name="connsiteY6" fmla="*/ 71438 h 948353"/>
                <a:gd name="connsiteX7" fmla="*/ 616526 w 640339"/>
                <a:gd name="connsiteY7" fmla="*/ 42863 h 948353"/>
                <a:gd name="connsiteX8" fmla="*/ 626051 w 640339"/>
                <a:gd name="connsiteY8" fmla="*/ 23813 h 948353"/>
                <a:gd name="connsiteX9" fmla="*/ 630814 w 640339"/>
                <a:gd name="connsiteY9" fmla="*/ 9525 h 948353"/>
                <a:gd name="connsiteX10" fmla="*/ 640339 w 640339"/>
                <a:gd name="connsiteY10" fmla="*/ 0 h 948353"/>
                <a:gd name="connsiteX0" fmla="*/ 262 w 640538"/>
                <a:gd name="connsiteY0" fmla="*/ 948353 h 948353"/>
                <a:gd name="connsiteX1" fmla="*/ 99526 w 640538"/>
                <a:gd name="connsiteY1" fmla="*/ 828155 h 948353"/>
                <a:gd name="connsiteX2" fmla="*/ 445275 w 640538"/>
                <a:gd name="connsiteY2" fmla="*/ 128588 h 948353"/>
                <a:gd name="connsiteX3" fmla="*/ 430988 w 640538"/>
                <a:gd name="connsiteY3" fmla="*/ 114300 h 948353"/>
                <a:gd name="connsiteX4" fmla="*/ 573863 w 640538"/>
                <a:gd name="connsiteY4" fmla="*/ 85725 h 948353"/>
                <a:gd name="connsiteX5" fmla="*/ 588150 w 640538"/>
                <a:gd name="connsiteY5" fmla="*/ 76200 h 948353"/>
                <a:gd name="connsiteX6" fmla="*/ 602438 w 640538"/>
                <a:gd name="connsiteY6" fmla="*/ 71438 h 948353"/>
                <a:gd name="connsiteX7" fmla="*/ 616725 w 640538"/>
                <a:gd name="connsiteY7" fmla="*/ 42863 h 948353"/>
                <a:gd name="connsiteX8" fmla="*/ 626250 w 640538"/>
                <a:gd name="connsiteY8" fmla="*/ 23813 h 948353"/>
                <a:gd name="connsiteX9" fmla="*/ 631013 w 640538"/>
                <a:gd name="connsiteY9" fmla="*/ 9525 h 948353"/>
                <a:gd name="connsiteX10" fmla="*/ 640538 w 640538"/>
                <a:gd name="connsiteY10" fmla="*/ 0 h 948353"/>
                <a:gd name="connsiteX0" fmla="*/ 457 w 640733"/>
                <a:gd name="connsiteY0" fmla="*/ 948353 h 948353"/>
                <a:gd name="connsiteX1" fmla="*/ 99721 w 640733"/>
                <a:gd name="connsiteY1" fmla="*/ 828155 h 948353"/>
                <a:gd name="connsiteX2" fmla="*/ 445470 w 640733"/>
                <a:gd name="connsiteY2" fmla="*/ 128588 h 948353"/>
                <a:gd name="connsiteX3" fmla="*/ 431183 w 640733"/>
                <a:gd name="connsiteY3" fmla="*/ 114300 h 948353"/>
                <a:gd name="connsiteX4" fmla="*/ 574058 w 640733"/>
                <a:gd name="connsiteY4" fmla="*/ 85725 h 948353"/>
                <a:gd name="connsiteX5" fmla="*/ 588345 w 640733"/>
                <a:gd name="connsiteY5" fmla="*/ 76200 h 948353"/>
                <a:gd name="connsiteX6" fmla="*/ 602633 w 640733"/>
                <a:gd name="connsiteY6" fmla="*/ 71438 h 948353"/>
                <a:gd name="connsiteX7" fmla="*/ 616920 w 640733"/>
                <a:gd name="connsiteY7" fmla="*/ 42863 h 948353"/>
                <a:gd name="connsiteX8" fmla="*/ 626445 w 640733"/>
                <a:gd name="connsiteY8" fmla="*/ 23813 h 948353"/>
                <a:gd name="connsiteX9" fmla="*/ 631208 w 640733"/>
                <a:gd name="connsiteY9" fmla="*/ 9525 h 948353"/>
                <a:gd name="connsiteX10" fmla="*/ 640733 w 640733"/>
                <a:gd name="connsiteY10" fmla="*/ 0 h 948353"/>
                <a:gd name="connsiteX0" fmla="*/ 570 w 640846"/>
                <a:gd name="connsiteY0" fmla="*/ 948353 h 948353"/>
                <a:gd name="connsiteX1" fmla="*/ 86687 w 640846"/>
                <a:gd name="connsiteY1" fmla="*/ 828155 h 948353"/>
                <a:gd name="connsiteX2" fmla="*/ 445583 w 640846"/>
                <a:gd name="connsiteY2" fmla="*/ 128588 h 948353"/>
                <a:gd name="connsiteX3" fmla="*/ 431296 w 640846"/>
                <a:gd name="connsiteY3" fmla="*/ 114300 h 948353"/>
                <a:gd name="connsiteX4" fmla="*/ 574171 w 640846"/>
                <a:gd name="connsiteY4" fmla="*/ 85725 h 948353"/>
                <a:gd name="connsiteX5" fmla="*/ 588458 w 640846"/>
                <a:gd name="connsiteY5" fmla="*/ 76200 h 948353"/>
                <a:gd name="connsiteX6" fmla="*/ 602746 w 640846"/>
                <a:gd name="connsiteY6" fmla="*/ 71438 h 948353"/>
                <a:gd name="connsiteX7" fmla="*/ 617033 w 640846"/>
                <a:gd name="connsiteY7" fmla="*/ 42863 h 948353"/>
                <a:gd name="connsiteX8" fmla="*/ 626558 w 640846"/>
                <a:gd name="connsiteY8" fmla="*/ 23813 h 948353"/>
                <a:gd name="connsiteX9" fmla="*/ 631321 w 640846"/>
                <a:gd name="connsiteY9" fmla="*/ 9525 h 948353"/>
                <a:gd name="connsiteX10" fmla="*/ 640846 w 640846"/>
                <a:gd name="connsiteY10" fmla="*/ 0 h 948353"/>
                <a:gd name="connsiteX0" fmla="*/ 570 w 640846"/>
                <a:gd name="connsiteY0" fmla="*/ 948353 h 948353"/>
                <a:gd name="connsiteX1" fmla="*/ 86687 w 640846"/>
                <a:gd name="connsiteY1" fmla="*/ 828155 h 948353"/>
                <a:gd name="connsiteX2" fmla="*/ 353561 w 640846"/>
                <a:gd name="connsiteY2" fmla="*/ 704973 h 948353"/>
                <a:gd name="connsiteX3" fmla="*/ 431296 w 640846"/>
                <a:gd name="connsiteY3" fmla="*/ 114300 h 948353"/>
                <a:gd name="connsiteX4" fmla="*/ 574171 w 640846"/>
                <a:gd name="connsiteY4" fmla="*/ 85725 h 948353"/>
                <a:gd name="connsiteX5" fmla="*/ 588458 w 640846"/>
                <a:gd name="connsiteY5" fmla="*/ 76200 h 948353"/>
                <a:gd name="connsiteX6" fmla="*/ 602746 w 640846"/>
                <a:gd name="connsiteY6" fmla="*/ 71438 h 948353"/>
                <a:gd name="connsiteX7" fmla="*/ 617033 w 640846"/>
                <a:gd name="connsiteY7" fmla="*/ 42863 h 948353"/>
                <a:gd name="connsiteX8" fmla="*/ 626558 w 640846"/>
                <a:gd name="connsiteY8" fmla="*/ 23813 h 948353"/>
                <a:gd name="connsiteX9" fmla="*/ 631321 w 640846"/>
                <a:gd name="connsiteY9" fmla="*/ 9525 h 948353"/>
                <a:gd name="connsiteX10" fmla="*/ 640846 w 640846"/>
                <a:gd name="connsiteY10" fmla="*/ 0 h 948353"/>
                <a:gd name="connsiteX0" fmla="*/ 570 w 746014"/>
                <a:gd name="connsiteY0" fmla="*/ 1031231 h 1031231"/>
                <a:gd name="connsiteX1" fmla="*/ 86687 w 746014"/>
                <a:gd name="connsiteY1" fmla="*/ 911033 h 1031231"/>
                <a:gd name="connsiteX2" fmla="*/ 353561 w 746014"/>
                <a:gd name="connsiteY2" fmla="*/ 787851 h 1031231"/>
                <a:gd name="connsiteX3" fmla="*/ 431296 w 746014"/>
                <a:gd name="connsiteY3" fmla="*/ 197178 h 1031231"/>
                <a:gd name="connsiteX4" fmla="*/ 574171 w 746014"/>
                <a:gd name="connsiteY4" fmla="*/ 168603 h 1031231"/>
                <a:gd name="connsiteX5" fmla="*/ 588458 w 746014"/>
                <a:gd name="connsiteY5" fmla="*/ 159078 h 1031231"/>
                <a:gd name="connsiteX6" fmla="*/ 602746 w 746014"/>
                <a:gd name="connsiteY6" fmla="*/ 154316 h 1031231"/>
                <a:gd name="connsiteX7" fmla="*/ 617033 w 746014"/>
                <a:gd name="connsiteY7" fmla="*/ 125741 h 1031231"/>
                <a:gd name="connsiteX8" fmla="*/ 626558 w 746014"/>
                <a:gd name="connsiteY8" fmla="*/ 106691 h 1031231"/>
                <a:gd name="connsiteX9" fmla="*/ 631321 w 746014"/>
                <a:gd name="connsiteY9" fmla="*/ 92403 h 1031231"/>
                <a:gd name="connsiteX10" fmla="*/ 746014 w 746014"/>
                <a:gd name="connsiteY10" fmla="*/ 0 h 1031231"/>
                <a:gd name="connsiteX0" fmla="*/ 15 w 2671346"/>
                <a:gd name="connsiteY0" fmla="*/ 1656589 h 1656589"/>
                <a:gd name="connsiteX1" fmla="*/ 2012019 w 2671346"/>
                <a:gd name="connsiteY1" fmla="*/ 911033 h 1656589"/>
                <a:gd name="connsiteX2" fmla="*/ 2278893 w 2671346"/>
                <a:gd name="connsiteY2" fmla="*/ 787851 h 1656589"/>
                <a:gd name="connsiteX3" fmla="*/ 2356628 w 2671346"/>
                <a:gd name="connsiteY3" fmla="*/ 197178 h 1656589"/>
                <a:gd name="connsiteX4" fmla="*/ 2499503 w 2671346"/>
                <a:gd name="connsiteY4" fmla="*/ 168603 h 1656589"/>
                <a:gd name="connsiteX5" fmla="*/ 2513790 w 2671346"/>
                <a:gd name="connsiteY5" fmla="*/ 159078 h 1656589"/>
                <a:gd name="connsiteX6" fmla="*/ 2528078 w 2671346"/>
                <a:gd name="connsiteY6" fmla="*/ 154316 h 1656589"/>
                <a:gd name="connsiteX7" fmla="*/ 2542365 w 2671346"/>
                <a:gd name="connsiteY7" fmla="*/ 125741 h 1656589"/>
                <a:gd name="connsiteX8" fmla="*/ 2551890 w 2671346"/>
                <a:gd name="connsiteY8" fmla="*/ 106691 h 1656589"/>
                <a:gd name="connsiteX9" fmla="*/ 2556653 w 2671346"/>
                <a:gd name="connsiteY9" fmla="*/ 92403 h 1656589"/>
                <a:gd name="connsiteX10" fmla="*/ 2671346 w 2671346"/>
                <a:gd name="connsiteY10" fmla="*/ 0 h 1656589"/>
                <a:gd name="connsiteX0" fmla="*/ 9136 w 2680467"/>
                <a:gd name="connsiteY0" fmla="*/ 1656589 h 1656589"/>
                <a:gd name="connsiteX1" fmla="*/ 29524 w 2680467"/>
                <a:gd name="connsiteY1" fmla="*/ 1295288 h 1656589"/>
                <a:gd name="connsiteX2" fmla="*/ 2288014 w 2680467"/>
                <a:gd name="connsiteY2" fmla="*/ 787851 h 1656589"/>
                <a:gd name="connsiteX3" fmla="*/ 2365749 w 2680467"/>
                <a:gd name="connsiteY3" fmla="*/ 197178 h 1656589"/>
                <a:gd name="connsiteX4" fmla="*/ 2508624 w 2680467"/>
                <a:gd name="connsiteY4" fmla="*/ 168603 h 1656589"/>
                <a:gd name="connsiteX5" fmla="*/ 2522911 w 2680467"/>
                <a:gd name="connsiteY5" fmla="*/ 159078 h 1656589"/>
                <a:gd name="connsiteX6" fmla="*/ 2537199 w 2680467"/>
                <a:gd name="connsiteY6" fmla="*/ 154316 h 1656589"/>
                <a:gd name="connsiteX7" fmla="*/ 2551486 w 2680467"/>
                <a:gd name="connsiteY7" fmla="*/ 125741 h 1656589"/>
                <a:gd name="connsiteX8" fmla="*/ 2561011 w 2680467"/>
                <a:gd name="connsiteY8" fmla="*/ 106691 h 1656589"/>
                <a:gd name="connsiteX9" fmla="*/ 2565774 w 2680467"/>
                <a:gd name="connsiteY9" fmla="*/ 92403 h 1656589"/>
                <a:gd name="connsiteX10" fmla="*/ 2680467 w 2680467"/>
                <a:gd name="connsiteY10" fmla="*/ 0 h 1656589"/>
                <a:gd name="connsiteX0" fmla="*/ 9137 w 2680468"/>
                <a:gd name="connsiteY0" fmla="*/ 1656589 h 1656589"/>
                <a:gd name="connsiteX1" fmla="*/ 29525 w 2680468"/>
                <a:gd name="connsiteY1" fmla="*/ 1295288 h 1656589"/>
                <a:gd name="connsiteX2" fmla="*/ 2288015 w 2680468"/>
                <a:gd name="connsiteY2" fmla="*/ 787851 h 1656589"/>
                <a:gd name="connsiteX3" fmla="*/ 2365750 w 2680468"/>
                <a:gd name="connsiteY3" fmla="*/ 197178 h 1656589"/>
                <a:gd name="connsiteX4" fmla="*/ 2508625 w 2680468"/>
                <a:gd name="connsiteY4" fmla="*/ 168603 h 1656589"/>
                <a:gd name="connsiteX5" fmla="*/ 2522912 w 2680468"/>
                <a:gd name="connsiteY5" fmla="*/ 159078 h 1656589"/>
                <a:gd name="connsiteX6" fmla="*/ 2537200 w 2680468"/>
                <a:gd name="connsiteY6" fmla="*/ 154316 h 1656589"/>
                <a:gd name="connsiteX7" fmla="*/ 2551487 w 2680468"/>
                <a:gd name="connsiteY7" fmla="*/ 125741 h 1656589"/>
                <a:gd name="connsiteX8" fmla="*/ 2561012 w 2680468"/>
                <a:gd name="connsiteY8" fmla="*/ 106691 h 1656589"/>
                <a:gd name="connsiteX9" fmla="*/ 2565775 w 2680468"/>
                <a:gd name="connsiteY9" fmla="*/ 92403 h 1656589"/>
                <a:gd name="connsiteX10" fmla="*/ 2680468 w 2680468"/>
                <a:gd name="connsiteY10" fmla="*/ 0 h 1656589"/>
                <a:gd name="connsiteX0" fmla="*/ 9137 w 2680468"/>
                <a:gd name="connsiteY0" fmla="*/ 1656589 h 1656589"/>
                <a:gd name="connsiteX1" fmla="*/ 29525 w 2680468"/>
                <a:gd name="connsiteY1" fmla="*/ 1295288 h 1656589"/>
                <a:gd name="connsiteX2" fmla="*/ 171513 w 2680468"/>
                <a:gd name="connsiteY2" fmla="*/ 998815 h 1656589"/>
                <a:gd name="connsiteX3" fmla="*/ 2365750 w 2680468"/>
                <a:gd name="connsiteY3" fmla="*/ 197178 h 1656589"/>
                <a:gd name="connsiteX4" fmla="*/ 2508625 w 2680468"/>
                <a:gd name="connsiteY4" fmla="*/ 168603 h 1656589"/>
                <a:gd name="connsiteX5" fmla="*/ 2522912 w 2680468"/>
                <a:gd name="connsiteY5" fmla="*/ 159078 h 1656589"/>
                <a:gd name="connsiteX6" fmla="*/ 2537200 w 2680468"/>
                <a:gd name="connsiteY6" fmla="*/ 154316 h 1656589"/>
                <a:gd name="connsiteX7" fmla="*/ 2551487 w 2680468"/>
                <a:gd name="connsiteY7" fmla="*/ 125741 h 1656589"/>
                <a:gd name="connsiteX8" fmla="*/ 2561012 w 2680468"/>
                <a:gd name="connsiteY8" fmla="*/ 106691 h 1656589"/>
                <a:gd name="connsiteX9" fmla="*/ 2565775 w 2680468"/>
                <a:gd name="connsiteY9" fmla="*/ 92403 h 1656589"/>
                <a:gd name="connsiteX10" fmla="*/ 2680468 w 2680468"/>
                <a:gd name="connsiteY10" fmla="*/ 0 h 1656589"/>
                <a:gd name="connsiteX0" fmla="*/ 9137 w 2695717"/>
                <a:gd name="connsiteY0" fmla="*/ 1656589 h 1656589"/>
                <a:gd name="connsiteX1" fmla="*/ 29525 w 2695717"/>
                <a:gd name="connsiteY1" fmla="*/ 1295288 h 1656589"/>
                <a:gd name="connsiteX2" fmla="*/ 171513 w 2695717"/>
                <a:gd name="connsiteY2" fmla="*/ 998815 h 1656589"/>
                <a:gd name="connsiteX3" fmla="*/ 32340 w 2695717"/>
                <a:gd name="connsiteY3" fmla="*/ 573901 h 1656589"/>
                <a:gd name="connsiteX4" fmla="*/ 2508625 w 2695717"/>
                <a:gd name="connsiteY4" fmla="*/ 168603 h 1656589"/>
                <a:gd name="connsiteX5" fmla="*/ 2522912 w 2695717"/>
                <a:gd name="connsiteY5" fmla="*/ 159078 h 1656589"/>
                <a:gd name="connsiteX6" fmla="*/ 2537200 w 2695717"/>
                <a:gd name="connsiteY6" fmla="*/ 154316 h 1656589"/>
                <a:gd name="connsiteX7" fmla="*/ 2551487 w 2695717"/>
                <a:gd name="connsiteY7" fmla="*/ 125741 h 1656589"/>
                <a:gd name="connsiteX8" fmla="*/ 2561012 w 2695717"/>
                <a:gd name="connsiteY8" fmla="*/ 106691 h 1656589"/>
                <a:gd name="connsiteX9" fmla="*/ 2565775 w 2695717"/>
                <a:gd name="connsiteY9" fmla="*/ 92403 h 1656589"/>
                <a:gd name="connsiteX10" fmla="*/ 2680468 w 2695717"/>
                <a:gd name="connsiteY10" fmla="*/ 0 h 1656589"/>
                <a:gd name="connsiteX0" fmla="*/ 9137 w 2695717"/>
                <a:gd name="connsiteY0" fmla="*/ 1656589 h 1656589"/>
                <a:gd name="connsiteX1" fmla="*/ 29525 w 2695717"/>
                <a:gd name="connsiteY1" fmla="*/ 1295288 h 1656589"/>
                <a:gd name="connsiteX2" fmla="*/ 171513 w 2695717"/>
                <a:gd name="connsiteY2" fmla="*/ 998815 h 1656589"/>
                <a:gd name="connsiteX3" fmla="*/ 32340 w 2695717"/>
                <a:gd name="connsiteY3" fmla="*/ 573901 h 1656589"/>
                <a:gd name="connsiteX4" fmla="*/ 2508625 w 2695717"/>
                <a:gd name="connsiteY4" fmla="*/ 168603 h 1656589"/>
                <a:gd name="connsiteX5" fmla="*/ 2522912 w 2695717"/>
                <a:gd name="connsiteY5" fmla="*/ 159078 h 1656589"/>
                <a:gd name="connsiteX6" fmla="*/ 2537200 w 2695717"/>
                <a:gd name="connsiteY6" fmla="*/ 154316 h 1656589"/>
                <a:gd name="connsiteX7" fmla="*/ 2561012 w 2695717"/>
                <a:gd name="connsiteY7" fmla="*/ 106691 h 1656589"/>
                <a:gd name="connsiteX8" fmla="*/ 2565775 w 2695717"/>
                <a:gd name="connsiteY8" fmla="*/ 92403 h 1656589"/>
                <a:gd name="connsiteX9" fmla="*/ 2680468 w 2695717"/>
                <a:gd name="connsiteY9" fmla="*/ 0 h 1656589"/>
                <a:gd name="connsiteX0" fmla="*/ 9137 w 2694897"/>
                <a:gd name="connsiteY0" fmla="*/ 1656589 h 1656589"/>
                <a:gd name="connsiteX1" fmla="*/ 29525 w 2694897"/>
                <a:gd name="connsiteY1" fmla="*/ 1295288 h 1656589"/>
                <a:gd name="connsiteX2" fmla="*/ 171513 w 2694897"/>
                <a:gd name="connsiteY2" fmla="*/ 998815 h 1656589"/>
                <a:gd name="connsiteX3" fmla="*/ 32340 w 2694897"/>
                <a:gd name="connsiteY3" fmla="*/ 573901 h 1656589"/>
                <a:gd name="connsiteX4" fmla="*/ 2508625 w 2694897"/>
                <a:gd name="connsiteY4" fmla="*/ 168603 h 1656589"/>
                <a:gd name="connsiteX5" fmla="*/ 2522912 w 2694897"/>
                <a:gd name="connsiteY5" fmla="*/ 159078 h 1656589"/>
                <a:gd name="connsiteX6" fmla="*/ 2561012 w 2694897"/>
                <a:gd name="connsiteY6" fmla="*/ 106691 h 1656589"/>
                <a:gd name="connsiteX7" fmla="*/ 2565775 w 2694897"/>
                <a:gd name="connsiteY7" fmla="*/ 92403 h 1656589"/>
                <a:gd name="connsiteX8" fmla="*/ 2680468 w 2694897"/>
                <a:gd name="connsiteY8" fmla="*/ 0 h 1656589"/>
                <a:gd name="connsiteX0" fmla="*/ 9137 w 2694897"/>
                <a:gd name="connsiteY0" fmla="*/ 1656589 h 1656589"/>
                <a:gd name="connsiteX1" fmla="*/ 29525 w 2694897"/>
                <a:gd name="connsiteY1" fmla="*/ 1295288 h 1656589"/>
                <a:gd name="connsiteX2" fmla="*/ 171513 w 2694897"/>
                <a:gd name="connsiteY2" fmla="*/ 998815 h 1656589"/>
                <a:gd name="connsiteX3" fmla="*/ 32340 w 2694897"/>
                <a:gd name="connsiteY3" fmla="*/ 573901 h 1656589"/>
                <a:gd name="connsiteX4" fmla="*/ 2508625 w 2694897"/>
                <a:gd name="connsiteY4" fmla="*/ 168603 h 1656589"/>
                <a:gd name="connsiteX5" fmla="*/ 2522912 w 2694897"/>
                <a:gd name="connsiteY5" fmla="*/ 159078 h 1656589"/>
                <a:gd name="connsiteX6" fmla="*/ 2561012 w 2694897"/>
                <a:gd name="connsiteY6" fmla="*/ 106691 h 1656589"/>
                <a:gd name="connsiteX7" fmla="*/ 2680468 w 2694897"/>
                <a:gd name="connsiteY7" fmla="*/ 0 h 1656589"/>
                <a:gd name="connsiteX0" fmla="*/ 9137 w 2690469"/>
                <a:gd name="connsiteY0" fmla="*/ 1656589 h 1656589"/>
                <a:gd name="connsiteX1" fmla="*/ 29525 w 2690469"/>
                <a:gd name="connsiteY1" fmla="*/ 1295288 h 1656589"/>
                <a:gd name="connsiteX2" fmla="*/ 171513 w 2690469"/>
                <a:gd name="connsiteY2" fmla="*/ 998815 h 1656589"/>
                <a:gd name="connsiteX3" fmla="*/ 32340 w 2690469"/>
                <a:gd name="connsiteY3" fmla="*/ 573901 h 1656589"/>
                <a:gd name="connsiteX4" fmla="*/ 2508625 w 2690469"/>
                <a:gd name="connsiteY4" fmla="*/ 168603 h 1656589"/>
                <a:gd name="connsiteX5" fmla="*/ 2522912 w 2690469"/>
                <a:gd name="connsiteY5" fmla="*/ 159078 h 1656589"/>
                <a:gd name="connsiteX6" fmla="*/ 2680468 w 2690469"/>
                <a:gd name="connsiteY6" fmla="*/ 0 h 1656589"/>
                <a:gd name="connsiteX0" fmla="*/ 9137 w 2750284"/>
                <a:gd name="connsiteY0" fmla="*/ 1656589 h 1656589"/>
                <a:gd name="connsiteX1" fmla="*/ 29525 w 2750284"/>
                <a:gd name="connsiteY1" fmla="*/ 1295288 h 1656589"/>
                <a:gd name="connsiteX2" fmla="*/ 171513 w 2750284"/>
                <a:gd name="connsiteY2" fmla="*/ 998815 h 1656589"/>
                <a:gd name="connsiteX3" fmla="*/ 32340 w 2750284"/>
                <a:gd name="connsiteY3" fmla="*/ 573901 h 1656589"/>
                <a:gd name="connsiteX4" fmla="*/ 2508625 w 2750284"/>
                <a:gd name="connsiteY4" fmla="*/ 168603 h 1656589"/>
                <a:gd name="connsiteX5" fmla="*/ 2680468 w 2750284"/>
                <a:gd name="connsiteY5" fmla="*/ 0 h 1656589"/>
                <a:gd name="connsiteX0" fmla="*/ 9137 w 2750283"/>
                <a:gd name="connsiteY0" fmla="*/ 1656589 h 1656589"/>
                <a:gd name="connsiteX1" fmla="*/ 29525 w 2750283"/>
                <a:gd name="connsiteY1" fmla="*/ 1295288 h 1656589"/>
                <a:gd name="connsiteX2" fmla="*/ 171513 w 2750283"/>
                <a:gd name="connsiteY2" fmla="*/ 998815 h 1656589"/>
                <a:gd name="connsiteX3" fmla="*/ 32340 w 2750283"/>
                <a:gd name="connsiteY3" fmla="*/ 573901 h 1656589"/>
                <a:gd name="connsiteX4" fmla="*/ 2508624 w 2750283"/>
                <a:gd name="connsiteY4" fmla="*/ 168602 h 1656589"/>
                <a:gd name="connsiteX5" fmla="*/ 2680468 w 2750283"/>
                <a:gd name="connsiteY5" fmla="*/ 0 h 1656589"/>
                <a:gd name="connsiteX0" fmla="*/ 9137 w 2680468"/>
                <a:gd name="connsiteY0" fmla="*/ 1656589 h 1656589"/>
                <a:gd name="connsiteX1" fmla="*/ 29525 w 2680468"/>
                <a:gd name="connsiteY1" fmla="*/ 1295288 h 1656589"/>
                <a:gd name="connsiteX2" fmla="*/ 171513 w 2680468"/>
                <a:gd name="connsiteY2" fmla="*/ 998815 h 1656589"/>
                <a:gd name="connsiteX3" fmla="*/ 32340 w 2680468"/>
                <a:gd name="connsiteY3" fmla="*/ 573901 h 1656589"/>
                <a:gd name="connsiteX4" fmla="*/ 2680468 w 2680468"/>
                <a:gd name="connsiteY4" fmla="*/ 0 h 1656589"/>
                <a:gd name="connsiteX0" fmla="*/ 9137 w 583684"/>
                <a:gd name="connsiteY0" fmla="*/ 1385349 h 1385349"/>
                <a:gd name="connsiteX1" fmla="*/ 29525 w 583684"/>
                <a:gd name="connsiteY1" fmla="*/ 1024048 h 1385349"/>
                <a:gd name="connsiteX2" fmla="*/ 171513 w 583684"/>
                <a:gd name="connsiteY2" fmla="*/ 727575 h 1385349"/>
                <a:gd name="connsiteX3" fmla="*/ 32340 w 583684"/>
                <a:gd name="connsiteY3" fmla="*/ 302661 h 1385349"/>
                <a:gd name="connsiteX4" fmla="*/ 583684 w 583684"/>
                <a:gd name="connsiteY4" fmla="*/ 0 h 1385349"/>
                <a:gd name="connsiteX0" fmla="*/ 57332 w 219810"/>
                <a:gd name="connsiteY0" fmla="*/ 1325073 h 1325073"/>
                <a:gd name="connsiteX1" fmla="*/ 77720 w 219810"/>
                <a:gd name="connsiteY1" fmla="*/ 963772 h 1325073"/>
                <a:gd name="connsiteX2" fmla="*/ 219708 w 219810"/>
                <a:gd name="connsiteY2" fmla="*/ 667299 h 1325073"/>
                <a:gd name="connsiteX3" fmla="*/ 80535 w 219810"/>
                <a:gd name="connsiteY3" fmla="*/ 242385 h 1325073"/>
                <a:gd name="connsiteX4" fmla="*/ 191490 w 219810"/>
                <a:gd name="connsiteY4" fmla="*/ 0 h 1325073"/>
                <a:gd name="connsiteX0" fmla="*/ 9138 w 194864"/>
                <a:gd name="connsiteY0" fmla="*/ 1325073 h 1325073"/>
                <a:gd name="connsiteX1" fmla="*/ 29526 w 194864"/>
                <a:gd name="connsiteY1" fmla="*/ 963772 h 1325073"/>
                <a:gd name="connsiteX2" fmla="*/ 171514 w 194864"/>
                <a:gd name="connsiteY2" fmla="*/ 667299 h 1325073"/>
                <a:gd name="connsiteX3" fmla="*/ 32341 w 194864"/>
                <a:gd name="connsiteY3" fmla="*/ 242385 h 1325073"/>
                <a:gd name="connsiteX4" fmla="*/ 143296 w 194864"/>
                <a:gd name="connsiteY4" fmla="*/ 0 h 1325073"/>
                <a:gd name="connsiteX0" fmla="*/ 9138 w 203738"/>
                <a:gd name="connsiteY0" fmla="*/ 1325073 h 1325073"/>
                <a:gd name="connsiteX1" fmla="*/ 29526 w 203738"/>
                <a:gd name="connsiteY1" fmla="*/ 963772 h 1325073"/>
                <a:gd name="connsiteX2" fmla="*/ 171514 w 203738"/>
                <a:gd name="connsiteY2" fmla="*/ 667299 h 1325073"/>
                <a:gd name="connsiteX3" fmla="*/ 32341 w 203738"/>
                <a:gd name="connsiteY3" fmla="*/ 242385 h 1325073"/>
                <a:gd name="connsiteX4" fmla="*/ 143296 w 203738"/>
                <a:gd name="connsiteY4" fmla="*/ 0 h 1325073"/>
                <a:gd name="connsiteX0" fmla="*/ 9138 w 171616"/>
                <a:gd name="connsiteY0" fmla="*/ 1325073 h 1325073"/>
                <a:gd name="connsiteX1" fmla="*/ 29526 w 171616"/>
                <a:gd name="connsiteY1" fmla="*/ 963772 h 1325073"/>
                <a:gd name="connsiteX2" fmla="*/ 171514 w 171616"/>
                <a:gd name="connsiteY2" fmla="*/ 667299 h 1325073"/>
                <a:gd name="connsiteX3" fmla="*/ 32341 w 171616"/>
                <a:gd name="connsiteY3" fmla="*/ 242385 h 1325073"/>
                <a:gd name="connsiteX4" fmla="*/ 143296 w 171616"/>
                <a:gd name="connsiteY4" fmla="*/ 0 h 1325073"/>
                <a:gd name="connsiteX0" fmla="*/ 9138 w 171617"/>
                <a:gd name="connsiteY0" fmla="*/ 1264797 h 1264797"/>
                <a:gd name="connsiteX1" fmla="*/ 29526 w 171617"/>
                <a:gd name="connsiteY1" fmla="*/ 903496 h 1264797"/>
                <a:gd name="connsiteX2" fmla="*/ 171514 w 171617"/>
                <a:gd name="connsiteY2" fmla="*/ 607023 h 1264797"/>
                <a:gd name="connsiteX3" fmla="*/ 32341 w 171617"/>
                <a:gd name="connsiteY3" fmla="*/ 182109 h 1264797"/>
                <a:gd name="connsiteX4" fmla="*/ 143295 w 171617"/>
                <a:gd name="connsiteY4" fmla="*/ 0 h 1264797"/>
                <a:gd name="connsiteX0" fmla="*/ 9138 w 179445"/>
                <a:gd name="connsiteY0" fmla="*/ 1351443 h 1351443"/>
                <a:gd name="connsiteX1" fmla="*/ 29526 w 179445"/>
                <a:gd name="connsiteY1" fmla="*/ 990142 h 1351443"/>
                <a:gd name="connsiteX2" fmla="*/ 171514 w 179445"/>
                <a:gd name="connsiteY2" fmla="*/ 693669 h 1351443"/>
                <a:gd name="connsiteX3" fmla="*/ 32341 w 179445"/>
                <a:gd name="connsiteY3" fmla="*/ 268755 h 1351443"/>
                <a:gd name="connsiteX4" fmla="*/ 179445 w 179445"/>
                <a:gd name="connsiteY4" fmla="*/ 0 h 1351443"/>
                <a:gd name="connsiteX0" fmla="*/ 9138 w 179445"/>
                <a:gd name="connsiteY0" fmla="*/ 1351443 h 1351443"/>
                <a:gd name="connsiteX1" fmla="*/ 29526 w 179445"/>
                <a:gd name="connsiteY1" fmla="*/ 990142 h 1351443"/>
                <a:gd name="connsiteX2" fmla="*/ 171514 w 179445"/>
                <a:gd name="connsiteY2" fmla="*/ 693669 h 1351443"/>
                <a:gd name="connsiteX3" fmla="*/ 32341 w 179445"/>
                <a:gd name="connsiteY3" fmla="*/ 268755 h 1351443"/>
                <a:gd name="connsiteX4" fmla="*/ 179445 w 179445"/>
                <a:gd name="connsiteY4" fmla="*/ 0 h 1351443"/>
                <a:gd name="connsiteX0" fmla="*/ 9138 w 179445"/>
                <a:gd name="connsiteY0" fmla="*/ 1351443 h 1351443"/>
                <a:gd name="connsiteX1" fmla="*/ 29526 w 179445"/>
                <a:gd name="connsiteY1" fmla="*/ 990142 h 1351443"/>
                <a:gd name="connsiteX2" fmla="*/ 171514 w 179445"/>
                <a:gd name="connsiteY2" fmla="*/ 693669 h 1351443"/>
                <a:gd name="connsiteX3" fmla="*/ 32341 w 179445"/>
                <a:gd name="connsiteY3" fmla="*/ 268755 h 1351443"/>
                <a:gd name="connsiteX4" fmla="*/ 179445 w 179445"/>
                <a:gd name="connsiteY4" fmla="*/ 0 h 1351443"/>
                <a:gd name="connsiteX0" fmla="*/ 9138 w 179445"/>
                <a:gd name="connsiteY0" fmla="*/ 1400418 h 1400418"/>
                <a:gd name="connsiteX1" fmla="*/ 29526 w 179445"/>
                <a:gd name="connsiteY1" fmla="*/ 990142 h 1400418"/>
                <a:gd name="connsiteX2" fmla="*/ 171514 w 179445"/>
                <a:gd name="connsiteY2" fmla="*/ 693669 h 1400418"/>
                <a:gd name="connsiteX3" fmla="*/ 32341 w 179445"/>
                <a:gd name="connsiteY3" fmla="*/ 268755 h 1400418"/>
                <a:gd name="connsiteX4" fmla="*/ 179445 w 179445"/>
                <a:gd name="connsiteY4" fmla="*/ 0 h 140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9445" h="1400418">
                  <a:moveTo>
                    <a:pt x="9138" y="1400418"/>
                  </a:moveTo>
                  <a:cubicBezTo>
                    <a:pt x="2825" y="1384636"/>
                    <a:pt x="-15695" y="976310"/>
                    <a:pt x="29526" y="990142"/>
                  </a:cubicBezTo>
                  <a:cubicBezTo>
                    <a:pt x="29443" y="989812"/>
                    <a:pt x="176069" y="698224"/>
                    <a:pt x="171514" y="693669"/>
                  </a:cubicBezTo>
                  <a:lnTo>
                    <a:pt x="32341" y="268755"/>
                  </a:lnTo>
                  <a:cubicBezTo>
                    <a:pt x="75842" y="124887"/>
                    <a:pt x="71429" y="172304"/>
                    <a:pt x="179445" y="0"/>
                  </a:cubicBezTo>
                </a:path>
              </a:pathLst>
            </a:custGeom>
            <a:ln w="857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102" name="AutoShape 19"/>
            <p:cNvSpPr>
              <a:spLocks noChangeArrowheads="1"/>
            </p:cNvSpPr>
            <p:nvPr/>
          </p:nvSpPr>
          <p:spPr bwMode="auto">
            <a:xfrm>
              <a:off x="8006933" y="3324580"/>
              <a:ext cx="393392" cy="12362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" tIns="36000" rIns="18000" bIns="36000" anchor="ctr"/>
            <a:lstStyle/>
            <a:p>
              <a:pPr algn="ctr" eaLnBrk="1" hangingPunct="1">
                <a:lnSpc>
                  <a:spcPts val="800"/>
                </a:lnSpc>
                <a:defRPr/>
              </a:pPr>
              <a:endParaRPr lang="ru-RU" sz="700" dirty="0">
                <a:solidFill>
                  <a:schemeClr val="tx1">
                    <a:lumMod val="75000"/>
                    <a:lumOff val="25000"/>
                  </a:schemeClr>
                </a:solidFill>
                <a:latin typeface="Franklin Gothic Medium Cond" pitchFamily="34" charset="0"/>
                <a:cs typeface="Arial" pitchFamily="34" charset="0"/>
              </a:endParaRPr>
            </a:p>
          </p:txBody>
        </p:sp>
        <p:sp>
          <p:nvSpPr>
            <p:cNvPr id="106" name="Полилиния 105"/>
            <p:cNvSpPr/>
            <p:nvPr/>
          </p:nvSpPr>
          <p:spPr>
            <a:xfrm>
              <a:off x="6884897" y="4110639"/>
              <a:ext cx="0" cy="0"/>
            </a:xfrm>
            <a:custGeom>
              <a:avLst/>
              <a:gdLst>
                <a:gd name="connsiteX0" fmla="*/ 0 w 0"/>
                <a:gd name="connsiteY0" fmla="*/ 0 h 0"/>
                <a:gd name="connsiteX1" fmla="*/ 0 w 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/>
            </a:p>
          </p:txBody>
        </p:sp>
        <p:sp>
          <p:nvSpPr>
            <p:cNvPr id="115" name="AutoShape 19"/>
            <p:cNvSpPr>
              <a:spLocks noChangeArrowheads="1"/>
            </p:cNvSpPr>
            <p:nvPr/>
          </p:nvSpPr>
          <p:spPr bwMode="auto">
            <a:xfrm>
              <a:off x="2745480" y="2248712"/>
              <a:ext cx="339130" cy="7749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ru-RU" sz="5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обе</a:t>
              </a:r>
              <a:endPara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AutoShape 19"/>
            <p:cNvSpPr>
              <a:spLocks noChangeArrowheads="1"/>
            </p:cNvSpPr>
            <p:nvPr/>
          </p:nvSpPr>
          <p:spPr bwMode="auto">
            <a:xfrm>
              <a:off x="5191183" y="2080753"/>
              <a:ext cx="494162" cy="97796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ru-RU" sz="5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СТАНА</a:t>
              </a:r>
            </a:p>
          </p:txBody>
        </p:sp>
        <p:sp>
          <p:nvSpPr>
            <p:cNvPr id="10369" name="TextBox 117"/>
            <p:cNvSpPr txBox="1">
              <a:spLocks noChangeArrowheads="1"/>
            </p:cNvSpPr>
            <p:nvPr/>
          </p:nvSpPr>
          <p:spPr bwMode="auto">
            <a:xfrm>
              <a:off x="1073036" y="4708476"/>
              <a:ext cx="948790" cy="2384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ru-RU" sz="400" b="1"/>
                <a:t>                        </a:t>
              </a:r>
              <a:endParaRPr lang="ru-RU" altLang="ru-RU" sz="400" b="1"/>
            </a:p>
          </p:txBody>
        </p:sp>
        <p:sp>
          <p:nvSpPr>
            <p:cNvPr id="10370" name="TextBox 118"/>
            <p:cNvSpPr txBox="1">
              <a:spLocks noChangeArrowheads="1"/>
            </p:cNvSpPr>
            <p:nvPr/>
          </p:nvSpPr>
          <p:spPr bwMode="auto">
            <a:xfrm>
              <a:off x="3358088" y="4364856"/>
              <a:ext cx="948790" cy="23849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US" altLang="ru-RU" sz="400" b="1"/>
                <a:t>                        </a:t>
              </a:r>
              <a:endParaRPr lang="ru-RU" altLang="ru-RU" sz="400" b="1"/>
            </a:p>
          </p:txBody>
        </p:sp>
        <p:sp>
          <p:nvSpPr>
            <p:cNvPr id="229" name="Блок-схема: узел 228"/>
            <p:cNvSpPr/>
            <p:nvPr/>
          </p:nvSpPr>
          <p:spPr bwMode="auto">
            <a:xfrm>
              <a:off x="6791214" y="4218463"/>
              <a:ext cx="108000" cy="108000"/>
            </a:xfrm>
            <a:prstGeom prst="flowChartConnector">
              <a:avLst/>
            </a:prstGeom>
            <a:solidFill>
              <a:schemeClr val="accent6"/>
            </a:solidFill>
            <a:ln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none" lIns="86457" tIns="43228" rIns="86457" bIns="43228" anchor="ctr"/>
            <a:lstStyle/>
            <a:p>
              <a:pPr algn="just">
                <a:defRPr/>
              </a:pPr>
              <a:endParaRPr lang="ru-RU" sz="1600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36" name="AutoShape 19"/>
            <p:cNvSpPr>
              <a:spLocks noChangeArrowheads="1"/>
            </p:cNvSpPr>
            <p:nvPr/>
          </p:nvSpPr>
          <p:spPr bwMode="auto">
            <a:xfrm>
              <a:off x="1487880" y="1867546"/>
              <a:ext cx="343007" cy="88570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kk-KZ" sz="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ал</a:t>
              </a:r>
              <a:endPara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0" name="AutoShape 19"/>
            <p:cNvSpPr>
              <a:spLocks noChangeArrowheads="1"/>
            </p:cNvSpPr>
            <p:nvPr/>
          </p:nvSpPr>
          <p:spPr bwMode="auto">
            <a:xfrm>
              <a:off x="6840325" y="4344980"/>
              <a:ext cx="321689" cy="103332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hangingPunct="1">
                <a:defRPr/>
              </a:pPr>
              <a:r>
                <a:rPr lang="ru-RU" sz="5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маты</a:t>
              </a:r>
            </a:p>
          </p:txBody>
        </p:sp>
      </p:grpSp>
      <p:sp>
        <p:nvSpPr>
          <p:cNvPr id="8200" name="Rectangle 35"/>
          <p:cNvSpPr>
            <a:spLocks noChangeArrowheads="1"/>
          </p:cNvSpPr>
          <p:nvPr/>
        </p:nvSpPr>
        <p:spPr bwMode="auto">
          <a:xfrm>
            <a:off x="328612" y="4421099"/>
            <a:ext cx="3217866" cy="34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3" tIns="35973" rIns="35973" bIns="35973"/>
          <a:lstStyle>
            <a:lvl1pPr marL="2857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/>
              <a:t>Атырау-Орал - 521 км</a:t>
            </a:r>
          </a:p>
        </p:txBody>
      </p:sp>
      <p:sp>
        <p:nvSpPr>
          <p:cNvPr id="8201" name="Скругленный прямоугольник 73"/>
          <p:cNvSpPr>
            <a:spLocks noChangeArrowheads="1"/>
          </p:cNvSpPr>
          <p:nvPr/>
        </p:nvSpPr>
        <p:spPr bwMode="auto">
          <a:xfrm>
            <a:off x="213522" y="3867894"/>
            <a:ext cx="8779669" cy="207866"/>
          </a:xfrm>
          <a:prstGeom prst="roundRect">
            <a:avLst>
              <a:gd name="adj" fmla="val 27421"/>
            </a:avLst>
          </a:prstGeom>
          <a:solidFill>
            <a:schemeClr val="tx2">
              <a:alpha val="8980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31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7996" tIns="35992" rIns="17996" bIns="3599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ru-RU" altLang="ru-RU" sz="1200" dirty="0" err="1">
                <a:solidFill>
                  <a:srgbClr val="FFFFFF"/>
                </a:solidFill>
              </a:rPr>
              <a:t>Жобалық-сметалық</a:t>
            </a:r>
            <a:r>
              <a:rPr lang="ru-RU" altLang="ru-RU" sz="1200" dirty="0">
                <a:solidFill>
                  <a:srgbClr val="FFFFFF"/>
                </a:solidFill>
              </a:rPr>
              <a:t> </a:t>
            </a:r>
            <a:r>
              <a:rPr lang="ru-RU" altLang="ru-RU" sz="1200" dirty="0" err="1">
                <a:solidFill>
                  <a:srgbClr val="FFFFFF"/>
                </a:solidFill>
              </a:rPr>
              <a:t>құжаттама</a:t>
            </a:r>
            <a:r>
              <a:rPr lang="ru-RU" altLang="ru-RU" sz="1200" dirty="0">
                <a:solidFill>
                  <a:srgbClr val="FFFFFF"/>
                </a:solidFill>
              </a:rPr>
              <a:t> </a:t>
            </a:r>
            <a:r>
              <a:rPr lang="ru-RU" altLang="ru-RU" sz="1200" dirty="0" err="1">
                <a:solidFill>
                  <a:srgbClr val="FFFFFF"/>
                </a:solidFill>
              </a:rPr>
              <a:t>әзірлеу</a:t>
            </a:r>
            <a:r>
              <a:rPr lang="ru-RU" altLang="ru-RU" sz="1200" dirty="0">
                <a:solidFill>
                  <a:srgbClr val="FFFFFF"/>
                </a:solidFill>
              </a:rPr>
              <a:t> </a:t>
            </a:r>
            <a:r>
              <a:rPr lang="ru-RU" altLang="ru-RU" sz="1200" dirty="0">
                <a:solidFill>
                  <a:schemeClr val="bg1"/>
                </a:solidFill>
              </a:rPr>
              <a:t>– 1296 км, </a:t>
            </a:r>
            <a:r>
              <a:rPr lang="ru-RU" altLang="ru-RU" sz="1200" dirty="0" err="1">
                <a:solidFill>
                  <a:schemeClr val="bg1"/>
                </a:solidFill>
              </a:rPr>
              <a:t>оның</a:t>
            </a:r>
            <a:r>
              <a:rPr lang="ru-RU" altLang="ru-RU" sz="1200" dirty="0">
                <a:solidFill>
                  <a:schemeClr val="bg1"/>
                </a:solidFill>
              </a:rPr>
              <a:t> </a:t>
            </a:r>
            <a:r>
              <a:rPr lang="ru-RU" altLang="ru-RU" sz="1200" dirty="0" err="1">
                <a:solidFill>
                  <a:schemeClr val="bg1"/>
                </a:solidFill>
              </a:rPr>
              <a:t>ішінде</a:t>
            </a:r>
            <a:r>
              <a:rPr lang="ru-RU" altLang="ru-RU" sz="1200" dirty="0">
                <a:solidFill>
                  <a:schemeClr val="bg1"/>
                </a:solidFill>
              </a:rPr>
              <a:t>.:</a:t>
            </a:r>
          </a:p>
        </p:txBody>
      </p:sp>
      <p:sp>
        <p:nvSpPr>
          <p:cNvPr id="140" name="AutoShape 19"/>
          <p:cNvSpPr>
            <a:spLocks noChangeArrowheads="1"/>
          </p:cNvSpPr>
          <p:nvPr/>
        </p:nvSpPr>
        <p:spPr bwMode="auto">
          <a:xfrm>
            <a:off x="4478341" y="2300776"/>
            <a:ext cx="352425" cy="6667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зказган</a:t>
            </a:r>
          </a:p>
        </p:txBody>
      </p:sp>
      <p:sp>
        <p:nvSpPr>
          <p:cNvPr id="151" name="AutoShape 19"/>
          <p:cNvSpPr>
            <a:spLocks noChangeArrowheads="1"/>
          </p:cNvSpPr>
          <p:nvPr/>
        </p:nvSpPr>
        <p:spPr bwMode="auto">
          <a:xfrm>
            <a:off x="2049466" y="2367451"/>
            <a:ext cx="293687" cy="6310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ырау</a:t>
            </a: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207966" y="449756"/>
            <a:ext cx="862647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Полилиния 152"/>
          <p:cNvSpPr/>
          <p:nvPr/>
        </p:nvSpPr>
        <p:spPr>
          <a:xfrm>
            <a:off x="2236791" y="1631645"/>
            <a:ext cx="130175" cy="663179"/>
          </a:xfrm>
          <a:custGeom>
            <a:avLst/>
            <a:gdLst>
              <a:gd name="connsiteX0" fmla="*/ 52387 w 209550"/>
              <a:gd name="connsiteY0" fmla="*/ 247650 h 247650"/>
              <a:gd name="connsiteX1" fmla="*/ 33337 w 209550"/>
              <a:gd name="connsiteY1" fmla="*/ 195263 h 247650"/>
              <a:gd name="connsiteX2" fmla="*/ 14287 w 209550"/>
              <a:gd name="connsiteY2" fmla="*/ 128588 h 247650"/>
              <a:gd name="connsiteX3" fmla="*/ 0 w 209550"/>
              <a:gd name="connsiteY3" fmla="*/ 114300 h 247650"/>
              <a:gd name="connsiteX4" fmla="*/ 142875 w 209550"/>
              <a:gd name="connsiteY4" fmla="*/ 85725 h 247650"/>
              <a:gd name="connsiteX5" fmla="*/ 157162 w 209550"/>
              <a:gd name="connsiteY5" fmla="*/ 76200 h 247650"/>
              <a:gd name="connsiteX6" fmla="*/ 171450 w 209550"/>
              <a:gd name="connsiteY6" fmla="*/ 71438 h 247650"/>
              <a:gd name="connsiteX7" fmla="*/ 185737 w 209550"/>
              <a:gd name="connsiteY7" fmla="*/ 42863 h 247650"/>
              <a:gd name="connsiteX8" fmla="*/ 195262 w 209550"/>
              <a:gd name="connsiteY8" fmla="*/ 23813 h 247650"/>
              <a:gd name="connsiteX9" fmla="*/ 200025 w 209550"/>
              <a:gd name="connsiteY9" fmla="*/ 9525 h 247650"/>
              <a:gd name="connsiteX10" fmla="*/ 209550 w 209550"/>
              <a:gd name="connsiteY10" fmla="*/ 0 h 247650"/>
              <a:gd name="connsiteX0" fmla="*/ 63 w 640339"/>
              <a:gd name="connsiteY0" fmla="*/ 948353 h 948353"/>
              <a:gd name="connsiteX1" fmla="*/ 464126 w 640339"/>
              <a:gd name="connsiteY1" fmla="*/ 195263 h 948353"/>
              <a:gd name="connsiteX2" fmla="*/ 445076 w 640339"/>
              <a:gd name="connsiteY2" fmla="*/ 128588 h 948353"/>
              <a:gd name="connsiteX3" fmla="*/ 430789 w 640339"/>
              <a:gd name="connsiteY3" fmla="*/ 114300 h 948353"/>
              <a:gd name="connsiteX4" fmla="*/ 573664 w 640339"/>
              <a:gd name="connsiteY4" fmla="*/ 85725 h 948353"/>
              <a:gd name="connsiteX5" fmla="*/ 587951 w 640339"/>
              <a:gd name="connsiteY5" fmla="*/ 76200 h 948353"/>
              <a:gd name="connsiteX6" fmla="*/ 602239 w 640339"/>
              <a:gd name="connsiteY6" fmla="*/ 71438 h 948353"/>
              <a:gd name="connsiteX7" fmla="*/ 616526 w 640339"/>
              <a:gd name="connsiteY7" fmla="*/ 42863 h 948353"/>
              <a:gd name="connsiteX8" fmla="*/ 626051 w 640339"/>
              <a:gd name="connsiteY8" fmla="*/ 23813 h 948353"/>
              <a:gd name="connsiteX9" fmla="*/ 630814 w 640339"/>
              <a:gd name="connsiteY9" fmla="*/ 9525 h 948353"/>
              <a:gd name="connsiteX10" fmla="*/ 640339 w 640339"/>
              <a:gd name="connsiteY10" fmla="*/ 0 h 948353"/>
              <a:gd name="connsiteX0" fmla="*/ 262 w 640538"/>
              <a:gd name="connsiteY0" fmla="*/ 948353 h 948353"/>
              <a:gd name="connsiteX1" fmla="*/ 99526 w 640538"/>
              <a:gd name="connsiteY1" fmla="*/ 828155 h 948353"/>
              <a:gd name="connsiteX2" fmla="*/ 445275 w 640538"/>
              <a:gd name="connsiteY2" fmla="*/ 128588 h 948353"/>
              <a:gd name="connsiteX3" fmla="*/ 430988 w 640538"/>
              <a:gd name="connsiteY3" fmla="*/ 114300 h 948353"/>
              <a:gd name="connsiteX4" fmla="*/ 573863 w 640538"/>
              <a:gd name="connsiteY4" fmla="*/ 85725 h 948353"/>
              <a:gd name="connsiteX5" fmla="*/ 588150 w 640538"/>
              <a:gd name="connsiteY5" fmla="*/ 76200 h 948353"/>
              <a:gd name="connsiteX6" fmla="*/ 602438 w 640538"/>
              <a:gd name="connsiteY6" fmla="*/ 71438 h 948353"/>
              <a:gd name="connsiteX7" fmla="*/ 616725 w 640538"/>
              <a:gd name="connsiteY7" fmla="*/ 42863 h 948353"/>
              <a:gd name="connsiteX8" fmla="*/ 626250 w 640538"/>
              <a:gd name="connsiteY8" fmla="*/ 23813 h 948353"/>
              <a:gd name="connsiteX9" fmla="*/ 631013 w 640538"/>
              <a:gd name="connsiteY9" fmla="*/ 9525 h 948353"/>
              <a:gd name="connsiteX10" fmla="*/ 640538 w 640538"/>
              <a:gd name="connsiteY10" fmla="*/ 0 h 948353"/>
              <a:gd name="connsiteX0" fmla="*/ 457 w 640733"/>
              <a:gd name="connsiteY0" fmla="*/ 948353 h 948353"/>
              <a:gd name="connsiteX1" fmla="*/ 99721 w 640733"/>
              <a:gd name="connsiteY1" fmla="*/ 828155 h 948353"/>
              <a:gd name="connsiteX2" fmla="*/ 445470 w 640733"/>
              <a:gd name="connsiteY2" fmla="*/ 128588 h 948353"/>
              <a:gd name="connsiteX3" fmla="*/ 431183 w 640733"/>
              <a:gd name="connsiteY3" fmla="*/ 114300 h 948353"/>
              <a:gd name="connsiteX4" fmla="*/ 574058 w 640733"/>
              <a:gd name="connsiteY4" fmla="*/ 85725 h 948353"/>
              <a:gd name="connsiteX5" fmla="*/ 588345 w 640733"/>
              <a:gd name="connsiteY5" fmla="*/ 76200 h 948353"/>
              <a:gd name="connsiteX6" fmla="*/ 602633 w 640733"/>
              <a:gd name="connsiteY6" fmla="*/ 71438 h 948353"/>
              <a:gd name="connsiteX7" fmla="*/ 616920 w 640733"/>
              <a:gd name="connsiteY7" fmla="*/ 42863 h 948353"/>
              <a:gd name="connsiteX8" fmla="*/ 626445 w 640733"/>
              <a:gd name="connsiteY8" fmla="*/ 23813 h 948353"/>
              <a:gd name="connsiteX9" fmla="*/ 631208 w 640733"/>
              <a:gd name="connsiteY9" fmla="*/ 9525 h 948353"/>
              <a:gd name="connsiteX10" fmla="*/ 640733 w 640733"/>
              <a:gd name="connsiteY10" fmla="*/ 0 h 948353"/>
              <a:gd name="connsiteX0" fmla="*/ 570 w 640846"/>
              <a:gd name="connsiteY0" fmla="*/ 948353 h 948353"/>
              <a:gd name="connsiteX1" fmla="*/ 86687 w 640846"/>
              <a:gd name="connsiteY1" fmla="*/ 828155 h 948353"/>
              <a:gd name="connsiteX2" fmla="*/ 445583 w 640846"/>
              <a:gd name="connsiteY2" fmla="*/ 128588 h 948353"/>
              <a:gd name="connsiteX3" fmla="*/ 431296 w 640846"/>
              <a:gd name="connsiteY3" fmla="*/ 114300 h 948353"/>
              <a:gd name="connsiteX4" fmla="*/ 574171 w 640846"/>
              <a:gd name="connsiteY4" fmla="*/ 85725 h 948353"/>
              <a:gd name="connsiteX5" fmla="*/ 588458 w 640846"/>
              <a:gd name="connsiteY5" fmla="*/ 76200 h 948353"/>
              <a:gd name="connsiteX6" fmla="*/ 602746 w 640846"/>
              <a:gd name="connsiteY6" fmla="*/ 71438 h 948353"/>
              <a:gd name="connsiteX7" fmla="*/ 617033 w 640846"/>
              <a:gd name="connsiteY7" fmla="*/ 42863 h 948353"/>
              <a:gd name="connsiteX8" fmla="*/ 626558 w 640846"/>
              <a:gd name="connsiteY8" fmla="*/ 23813 h 948353"/>
              <a:gd name="connsiteX9" fmla="*/ 631321 w 640846"/>
              <a:gd name="connsiteY9" fmla="*/ 9525 h 948353"/>
              <a:gd name="connsiteX10" fmla="*/ 640846 w 640846"/>
              <a:gd name="connsiteY10" fmla="*/ 0 h 948353"/>
              <a:gd name="connsiteX0" fmla="*/ 570 w 640846"/>
              <a:gd name="connsiteY0" fmla="*/ 948353 h 948353"/>
              <a:gd name="connsiteX1" fmla="*/ 86687 w 640846"/>
              <a:gd name="connsiteY1" fmla="*/ 828155 h 948353"/>
              <a:gd name="connsiteX2" fmla="*/ 353561 w 640846"/>
              <a:gd name="connsiteY2" fmla="*/ 704973 h 948353"/>
              <a:gd name="connsiteX3" fmla="*/ 431296 w 640846"/>
              <a:gd name="connsiteY3" fmla="*/ 114300 h 948353"/>
              <a:gd name="connsiteX4" fmla="*/ 574171 w 640846"/>
              <a:gd name="connsiteY4" fmla="*/ 85725 h 948353"/>
              <a:gd name="connsiteX5" fmla="*/ 588458 w 640846"/>
              <a:gd name="connsiteY5" fmla="*/ 76200 h 948353"/>
              <a:gd name="connsiteX6" fmla="*/ 602746 w 640846"/>
              <a:gd name="connsiteY6" fmla="*/ 71438 h 948353"/>
              <a:gd name="connsiteX7" fmla="*/ 617033 w 640846"/>
              <a:gd name="connsiteY7" fmla="*/ 42863 h 948353"/>
              <a:gd name="connsiteX8" fmla="*/ 626558 w 640846"/>
              <a:gd name="connsiteY8" fmla="*/ 23813 h 948353"/>
              <a:gd name="connsiteX9" fmla="*/ 631321 w 640846"/>
              <a:gd name="connsiteY9" fmla="*/ 9525 h 948353"/>
              <a:gd name="connsiteX10" fmla="*/ 640846 w 640846"/>
              <a:gd name="connsiteY10" fmla="*/ 0 h 948353"/>
              <a:gd name="connsiteX0" fmla="*/ 570 w 746014"/>
              <a:gd name="connsiteY0" fmla="*/ 1031231 h 1031231"/>
              <a:gd name="connsiteX1" fmla="*/ 86687 w 746014"/>
              <a:gd name="connsiteY1" fmla="*/ 911033 h 1031231"/>
              <a:gd name="connsiteX2" fmla="*/ 353561 w 746014"/>
              <a:gd name="connsiteY2" fmla="*/ 787851 h 1031231"/>
              <a:gd name="connsiteX3" fmla="*/ 431296 w 746014"/>
              <a:gd name="connsiteY3" fmla="*/ 197178 h 1031231"/>
              <a:gd name="connsiteX4" fmla="*/ 574171 w 746014"/>
              <a:gd name="connsiteY4" fmla="*/ 168603 h 1031231"/>
              <a:gd name="connsiteX5" fmla="*/ 588458 w 746014"/>
              <a:gd name="connsiteY5" fmla="*/ 159078 h 1031231"/>
              <a:gd name="connsiteX6" fmla="*/ 602746 w 746014"/>
              <a:gd name="connsiteY6" fmla="*/ 154316 h 1031231"/>
              <a:gd name="connsiteX7" fmla="*/ 617033 w 746014"/>
              <a:gd name="connsiteY7" fmla="*/ 125741 h 1031231"/>
              <a:gd name="connsiteX8" fmla="*/ 626558 w 746014"/>
              <a:gd name="connsiteY8" fmla="*/ 106691 h 1031231"/>
              <a:gd name="connsiteX9" fmla="*/ 631321 w 746014"/>
              <a:gd name="connsiteY9" fmla="*/ 92403 h 1031231"/>
              <a:gd name="connsiteX10" fmla="*/ 746014 w 746014"/>
              <a:gd name="connsiteY10" fmla="*/ 0 h 1031231"/>
              <a:gd name="connsiteX0" fmla="*/ 15 w 2671346"/>
              <a:gd name="connsiteY0" fmla="*/ 1656589 h 1656589"/>
              <a:gd name="connsiteX1" fmla="*/ 2012019 w 2671346"/>
              <a:gd name="connsiteY1" fmla="*/ 911033 h 1656589"/>
              <a:gd name="connsiteX2" fmla="*/ 2278893 w 2671346"/>
              <a:gd name="connsiteY2" fmla="*/ 787851 h 1656589"/>
              <a:gd name="connsiteX3" fmla="*/ 2356628 w 2671346"/>
              <a:gd name="connsiteY3" fmla="*/ 197178 h 1656589"/>
              <a:gd name="connsiteX4" fmla="*/ 2499503 w 2671346"/>
              <a:gd name="connsiteY4" fmla="*/ 168603 h 1656589"/>
              <a:gd name="connsiteX5" fmla="*/ 2513790 w 2671346"/>
              <a:gd name="connsiteY5" fmla="*/ 159078 h 1656589"/>
              <a:gd name="connsiteX6" fmla="*/ 2528078 w 2671346"/>
              <a:gd name="connsiteY6" fmla="*/ 154316 h 1656589"/>
              <a:gd name="connsiteX7" fmla="*/ 2542365 w 2671346"/>
              <a:gd name="connsiteY7" fmla="*/ 125741 h 1656589"/>
              <a:gd name="connsiteX8" fmla="*/ 2551890 w 2671346"/>
              <a:gd name="connsiteY8" fmla="*/ 106691 h 1656589"/>
              <a:gd name="connsiteX9" fmla="*/ 2556653 w 2671346"/>
              <a:gd name="connsiteY9" fmla="*/ 92403 h 1656589"/>
              <a:gd name="connsiteX10" fmla="*/ 2671346 w 2671346"/>
              <a:gd name="connsiteY10" fmla="*/ 0 h 1656589"/>
              <a:gd name="connsiteX0" fmla="*/ 9136 w 2680467"/>
              <a:gd name="connsiteY0" fmla="*/ 1656589 h 1656589"/>
              <a:gd name="connsiteX1" fmla="*/ 29524 w 2680467"/>
              <a:gd name="connsiteY1" fmla="*/ 1295288 h 1656589"/>
              <a:gd name="connsiteX2" fmla="*/ 2288014 w 2680467"/>
              <a:gd name="connsiteY2" fmla="*/ 787851 h 1656589"/>
              <a:gd name="connsiteX3" fmla="*/ 2365749 w 2680467"/>
              <a:gd name="connsiteY3" fmla="*/ 197178 h 1656589"/>
              <a:gd name="connsiteX4" fmla="*/ 2508624 w 2680467"/>
              <a:gd name="connsiteY4" fmla="*/ 168603 h 1656589"/>
              <a:gd name="connsiteX5" fmla="*/ 2522911 w 2680467"/>
              <a:gd name="connsiteY5" fmla="*/ 159078 h 1656589"/>
              <a:gd name="connsiteX6" fmla="*/ 2537199 w 2680467"/>
              <a:gd name="connsiteY6" fmla="*/ 154316 h 1656589"/>
              <a:gd name="connsiteX7" fmla="*/ 2551486 w 2680467"/>
              <a:gd name="connsiteY7" fmla="*/ 125741 h 1656589"/>
              <a:gd name="connsiteX8" fmla="*/ 2561011 w 2680467"/>
              <a:gd name="connsiteY8" fmla="*/ 106691 h 1656589"/>
              <a:gd name="connsiteX9" fmla="*/ 2565774 w 2680467"/>
              <a:gd name="connsiteY9" fmla="*/ 92403 h 1656589"/>
              <a:gd name="connsiteX10" fmla="*/ 2680467 w 2680467"/>
              <a:gd name="connsiteY10" fmla="*/ 0 h 1656589"/>
              <a:gd name="connsiteX0" fmla="*/ 9137 w 2680468"/>
              <a:gd name="connsiteY0" fmla="*/ 1656589 h 1656589"/>
              <a:gd name="connsiteX1" fmla="*/ 29525 w 2680468"/>
              <a:gd name="connsiteY1" fmla="*/ 1295288 h 1656589"/>
              <a:gd name="connsiteX2" fmla="*/ 2288015 w 2680468"/>
              <a:gd name="connsiteY2" fmla="*/ 787851 h 1656589"/>
              <a:gd name="connsiteX3" fmla="*/ 2365750 w 2680468"/>
              <a:gd name="connsiteY3" fmla="*/ 197178 h 1656589"/>
              <a:gd name="connsiteX4" fmla="*/ 2508625 w 2680468"/>
              <a:gd name="connsiteY4" fmla="*/ 168603 h 1656589"/>
              <a:gd name="connsiteX5" fmla="*/ 2522912 w 2680468"/>
              <a:gd name="connsiteY5" fmla="*/ 159078 h 1656589"/>
              <a:gd name="connsiteX6" fmla="*/ 2537200 w 2680468"/>
              <a:gd name="connsiteY6" fmla="*/ 154316 h 1656589"/>
              <a:gd name="connsiteX7" fmla="*/ 2551487 w 2680468"/>
              <a:gd name="connsiteY7" fmla="*/ 125741 h 1656589"/>
              <a:gd name="connsiteX8" fmla="*/ 2561012 w 2680468"/>
              <a:gd name="connsiteY8" fmla="*/ 106691 h 1656589"/>
              <a:gd name="connsiteX9" fmla="*/ 2565775 w 2680468"/>
              <a:gd name="connsiteY9" fmla="*/ 92403 h 1656589"/>
              <a:gd name="connsiteX10" fmla="*/ 2680468 w 2680468"/>
              <a:gd name="connsiteY10" fmla="*/ 0 h 1656589"/>
              <a:gd name="connsiteX0" fmla="*/ 9137 w 2680468"/>
              <a:gd name="connsiteY0" fmla="*/ 1656589 h 1656589"/>
              <a:gd name="connsiteX1" fmla="*/ 29525 w 2680468"/>
              <a:gd name="connsiteY1" fmla="*/ 1295288 h 1656589"/>
              <a:gd name="connsiteX2" fmla="*/ 171513 w 2680468"/>
              <a:gd name="connsiteY2" fmla="*/ 998815 h 1656589"/>
              <a:gd name="connsiteX3" fmla="*/ 2365750 w 2680468"/>
              <a:gd name="connsiteY3" fmla="*/ 197178 h 1656589"/>
              <a:gd name="connsiteX4" fmla="*/ 2508625 w 2680468"/>
              <a:gd name="connsiteY4" fmla="*/ 168603 h 1656589"/>
              <a:gd name="connsiteX5" fmla="*/ 2522912 w 2680468"/>
              <a:gd name="connsiteY5" fmla="*/ 159078 h 1656589"/>
              <a:gd name="connsiteX6" fmla="*/ 2537200 w 2680468"/>
              <a:gd name="connsiteY6" fmla="*/ 154316 h 1656589"/>
              <a:gd name="connsiteX7" fmla="*/ 2551487 w 2680468"/>
              <a:gd name="connsiteY7" fmla="*/ 125741 h 1656589"/>
              <a:gd name="connsiteX8" fmla="*/ 2561012 w 2680468"/>
              <a:gd name="connsiteY8" fmla="*/ 106691 h 1656589"/>
              <a:gd name="connsiteX9" fmla="*/ 2565775 w 2680468"/>
              <a:gd name="connsiteY9" fmla="*/ 92403 h 1656589"/>
              <a:gd name="connsiteX10" fmla="*/ 2680468 w 2680468"/>
              <a:gd name="connsiteY10" fmla="*/ 0 h 1656589"/>
              <a:gd name="connsiteX0" fmla="*/ 9137 w 2695717"/>
              <a:gd name="connsiteY0" fmla="*/ 1656589 h 1656589"/>
              <a:gd name="connsiteX1" fmla="*/ 29525 w 2695717"/>
              <a:gd name="connsiteY1" fmla="*/ 1295288 h 1656589"/>
              <a:gd name="connsiteX2" fmla="*/ 171513 w 2695717"/>
              <a:gd name="connsiteY2" fmla="*/ 998815 h 1656589"/>
              <a:gd name="connsiteX3" fmla="*/ 32340 w 2695717"/>
              <a:gd name="connsiteY3" fmla="*/ 573901 h 1656589"/>
              <a:gd name="connsiteX4" fmla="*/ 2508625 w 2695717"/>
              <a:gd name="connsiteY4" fmla="*/ 168603 h 1656589"/>
              <a:gd name="connsiteX5" fmla="*/ 2522912 w 2695717"/>
              <a:gd name="connsiteY5" fmla="*/ 159078 h 1656589"/>
              <a:gd name="connsiteX6" fmla="*/ 2537200 w 2695717"/>
              <a:gd name="connsiteY6" fmla="*/ 154316 h 1656589"/>
              <a:gd name="connsiteX7" fmla="*/ 2551487 w 2695717"/>
              <a:gd name="connsiteY7" fmla="*/ 125741 h 1656589"/>
              <a:gd name="connsiteX8" fmla="*/ 2561012 w 2695717"/>
              <a:gd name="connsiteY8" fmla="*/ 106691 h 1656589"/>
              <a:gd name="connsiteX9" fmla="*/ 2565775 w 2695717"/>
              <a:gd name="connsiteY9" fmla="*/ 92403 h 1656589"/>
              <a:gd name="connsiteX10" fmla="*/ 2680468 w 2695717"/>
              <a:gd name="connsiteY10" fmla="*/ 0 h 1656589"/>
              <a:gd name="connsiteX0" fmla="*/ 9137 w 2695717"/>
              <a:gd name="connsiteY0" fmla="*/ 1656589 h 1656589"/>
              <a:gd name="connsiteX1" fmla="*/ 29525 w 2695717"/>
              <a:gd name="connsiteY1" fmla="*/ 1295288 h 1656589"/>
              <a:gd name="connsiteX2" fmla="*/ 171513 w 2695717"/>
              <a:gd name="connsiteY2" fmla="*/ 998815 h 1656589"/>
              <a:gd name="connsiteX3" fmla="*/ 32340 w 2695717"/>
              <a:gd name="connsiteY3" fmla="*/ 573901 h 1656589"/>
              <a:gd name="connsiteX4" fmla="*/ 2508625 w 2695717"/>
              <a:gd name="connsiteY4" fmla="*/ 168603 h 1656589"/>
              <a:gd name="connsiteX5" fmla="*/ 2522912 w 2695717"/>
              <a:gd name="connsiteY5" fmla="*/ 159078 h 1656589"/>
              <a:gd name="connsiteX6" fmla="*/ 2537200 w 2695717"/>
              <a:gd name="connsiteY6" fmla="*/ 154316 h 1656589"/>
              <a:gd name="connsiteX7" fmla="*/ 2561012 w 2695717"/>
              <a:gd name="connsiteY7" fmla="*/ 106691 h 1656589"/>
              <a:gd name="connsiteX8" fmla="*/ 2565775 w 2695717"/>
              <a:gd name="connsiteY8" fmla="*/ 92403 h 1656589"/>
              <a:gd name="connsiteX9" fmla="*/ 2680468 w 2695717"/>
              <a:gd name="connsiteY9" fmla="*/ 0 h 1656589"/>
              <a:gd name="connsiteX0" fmla="*/ 9137 w 2694897"/>
              <a:gd name="connsiteY0" fmla="*/ 1656589 h 1656589"/>
              <a:gd name="connsiteX1" fmla="*/ 29525 w 2694897"/>
              <a:gd name="connsiteY1" fmla="*/ 1295288 h 1656589"/>
              <a:gd name="connsiteX2" fmla="*/ 171513 w 2694897"/>
              <a:gd name="connsiteY2" fmla="*/ 998815 h 1656589"/>
              <a:gd name="connsiteX3" fmla="*/ 32340 w 2694897"/>
              <a:gd name="connsiteY3" fmla="*/ 573901 h 1656589"/>
              <a:gd name="connsiteX4" fmla="*/ 2508625 w 2694897"/>
              <a:gd name="connsiteY4" fmla="*/ 168603 h 1656589"/>
              <a:gd name="connsiteX5" fmla="*/ 2522912 w 2694897"/>
              <a:gd name="connsiteY5" fmla="*/ 159078 h 1656589"/>
              <a:gd name="connsiteX6" fmla="*/ 2561012 w 2694897"/>
              <a:gd name="connsiteY6" fmla="*/ 106691 h 1656589"/>
              <a:gd name="connsiteX7" fmla="*/ 2565775 w 2694897"/>
              <a:gd name="connsiteY7" fmla="*/ 92403 h 1656589"/>
              <a:gd name="connsiteX8" fmla="*/ 2680468 w 2694897"/>
              <a:gd name="connsiteY8" fmla="*/ 0 h 1656589"/>
              <a:gd name="connsiteX0" fmla="*/ 9137 w 2694897"/>
              <a:gd name="connsiteY0" fmla="*/ 1656589 h 1656589"/>
              <a:gd name="connsiteX1" fmla="*/ 29525 w 2694897"/>
              <a:gd name="connsiteY1" fmla="*/ 1295288 h 1656589"/>
              <a:gd name="connsiteX2" fmla="*/ 171513 w 2694897"/>
              <a:gd name="connsiteY2" fmla="*/ 998815 h 1656589"/>
              <a:gd name="connsiteX3" fmla="*/ 32340 w 2694897"/>
              <a:gd name="connsiteY3" fmla="*/ 573901 h 1656589"/>
              <a:gd name="connsiteX4" fmla="*/ 2508625 w 2694897"/>
              <a:gd name="connsiteY4" fmla="*/ 168603 h 1656589"/>
              <a:gd name="connsiteX5" fmla="*/ 2522912 w 2694897"/>
              <a:gd name="connsiteY5" fmla="*/ 159078 h 1656589"/>
              <a:gd name="connsiteX6" fmla="*/ 2561012 w 2694897"/>
              <a:gd name="connsiteY6" fmla="*/ 106691 h 1656589"/>
              <a:gd name="connsiteX7" fmla="*/ 2680468 w 2694897"/>
              <a:gd name="connsiteY7" fmla="*/ 0 h 1656589"/>
              <a:gd name="connsiteX0" fmla="*/ 9137 w 2690469"/>
              <a:gd name="connsiteY0" fmla="*/ 1656589 h 1656589"/>
              <a:gd name="connsiteX1" fmla="*/ 29525 w 2690469"/>
              <a:gd name="connsiteY1" fmla="*/ 1295288 h 1656589"/>
              <a:gd name="connsiteX2" fmla="*/ 171513 w 2690469"/>
              <a:gd name="connsiteY2" fmla="*/ 998815 h 1656589"/>
              <a:gd name="connsiteX3" fmla="*/ 32340 w 2690469"/>
              <a:gd name="connsiteY3" fmla="*/ 573901 h 1656589"/>
              <a:gd name="connsiteX4" fmla="*/ 2508625 w 2690469"/>
              <a:gd name="connsiteY4" fmla="*/ 168603 h 1656589"/>
              <a:gd name="connsiteX5" fmla="*/ 2522912 w 2690469"/>
              <a:gd name="connsiteY5" fmla="*/ 159078 h 1656589"/>
              <a:gd name="connsiteX6" fmla="*/ 2680468 w 2690469"/>
              <a:gd name="connsiteY6" fmla="*/ 0 h 1656589"/>
              <a:gd name="connsiteX0" fmla="*/ 9137 w 2750284"/>
              <a:gd name="connsiteY0" fmla="*/ 1656589 h 1656589"/>
              <a:gd name="connsiteX1" fmla="*/ 29525 w 2750284"/>
              <a:gd name="connsiteY1" fmla="*/ 1295288 h 1656589"/>
              <a:gd name="connsiteX2" fmla="*/ 171513 w 2750284"/>
              <a:gd name="connsiteY2" fmla="*/ 998815 h 1656589"/>
              <a:gd name="connsiteX3" fmla="*/ 32340 w 2750284"/>
              <a:gd name="connsiteY3" fmla="*/ 573901 h 1656589"/>
              <a:gd name="connsiteX4" fmla="*/ 2508625 w 2750284"/>
              <a:gd name="connsiteY4" fmla="*/ 168603 h 1656589"/>
              <a:gd name="connsiteX5" fmla="*/ 2680468 w 2750284"/>
              <a:gd name="connsiteY5" fmla="*/ 0 h 1656589"/>
              <a:gd name="connsiteX0" fmla="*/ 9137 w 2750283"/>
              <a:gd name="connsiteY0" fmla="*/ 1656589 h 1656589"/>
              <a:gd name="connsiteX1" fmla="*/ 29525 w 2750283"/>
              <a:gd name="connsiteY1" fmla="*/ 1295288 h 1656589"/>
              <a:gd name="connsiteX2" fmla="*/ 171513 w 2750283"/>
              <a:gd name="connsiteY2" fmla="*/ 998815 h 1656589"/>
              <a:gd name="connsiteX3" fmla="*/ 32340 w 2750283"/>
              <a:gd name="connsiteY3" fmla="*/ 573901 h 1656589"/>
              <a:gd name="connsiteX4" fmla="*/ 2508624 w 2750283"/>
              <a:gd name="connsiteY4" fmla="*/ 168602 h 1656589"/>
              <a:gd name="connsiteX5" fmla="*/ 2680468 w 2750283"/>
              <a:gd name="connsiteY5" fmla="*/ 0 h 1656589"/>
              <a:gd name="connsiteX0" fmla="*/ 9137 w 2680468"/>
              <a:gd name="connsiteY0" fmla="*/ 1656589 h 1656589"/>
              <a:gd name="connsiteX1" fmla="*/ 29525 w 2680468"/>
              <a:gd name="connsiteY1" fmla="*/ 1295288 h 1656589"/>
              <a:gd name="connsiteX2" fmla="*/ 171513 w 2680468"/>
              <a:gd name="connsiteY2" fmla="*/ 998815 h 1656589"/>
              <a:gd name="connsiteX3" fmla="*/ 32340 w 2680468"/>
              <a:gd name="connsiteY3" fmla="*/ 573901 h 1656589"/>
              <a:gd name="connsiteX4" fmla="*/ 2680468 w 2680468"/>
              <a:gd name="connsiteY4" fmla="*/ 0 h 1656589"/>
              <a:gd name="connsiteX0" fmla="*/ 9137 w 583684"/>
              <a:gd name="connsiteY0" fmla="*/ 1385349 h 1385349"/>
              <a:gd name="connsiteX1" fmla="*/ 29525 w 583684"/>
              <a:gd name="connsiteY1" fmla="*/ 1024048 h 1385349"/>
              <a:gd name="connsiteX2" fmla="*/ 171513 w 583684"/>
              <a:gd name="connsiteY2" fmla="*/ 727575 h 1385349"/>
              <a:gd name="connsiteX3" fmla="*/ 32340 w 583684"/>
              <a:gd name="connsiteY3" fmla="*/ 302661 h 1385349"/>
              <a:gd name="connsiteX4" fmla="*/ 583684 w 583684"/>
              <a:gd name="connsiteY4" fmla="*/ 0 h 1385349"/>
              <a:gd name="connsiteX0" fmla="*/ 57332 w 219810"/>
              <a:gd name="connsiteY0" fmla="*/ 1325073 h 1325073"/>
              <a:gd name="connsiteX1" fmla="*/ 77720 w 219810"/>
              <a:gd name="connsiteY1" fmla="*/ 963772 h 1325073"/>
              <a:gd name="connsiteX2" fmla="*/ 219708 w 219810"/>
              <a:gd name="connsiteY2" fmla="*/ 667299 h 1325073"/>
              <a:gd name="connsiteX3" fmla="*/ 80535 w 219810"/>
              <a:gd name="connsiteY3" fmla="*/ 242385 h 1325073"/>
              <a:gd name="connsiteX4" fmla="*/ 191490 w 219810"/>
              <a:gd name="connsiteY4" fmla="*/ 0 h 1325073"/>
              <a:gd name="connsiteX0" fmla="*/ 9138 w 194864"/>
              <a:gd name="connsiteY0" fmla="*/ 1325073 h 1325073"/>
              <a:gd name="connsiteX1" fmla="*/ 29526 w 194864"/>
              <a:gd name="connsiteY1" fmla="*/ 963772 h 1325073"/>
              <a:gd name="connsiteX2" fmla="*/ 171514 w 194864"/>
              <a:gd name="connsiteY2" fmla="*/ 667299 h 1325073"/>
              <a:gd name="connsiteX3" fmla="*/ 32341 w 194864"/>
              <a:gd name="connsiteY3" fmla="*/ 242385 h 1325073"/>
              <a:gd name="connsiteX4" fmla="*/ 143296 w 194864"/>
              <a:gd name="connsiteY4" fmla="*/ 0 h 1325073"/>
              <a:gd name="connsiteX0" fmla="*/ 9138 w 203738"/>
              <a:gd name="connsiteY0" fmla="*/ 1325073 h 1325073"/>
              <a:gd name="connsiteX1" fmla="*/ 29526 w 203738"/>
              <a:gd name="connsiteY1" fmla="*/ 963772 h 1325073"/>
              <a:gd name="connsiteX2" fmla="*/ 171514 w 203738"/>
              <a:gd name="connsiteY2" fmla="*/ 667299 h 1325073"/>
              <a:gd name="connsiteX3" fmla="*/ 32341 w 203738"/>
              <a:gd name="connsiteY3" fmla="*/ 242385 h 1325073"/>
              <a:gd name="connsiteX4" fmla="*/ 143296 w 203738"/>
              <a:gd name="connsiteY4" fmla="*/ 0 h 1325073"/>
              <a:gd name="connsiteX0" fmla="*/ 9138 w 171616"/>
              <a:gd name="connsiteY0" fmla="*/ 1325073 h 1325073"/>
              <a:gd name="connsiteX1" fmla="*/ 29526 w 171616"/>
              <a:gd name="connsiteY1" fmla="*/ 963772 h 1325073"/>
              <a:gd name="connsiteX2" fmla="*/ 171514 w 171616"/>
              <a:gd name="connsiteY2" fmla="*/ 667299 h 1325073"/>
              <a:gd name="connsiteX3" fmla="*/ 32341 w 171616"/>
              <a:gd name="connsiteY3" fmla="*/ 242385 h 1325073"/>
              <a:gd name="connsiteX4" fmla="*/ 143296 w 171616"/>
              <a:gd name="connsiteY4" fmla="*/ 0 h 1325073"/>
              <a:gd name="connsiteX0" fmla="*/ 9138 w 171617"/>
              <a:gd name="connsiteY0" fmla="*/ 1264797 h 1264797"/>
              <a:gd name="connsiteX1" fmla="*/ 29526 w 171617"/>
              <a:gd name="connsiteY1" fmla="*/ 903496 h 1264797"/>
              <a:gd name="connsiteX2" fmla="*/ 171514 w 171617"/>
              <a:gd name="connsiteY2" fmla="*/ 607023 h 1264797"/>
              <a:gd name="connsiteX3" fmla="*/ 32341 w 171617"/>
              <a:gd name="connsiteY3" fmla="*/ 182109 h 1264797"/>
              <a:gd name="connsiteX4" fmla="*/ 143295 w 171617"/>
              <a:gd name="connsiteY4" fmla="*/ 0 h 1264797"/>
              <a:gd name="connsiteX0" fmla="*/ 9138 w 179445"/>
              <a:gd name="connsiteY0" fmla="*/ 1351443 h 1351443"/>
              <a:gd name="connsiteX1" fmla="*/ 29526 w 179445"/>
              <a:gd name="connsiteY1" fmla="*/ 990142 h 1351443"/>
              <a:gd name="connsiteX2" fmla="*/ 171514 w 179445"/>
              <a:gd name="connsiteY2" fmla="*/ 693669 h 1351443"/>
              <a:gd name="connsiteX3" fmla="*/ 32341 w 179445"/>
              <a:gd name="connsiteY3" fmla="*/ 268755 h 1351443"/>
              <a:gd name="connsiteX4" fmla="*/ 179445 w 179445"/>
              <a:gd name="connsiteY4" fmla="*/ 0 h 1351443"/>
              <a:gd name="connsiteX0" fmla="*/ 9138 w 179445"/>
              <a:gd name="connsiteY0" fmla="*/ 1351443 h 1351443"/>
              <a:gd name="connsiteX1" fmla="*/ 29526 w 179445"/>
              <a:gd name="connsiteY1" fmla="*/ 990142 h 1351443"/>
              <a:gd name="connsiteX2" fmla="*/ 171514 w 179445"/>
              <a:gd name="connsiteY2" fmla="*/ 693669 h 1351443"/>
              <a:gd name="connsiteX3" fmla="*/ 32341 w 179445"/>
              <a:gd name="connsiteY3" fmla="*/ 268755 h 1351443"/>
              <a:gd name="connsiteX4" fmla="*/ 179445 w 179445"/>
              <a:gd name="connsiteY4" fmla="*/ 0 h 1351443"/>
              <a:gd name="connsiteX0" fmla="*/ 9138 w 179445"/>
              <a:gd name="connsiteY0" fmla="*/ 1351443 h 1351443"/>
              <a:gd name="connsiteX1" fmla="*/ 29526 w 179445"/>
              <a:gd name="connsiteY1" fmla="*/ 990142 h 1351443"/>
              <a:gd name="connsiteX2" fmla="*/ 171514 w 179445"/>
              <a:gd name="connsiteY2" fmla="*/ 693669 h 1351443"/>
              <a:gd name="connsiteX3" fmla="*/ 32341 w 179445"/>
              <a:gd name="connsiteY3" fmla="*/ 268755 h 1351443"/>
              <a:gd name="connsiteX4" fmla="*/ 179445 w 179445"/>
              <a:gd name="connsiteY4" fmla="*/ 0 h 1351443"/>
              <a:gd name="connsiteX0" fmla="*/ 9138 w 179445"/>
              <a:gd name="connsiteY0" fmla="*/ 1400418 h 1400418"/>
              <a:gd name="connsiteX1" fmla="*/ 29526 w 179445"/>
              <a:gd name="connsiteY1" fmla="*/ 990142 h 1400418"/>
              <a:gd name="connsiteX2" fmla="*/ 171514 w 179445"/>
              <a:gd name="connsiteY2" fmla="*/ 693669 h 1400418"/>
              <a:gd name="connsiteX3" fmla="*/ 32341 w 179445"/>
              <a:gd name="connsiteY3" fmla="*/ 268755 h 1400418"/>
              <a:gd name="connsiteX4" fmla="*/ 179445 w 179445"/>
              <a:gd name="connsiteY4" fmla="*/ 0 h 1400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445" h="1400418">
                <a:moveTo>
                  <a:pt x="9138" y="1400418"/>
                </a:moveTo>
                <a:cubicBezTo>
                  <a:pt x="2825" y="1384636"/>
                  <a:pt x="-15695" y="976310"/>
                  <a:pt x="29526" y="990142"/>
                </a:cubicBezTo>
                <a:cubicBezTo>
                  <a:pt x="29443" y="989812"/>
                  <a:pt x="176069" y="698224"/>
                  <a:pt x="171514" y="693669"/>
                </a:cubicBezTo>
                <a:lnTo>
                  <a:pt x="32341" y="268755"/>
                </a:lnTo>
                <a:cubicBezTo>
                  <a:pt x="75842" y="124887"/>
                  <a:pt x="71429" y="172304"/>
                  <a:pt x="179445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134" name="Блок-схема: узел 133"/>
          <p:cNvSpPr/>
          <p:nvPr/>
        </p:nvSpPr>
        <p:spPr bwMode="auto">
          <a:xfrm>
            <a:off x="2342966" y="1603016"/>
            <a:ext cx="93600" cy="70200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0" name="Блок-схема: узел 149"/>
          <p:cNvSpPr/>
          <p:nvPr/>
        </p:nvSpPr>
        <p:spPr bwMode="auto">
          <a:xfrm>
            <a:off x="2185011" y="2282160"/>
            <a:ext cx="93600" cy="70200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234001" y="572427"/>
            <a:ext cx="2450862" cy="6301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>
            <a:spAutoFit/>
          </a:bodyPr>
          <a:lstStyle>
            <a:defPPr>
              <a:defRPr lang="ru-RU"/>
            </a:defPPr>
            <a:lvl1pPr algn="ctr">
              <a:defRPr sz="500" b="1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ru-RU" sz="1050" dirty="0"/>
              <a:t>Атырау-Орал</a:t>
            </a:r>
          </a:p>
          <a:p>
            <a:pPr algn="l" eaLnBrk="1" hangingPunct="1">
              <a:defRPr/>
            </a:pPr>
            <a:r>
              <a:rPr lang="ru-RU" sz="1050" b="0" u="none" dirty="0" err="1"/>
              <a:t>қашықтығы</a:t>
            </a:r>
            <a:r>
              <a:rPr lang="ru-RU" sz="1050" b="0" u="none" dirty="0"/>
              <a:t> – 5</a:t>
            </a:r>
            <a:r>
              <a:rPr lang="en-US" sz="1050" b="0" u="none" dirty="0"/>
              <a:t>21</a:t>
            </a:r>
            <a:r>
              <a:rPr lang="ru-RU" sz="1050" b="0" u="none" dirty="0"/>
              <a:t> км</a:t>
            </a:r>
          </a:p>
          <a:p>
            <a:pPr algn="l" eaLnBrk="1" hangingPunct="1">
              <a:defRPr/>
            </a:pPr>
            <a:r>
              <a:rPr lang="ru-RU" sz="1050" b="0" u="none" dirty="0" err="1"/>
              <a:t>әзірлеу</a:t>
            </a:r>
            <a:r>
              <a:rPr lang="ru-RU" sz="1050" b="0" u="none" dirty="0"/>
              <a:t> </a:t>
            </a:r>
            <a:r>
              <a:rPr lang="ru-RU" sz="1050" b="0" u="none" dirty="0" err="1"/>
              <a:t>мерзімі</a:t>
            </a:r>
            <a:r>
              <a:rPr lang="ru-RU" sz="1050" b="0" u="none" dirty="0"/>
              <a:t> – 2021-202</a:t>
            </a:r>
            <a:r>
              <a:rPr lang="en-US" sz="1050" b="0" u="none" dirty="0"/>
              <a:t>3</a:t>
            </a:r>
            <a:r>
              <a:rPr lang="kk-KZ" sz="1050" b="0" u="none" dirty="0"/>
              <a:t>ж</a:t>
            </a:r>
            <a:r>
              <a:rPr lang="ru-RU" sz="1050" b="0" u="none" dirty="0"/>
              <a:t>.</a:t>
            </a:r>
          </a:p>
        </p:txBody>
      </p:sp>
      <p:cxnSp>
        <p:nvCxnSpPr>
          <p:cNvPr id="156" name="Прямая со стрелкой 155"/>
          <p:cNvCxnSpPr>
            <a:stCxn id="155" idx="2"/>
            <a:endCxn id="153" idx="2"/>
          </p:cNvCxnSpPr>
          <p:nvPr/>
        </p:nvCxnSpPr>
        <p:spPr>
          <a:xfrm>
            <a:off x="1459432" y="1202581"/>
            <a:ext cx="901781" cy="757556"/>
          </a:xfrm>
          <a:prstGeom prst="straightConnector1">
            <a:avLst/>
          </a:prstGeom>
          <a:ln w="22225">
            <a:solidFill>
              <a:srgbClr val="002060"/>
            </a:solidFill>
            <a:headEnd w="sm" len="lg"/>
            <a:tailEnd type="triangl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AutoShape 19"/>
          <p:cNvSpPr>
            <a:spLocks noChangeArrowheads="1"/>
          </p:cNvSpPr>
          <p:nvPr/>
        </p:nvSpPr>
        <p:spPr bwMode="auto">
          <a:xfrm>
            <a:off x="5449888" y="1885247"/>
            <a:ext cx="354012" cy="6667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ганда</a:t>
            </a:r>
          </a:p>
        </p:txBody>
      </p:sp>
      <p:sp>
        <p:nvSpPr>
          <p:cNvPr id="128" name="Полилиния 127"/>
          <p:cNvSpPr/>
          <p:nvPr/>
        </p:nvSpPr>
        <p:spPr>
          <a:xfrm flipV="1">
            <a:off x="4833941" y="2340067"/>
            <a:ext cx="192087" cy="51197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1408 w 11408"/>
              <a:gd name="connsiteY0" fmla="*/ 6810 h 6810"/>
              <a:gd name="connsiteX1" fmla="*/ 0 w 11408"/>
              <a:gd name="connsiteY1" fmla="*/ 0 h 6810"/>
              <a:gd name="connsiteX0" fmla="*/ 10881 w 10881"/>
              <a:gd name="connsiteY0" fmla="*/ 8048 h 8048"/>
              <a:gd name="connsiteX1" fmla="*/ 0 w 10881"/>
              <a:gd name="connsiteY1" fmla="*/ 0 h 8048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3880 h 13880"/>
              <a:gd name="connsiteX1" fmla="*/ 0 w 13078"/>
              <a:gd name="connsiteY1" fmla="*/ 0 h 1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078" h="13880">
                <a:moveTo>
                  <a:pt x="13078" y="13880"/>
                </a:moveTo>
                <a:cubicBezTo>
                  <a:pt x="7590" y="10289"/>
                  <a:pt x="7035" y="8183"/>
                  <a:pt x="0" y="0"/>
                </a:cubicBezTo>
              </a:path>
            </a:pathLst>
          </a:custGeom>
          <a:noFill/>
          <a:ln w="952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31" name="TextBox 130"/>
          <p:cNvSpPr txBox="1"/>
          <p:nvPr/>
        </p:nvSpPr>
        <p:spPr>
          <a:xfrm>
            <a:off x="4181142" y="2917821"/>
            <a:ext cx="2421270" cy="6301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>
            <a:spAutoFit/>
          </a:bodyPr>
          <a:lstStyle>
            <a:defPPr>
              <a:defRPr lang="ru-RU"/>
            </a:defPPr>
            <a:lvl1pPr algn="ctr">
              <a:defRPr sz="500" b="1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ru-RU" sz="1050" dirty="0" err="1"/>
              <a:t>Жезқазған-Қарағанды</a:t>
            </a:r>
            <a:endParaRPr lang="ru-RU" sz="1050" dirty="0"/>
          </a:p>
          <a:p>
            <a:pPr algn="l">
              <a:defRPr/>
            </a:pPr>
            <a:r>
              <a:rPr lang="ru-RU" sz="1050" b="0" u="none" dirty="0" err="1"/>
              <a:t>қашықтығы</a:t>
            </a:r>
            <a:r>
              <a:rPr lang="ru-RU" sz="1050" b="0" u="none" dirty="0"/>
              <a:t> – </a:t>
            </a:r>
            <a:r>
              <a:rPr lang="en-US" sz="1050" b="0" u="none" dirty="0"/>
              <a:t>513</a:t>
            </a:r>
            <a:r>
              <a:rPr lang="ru-RU" sz="1050" b="0" u="none" dirty="0"/>
              <a:t> км</a:t>
            </a:r>
          </a:p>
          <a:p>
            <a:pPr algn="l">
              <a:defRPr/>
            </a:pPr>
            <a:r>
              <a:rPr lang="ru-RU" sz="1050" b="0" u="none" dirty="0" err="1"/>
              <a:t>әзірлеу</a:t>
            </a:r>
            <a:r>
              <a:rPr lang="ru-RU" sz="1050" b="0" u="none" dirty="0"/>
              <a:t> </a:t>
            </a:r>
            <a:r>
              <a:rPr lang="ru-RU" sz="1050" b="0" u="none" dirty="0" err="1"/>
              <a:t>мерзімі</a:t>
            </a:r>
            <a:r>
              <a:rPr lang="ru-RU" sz="1050" b="0" u="none" dirty="0"/>
              <a:t> – 2021-2023ж.</a:t>
            </a:r>
          </a:p>
        </p:txBody>
      </p:sp>
      <p:cxnSp>
        <p:nvCxnSpPr>
          <p:cNvPr id="132" name="Прямая со стрелкой 131"/>
          <p:cNvCxnSpPr>
            <a:stCxn id="131" idx="0"/>
            <a:endCxn id="119" idx="1"/>
          </p:cNvCxnSpPr>
          <p:nvPr/>
        </p:nvCxnSpPr>
        <p:spPr>
          <a:xfrm flipV="1">
            <a:off x="5391777" y="2224312"/>
            <a:ext cx="112623" cy="693509"/>
          </a:xfrm>
          <a:prstGeom prst="straightConnector1">
            <a:avLst/>
          </a:prstGeom>
          <a:ln w="22225">
            <a:solidFill>
              <a:srgbClr val="002060"/>
            </a:solidFill>
            <a:headEnd w="sm" len="lg"/>
            <a:tailEnd type="triangl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Полилиния 134"/>
          <p:cNvSpPr/>
          <p:nvPr/>
        </p:nvSpPr>
        <p:spPr>
          <a:xfrm flipV="1">
            <a:off x="4840291" y="2335304"/>
            <a:ext cx="192087" cy="51197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1408 w 11408"/>
              <a:gd name="connsiteY0" fmla="*/ 6810 h 6810"/>
              <a:gd name="connsiteX1" fmla="*/ 0 w 11408"/>
              <a:gd name="connsiteY1" fmla="*/ 0 h 6810"/>
              <a:gd name="connsiteX0" fmla="*/ 10881 w 10881"/>
              <a:gd name="connsiteY0" fmla="*/ 8048 h 8048"/>
              <a:gd name="connsiteX1" fmla="*/ 0 w 10881"/>
              <a:gd name="connsiteY1" fmla="*/ 0 h 8048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3880 h 13880"/>
              <a:gd name="connsiteX1" fmla="*/ 0 w 13078"/>
              <a:gd name="connsiteY1" fmla="*/ 0 h 13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078" h="13880">
                <a:moveTo>
                  <a:pt x="13078" y="13880"/>
                </a:moveTo>
                <a:cubicBezTo>
                  <a:pt x="7590" y="10289"/>
                  <a:pt x="7035" y="8183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41" name="AutoShape 19"/>
          <p:cNvSpPr>
            <a:spLocks noChangeArrowheads="1"/>
          </p:cNvSpPr>
          <p:nvPr/>
        </p:nvSpPr>
        <p:spPr bwMode="auto">
          <a:xfrm>
            <a:off x="3725863" y="2028122"/>
            <a:ext cx="352425" cy="6667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eaLnBrk="1" hangingPunct="1">
              <a:defRPr/>
            </a:pPr>
            <a:r>
              <a:rPr lang="ru-RU" sz="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гайсын</a:t>
            </a:r>
          </a:p>
        </p:txBody>
      </p:sp>
      <p:sp>
        <p:nvSpPr>
          <p:cNvPr id="142" name="Полилиния 141"/>
          <p:cNvSpPr/>
          <p:nvPr/>
        </p:nvSpPr>
        <p:spPr>
          <a:xfrm flipV="1">
            <a:off x="5024438" y="2015025"/>
            <a:ext cx="622300" cy="322660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1408 w 11408"/>
              <a:gd name="connsiteY0" fmla="*/ 6810 h 6810"/>
              <a:gd name="connsiteX1" fmla="*/ 0 w 11408"/>
              <a:gd name="connsiteY1" fmla="*/ 0 h 6810"/>
              <a:gd name="connsiteX0" fmla="*/ 10881 w 10881"/>
              <a:gd name="connsiteY0" fmla="*/ 8048 h 8048"/>
              <a:gd name="connsiteX1" fmla="*/ 0 w 10881"/>
              <a:gd name="connsiteY1" fmla="*/ 0 h 8048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3880 h 13880"/>
              <a:gd name="connsiteX1" fmla="*/ 0 w 13078"/>
              <a:gd name="connsiteY1" fmla="*/ 0 h 13880"/>
              <a:gd name="connsiteX0" fmla="*/ 40075 w 40075"/>
              <a:gd name="connsiteY0" fmla="*/ 134156 h 134156"/>
              <a:gd name="connsiteX1" fmla="*/ 0 w 40075"/>
              <a:gd name="connsiteY1" fmla="*/ 0 h 134156"/>
              <a:gd name="connsiteX0" fmla="*/ 43315 w 43315"/>
              <a:gd name="connsiteY0" fmla="*/ 85657 h 85657"/>
              <a:gd name="connsiteX1" fmla="*/ 0 w 43315"/>
              <a:gd name="connsiteY1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2343 w 42343"/>
              <a:gd name="connsiteY0" fmla="*/ 87597 h 87597"/>
              <a:gd name="connsiteX1" fmla="*/ 33576 w 42343"/>
              <a:gd name="connsiteY1" fmla="*/ 31871 h 87597"/>
              <a:gd name="connsiteX2" fmla="*/ 0 w 42343"/>
              <a:gd name="connsiteY2" fmla="*/ 0 h 87597"/>
              <a:gd name="connsiteX0" fmla="*/ 42343 w 42343"/>
              <a:gd name="connsiteY0" fmla="*/ 87597 h 87597"/>
              <a:gd name="connsiteX1" fmla="*/ 33576 w 42343"/>
              <a:gd name="connsiteY1" fmla="*/ 31871 h 87597"/>
              <a:gd name="connsiteX2" fmla="*/ 0 w 42343"/>
              <a:gd name="connsiteY2" fmla="*/ 0 h 8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343" h="87597">
                <a:moveTo>
                  <a:pt x="42343" y="87597"/>
                </a:moveTo>
                <a:cubicBezTo>
                  <a:pt x="40195" y="71770"/>
                  <a:pt x="43662" y="40100"/>
                  <a:pt x="33576" y="31871"/>
                </a:cubicBezTo>
                <a:cubicBezTo>
                  <a:pt x="22168" y="26616"/>
                  <a:pt x="7035" y="8183"/>
                  <a:pt x="0" y="0"/>
                </a:cubicBezTo>
              </a:path>
            </a:pathLst>
          </a:custGeom>
          <a:noFill/>
          <a:ln w="952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ru-RU"/>
          </a:p>
        </p:txBody>
      </p:sp>
      <p:sp>
        <p:nvSpPr>
          <p:cNvPr id="176" name="Полилиния 175"/>
          <p:cNvSpPr/>
          <p:nvPr/>
        </p:nvSpPr>
        <p:spPr>
          <a:xfrm flipV="1">
            <a:off x="3271838" y="1906680"/>
            <a:ext cx="150812" cy="30956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3217 w 13217"/>
              <a:gd name="connsiteY0" fmla="*/ 8139 h 8139"/>
              <a:gd name="connsiteX1" fmla="*/ 0 w 13217"/>
              <a:gd name="connsiteY1" fmla="*/ 0 h 8139"/>
              <a:gd name="connsiteX0" fmla="*/ 8935 w 8935"/>
              <a:gd name="connsiteY0" fmla="*/ 9347 h 9347"/>
              <a:gd name="connsiteX1" fmla="*/ 0 w 8935"/>
              <a:gd name="connsiteY1" fmla="*/ 0 h 9347"/>
              <a:gd name="connsiteX0" fmla="*/ 9489 w 9489"/>
              <a:gd name="connsiteY0" fmla="*/ 1292 h 2645"/>
              <a:gd name="connsiteX1" fmla="*/ 0 w 9489"/>
              <a:gd name="connsiteY1" fmla="*/ 726 h 2645"/>
              <a:gd name="connsiteX0" fmla="*/ 11615 w 11615"/>
              <a:gd name="connsiteY0" fmla="*/ 3501 h 25155"/>
              <a:gd name="connsiteX1" fmla="*/ 0 w 11615"/>
              <a:gd name="connsiteY1" fmla="*/ 19855 h 25155"/>
              <a:gd name="connsiteX0" fmla="*/ 11615 w 11615"/>
              <a:gd name="connsiteY0" fmla="*/ 0 h 23701"/>
              <a:gd name="connsiteX1" fmla="*/ 0 w 11615"/>
              <a:gd name="connsiteY1" fmla="*/ 16354 h 23701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256 w 11256"/>
              <a:gd name="connsiteY0" fmla="*/ 0 h 22960"/>
              <a:gd name="connsiteX1" fmla="*/ 0 w 11256"/>
              <a:gd name="connsiteY1" fmla="*/ 22960 h 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256" h="22960">
                <a:moveTo>
                  <a:pt x="11256" y="0"/>
                </a:moveTo>
                <a:cubicBezTo>
                  <a:pt x="5178" y="10032"/>
                  <a:pt x="5281" y="14866"/>
                  <a:pt x="0" y="22960"/>
                </a:cubicBezTo>
              </a:path>
            </a:pathLst>
          </a:custGeom>
          <a:noFill/>
          <a:ln w="952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78" name="Полилиния 177"/>
          <p:cNvSpPr/>
          <p:nvPr/>
        </p:nvSpPr>
        <p:spPr>
          <a:xfrm flipV="1">
            <a:off x="3405191" y="1934673"/>
            <a:ext cx="282575" cy="148828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3217 w 13217"/>
              <a:gd name="connsiteY0" fmla="*/ 8139 h 8139"/>
              <a:gd name="connsiteX1" fmla="*/ 0 w 13217"/>
              <a:gd name="connsiteY1" fmla="*/ 0 h 8139"/>
              <a:gd name="connsiteX0" fmla="*/ 8935 w 8935"/>
              <a:gd name="connsiteY0" fmla="*/ 9347 h 9347"/>
              <a:gd name="connsiteX1" fmla="*/ 0 w 8935"/>
              <a:gd name="connsiteY1" fmla="*/ 0 h 9347"/>
              <a:gd name="connsiteX0" fmla="*/ 9489 w 9489"/>
              <a:gd name="connsiteY0" fmla="*/ 1292 h 2645"/>
              <a:gd name="connsiteX1" fmla="*/ 0 w 9489"/>
              <a:gd name="connsiteY1" fmla="*/ 726 h 2645"/>
              <a:gd name="connsiteX0" fmla="*/ 11615 w 11615"/>
              <a:gd name="connsiteY0" fmla="*/ 3501 h 25155"/>
              <a:gd name="connsiteX1" fmla="*/ 0 w 11615"/>
              <a:gd name="connsiteY1" fmla="*/ 19855 h 25155"/>
              <a:gd name="connsiteX0" fmla="*/ 11615 w 11615"/>
              <a:gd name="connsiteY0" fmla="*/ 0 h 23701"/>
              <a:gd name="connsiteX1" fmla="*/ 0 w 11615"/>
              <a:gd name="connsiteY1" fmla="*/ 16354 h 23701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794 w 11794"/>
              <a:gd name="connsiteY0" fmla="*/ 0 h 83728"/>
              <a:gd name="connsiteX1" fmla="*/ 0 w 11794"/>
              <a:gd name="connsiteY1" fmla="*/ 83728 h 83728"/>
              <a:gd name="connsiteX0" fmla="*/ 21304 w 21304"/>
              <a:gd name="connsiteY0" fmla="*/ 0 h 110149"/>
              <a:gd name="connsiteX1" fmla="*/ 0 w 21304"/>
              <a:gd name="connsiteY1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04" h="110149">
                <a:moveTo>
                  <a:pt x="21304" y="0"/>
                </a:moveTo>
                <a:cubicBezTo>
                  <a:pt x="18291" y="13674"/>
                  <a:pt x="19943" y="43201"/>
                  <a:pt x="17289" y="66123"/>
                </a:cubicBezTo>
                <a:cubicBezTo>
                  <a:pt x="6613" y="76083"/>
                  <a:pt x="5281" y="102055"/>
                  <a:pt x="0" y="110149"/>
                </a:cubicBezTo>
              </a:path>
            </a:pathLst>
          </a:custGeom>
          <a:noFill/>
          <a:ln w="952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79" name="Полилиния 178"/>
          <p:cNvSpPr/>
          <p:nvPr/>
        </p:nvSpPr>
        <p:spPr>
          <a:xfrm flipV="1">
            <a:off x="3408366" y="1938826"/>
            <a:ext cx="282575" cy="148829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3217 w 13217"/>
              <a:gd name="connsiteY0" fmla="*/ 8139 h 8139"/>
              <a:gd name="connsiteX1" fmla="*/ 0 w 13217"/>
              <a:gd name="connsiteY1" fmla="*/ 0 h 8139"/>
              <a:gd name="connsiteX0" fmla="*/ 8935 w 8935"/>
              <a:gd name="connsiteY0" fmla="*/ 9347 h 9347"/>
              <a:gd name="connsiteX1" fmla="*/ 0 w 8935"/>
              <a:gd name="connsiteY1" fmla="*/ 0 h 9347"/>
              <a:gd name="connsiteX0" fmla="*/ 9489 w 9489"/>
              <a:gd name="connsiteY0" fmla="*/ 1292 h 2645"/>
              <a:gd name="connsiteX1" fmla="*/ 0 w 9489"/>
              <a:gd name="connsiteY1" fmla="*/ 726 h 2645"/>
              <a:gd name="connsiteX0" fmla="*/ 11615 w 11615"/>
              <a:gd name="connsiteY0" fmla="*/ 3501 h 25155"/>
              <a:gd name="connsiteX1" fmla="*/ 0 w 11615"/>
              <a:gd name="connsiteY1" fmla="*/ 19855 h 25155"/>
              <a:gd name="connsiteX0" fmla="*/ 11615 w 11615"/>
              <a:gd name="connsiteY0" fmla="*/ 0 h 23701"/>
              <a:gd name="connsiteX1" fmla="*/ 0 w 11615"/>
              <a:gd name="connsiteY1" fmla="*/ 16354 h 23701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794 w 11794"/>
              <a:gd name="connsiteY0" fmla="*/ 0 h 83728"/>
              <a:gd name="connsiteX1" fmla="*/ 0 w 11794"/>
              <a:gd name="connsiteY1" fmla="*/ 83728 h 83728"/>
              <a:gd name="connsiteX0" fmla="*/ 21304 w 21304"/>
              <a:gd name="connsiteY0" fmla="*/ 0 h 110149"/>
              <a:gd name="connsiteX1" fmla="*/ 0 w 21304"/>
              <a:gd name="connsiteY1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2265 w 21304"/>
              <a:gd name="connsiteY1" fmla="*/ 410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  <a:gd name="connsiteX0" fmla="*/ 21304 w 21304"/>
              <a:gd name="connsiteY0" fmla="*/ 0 h 110149"/>
              <a:gd name="connsiteX1" fmla="*/ 17289 w 21304"/>
              <a:gd name="connsiteY1" fmla="*/ 66123 h 110149"/>
              <a:gd name="connsiteX2" fmla="*/ 0 w 21304"/>
              <a:gd name="connsiteY2" fmla="*/ 110149 h 110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304" h="110149">
                <a:moveTo>
                  <a:pt x="21304" y="0"/>
                </a:moveTo>
                <a:cubicBezTo>
                  <a:pt x="18291" y="13674"/>
                  <a:pt x="19943" y="43201"/>
                  <a:pt x="17289" y="66123"/>
                </a:cubicBezTo>
                <a:cubicBezTo>
                  <a:pt x="6613" y="76083"/>
                  <a:pt x="5281" y="102055"/>
                  <a:pt x="0" y="11014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37" name="Блок-схема: узел 136"/>
          <p:cNvSpPr/>
          <p:nvPr/>
        </p:nvSpPr>
        <p:spPr bwMode="auto">
          <a:xfrm>
            <a:off x="3651367" y="2071747"/>
            <a:ext cx="68271" cy="55859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80" name="Полилиния 179"/>
          <p:cNvSpPr/>
          <p:nvPr/>
        </p:nvSpPr>
        <p:spPr>
          <a:xfrm flipV="1">
            <a:off x="3265491" y="1904299"/>
            <a:ext cx="149225" cy="30956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3217 w 13217"/>
              <a:gd name="connsiteY0" fmla="*/ 8139 h 8139"/>
              <a:gd name="connsiteX1" fmla="*/ 0 w 13217"/>
              <a:gd name="connsiteY1" fmla="*/ 0 h 8139"/>
              <a:gd name="connsiteX0" fmla="*/ 8935 w 8935"/>
              <a:gd name="connsiteY0" fmla="*/ 9347 h 9347"/>
              <a:gd name="connsiteX1" fmla="*/ 0 w 8935"/>
              <a:gd name="connsiteY1" fmla="*/ 0 h 9347"/>
              <a:gd name="connsiteX0" fmla="*/ 9489 w 9489"/>
              <a:gd name="connsiteY0" fmla="*/ 1292 h 2645"/>
              <a:gd name="connsiteX1" fmla="*/ 0 w 9489"/>
              <a:gd name="connsiteY1" fmla="*/ 726 h 2645"/>
              <a:gd name="connsiteX0" fmla="*/ 11615 w 11615"/>
              <a:gd name="connsiteY0" fmla="*/ 3501 h 25155"/>
              <a:gd name="connsiteX1" fmla="*/ 0 w 11615"/>
              <a:gd name="connsiteY1" fmla="*/ 19855 h 25155"/>
              <a:gd name="connsiteX0" fmla="*/ 11615 w 11615"/>
              <a:gd name="connsiteY0" fmla="*/ 0 h 23701"/>
              <a:gd name="connsiteX1" fmla="*/ 0 w 11615"/>
              <a:gd name="connsiteY1" fmla="*/ 16354 h 23701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615 w 11615"/>
              <a:gd name="connsiteY0" fmla="*/ 0 h 16354"/>
              <a:gd name="connsiteX1" fmla="*/ 0 w 11615"/>
              <a:gd name="connsiteY1" fmla="*/ 16354 h 16354"/>
              <a:gd name="connsiteX0" fmla="*/ 11256 w 11256"/>
              <a:gd name="connsiteY0" fmla="*/ 0 h 22960"/>
              <a:gd name="connsiteX1" fmla="*/ 0 w 11256"/>
              <a:gd name="connsiteY1" fmla="*/ 22960 h 22960"/>
              <a:gd name="connsiteX0" fmla="*/ 11256 w 11256"/>
              <a:gd name="connsiteY0" fmla="*/ 0 h 22960"/>
              <a:gd name="connsiteX1" fmla="*/ 0 w 11256"/>
              <a:gd name="connsiteY1" fmla="*/ 22960 h 22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256" h="22960">
                <a:moveTo>
                  <a:pt x="11256" y="0"/>
                </a:moveTo>
                <a:cubicBezTo>
                  <a:pt x="5178" y="10032"/>
                  <a:pt x="5281" y="14866"/>
                  <a:pt x="0" y="2296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298" name="Блок-схема: узел 297"/>
          <p:cNvSpPr/>
          <p:nvPr/>
        </p:nvSpPr>
        <p:spPr bwMode="auto">
          <a:xfrm>
            <a:off x="3194014" y="1857151"/>
            <a:ext cx="93600" cy="70200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81" name="TextBox 180"/>
          <p:cNvSpPr txBox="1"/>
          <p:nvPr/>
        </p:nvSpPr>
        <p:spPr>
          <a:xfrm>
            <a:off x="4879730" y="520901"/>
            <a:ext cx="2592285" cy="63015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anchor="ctr">
            <a:spAutoFit/>
          </a:bodyPr>
          <a:lstStyle>
            <a:defPPr>
              <a:defRPr lang="ru-RU"/>
            </a:defPPr>
            <a:lvl1pPr algn="ctr">
              <a:defRPr sz="500" b="1" u="sng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eaLnBrk="1" hangingPunct="1">
              <a:defRPr/>
            </a:pPr>
            <a:r>
              <a:rPr lang="ru-RU" sz="1050" dirty="0" err="1"/>
              <a:t>Ақтөбе-Ұлғайсын</a:t>
            </a:r>
            <a:endParaRPr lang="ru-RU" sz="1050" dirty="0"/>
          </a:p>
          <a:p>
            <a:pPr algn="l">
              <a:defRPr/>
            </a:pPr>
            <a:r>
              <a:rPr lang="ru-RU" sz="1050" b="0" u="none" dirty="0" err="1"/>
              <a:t>қашықтығы</a:t>
            </a:r>
            <a:r>
              <a:rPr lang="ru-RU" sz="1050" b="0" u="none" dirty="0"/>
              <a:t> – </a:t>
            </a:r>
            <a:r>
              <a:rPr lang="ru-RU" sz="1050" b="0" u="none" dirty="0" smtClean="0"/>
              <a:t>262 км</a:t>
            </a:r>
            <a:endParaRPr lang="ru-RU" sz="1050" b="0" u="none" dirty="0"/>
          </a:p>
          <a:p>
            <a:pPr algn="l">
              <a:defRPr/>
            </a:pPr>
            <a:r>
              <a:rPr lang="ru-RU" sz="1050" b="0" u="none" dirty="0" err="1"/>
              <a:t>әзірлеу</a:t>
            </a:r>
            <a:r>
              <a:rPr lang="ru-RU" sz="1050" b="0" u="none" dirty="0"/>
              <a:t> </a:t>
            </a:r>
            <a:r>
              <a:rPr lang="ru-RU" sz="1050" b="0" u="none" dirty="0" err="1"/>
              <a:t>мерзімі</a:t>
            </a:r>
            <a:r>
              <a:rPr lang="ru-RU" sz="1050" b="0" u="none" dirty="0"/>
              <a:t> – 2021-2023ж.</a:t>
            </a:r>
          </a:p>
        </p:txBody>
      </p:sp>
      <p:cxnSp>
        <p:nvCxnSpPr>
          <p:cNvPr id="182" name="Прямая со стрелкой 181"/>
          <p:cNvCxnSpPr>
            <a:stCxn id="181" idx="2"/>
            <a:endCxn id="179" idx="1"/>
          </p:cNvCxnSpPr>
          <p:nvPr/>
        </p:nvCxnSpPr>
        <p:spPr>
          <a:xfrm flipH="1">
            <a:off x="3637686" y="1151055"/>
            <a:ext cx="2538187" cy="847257"/>
          </a:xfrm>
          <a:prstGeom prst="straightConnector1">
            <a:avLst/>
          </a:prstGeom>
          <a:ln w="22225">
            <a:solidFill>
              <a:srgbClr val="002060"/>
            </a:solidFill>
            <a:headEnd w="sm" len="lg"/>
            <a:tailEnd type="triangl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Полилиния 118"/>
          <p:cNvSpPr/>
          <p:nvPr/>
        </p:nvSpPr>
        <p:spPr>
          <a:xfrm flipV="1">
            <a:off x="5010945" y="2019048"/>
            <a:ext cx="622300" cy="322660"/>
          </a:xfrm>
          <a:custGeom>
            <a:avLst/>
            <a:gdLst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95250 w 269081"/>
              <a:gd name="connsiteY6" fmla="*/ 95250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9062 w 269081"/>
              <a:gd name="connsiteY5" fmla="*/ 97632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42862 w 269081"/>
              <a:gd name="connsiteY7" fmla="*/ 107157 h 111919"/>
              <a:gd name="connsiteX8" fmla="*/ 0 w 269081"/>
              <a:gd name="connsiteY8" fmla="*/ 111919 h 111919"/>
              <a:gd name="connsiteX0" fmla="*/ 269081 w 269081"/>
              <a:gd name="connsiteY0" fmla="*/ 0 h 111919"/>
              <a:gd name="connsiteX1" fmla="*/ 226218 w 269081"/>
              <a:gd name="connsiteY1" fmla="*/ 40482 h 111919"/>
              <a:gd name="connsiteX2" fmla="*/ 197643 w 269081"/>
              <a:gd name="connsiteY2" fmla="*/ 54769 h 111919"/>
              <a:gd name="connsiteX3" fmla="*/ 178593 w 269081"/>
              <a:gd name="connsiteY3" fmla="*/ 69057 h 111919"/>
              <a:gd name="connsiteX4" fmla="*/ 164306 w 269081"/>
              <a:gd name="connsiteY4" fmla="*/ 78582 h 111919"/>
              <a:gd name="connsiteX5" fmla="*/ 116851 w 269081"/>
              <a:gd name="connsiteY5" fmla="*/ 86090 h 111919"/>
              <a:gd name="connsiteX6" fmla="*/ 88615 w 269081"/>
              <a:gd name="connsiteY6" fmla="*/ 90634 h 111919"/>
              <a:gd name="connsiteX7" fmla="*/ 31803 w 269081"/>
              <a:gd name="connsiteY7" fmla="*/ 102540 h 111919"/>
              <a:gd name="connsiteX8" fmla="*/ 0 w 269081"/>
              <a:gd name="connsiteY8" fmla="*/ 111919 h 111919"/>
              <a:gd name="connsiteX0" fmla="*/ 237278 w 237278"/>
              <a:gd name="connsiteY0" fmla="*/ 0 h 102540"/>
              <a:gd name="connsiteX1" fmla="*/ 194415 w 237278"/>
              <a:gd name="connsiteY1" fmla="*/ 40482 h 102540"/>
              <a:gd name="connsiteX2" fmla="*/ 165840 w 237278"/>
              <a:gd name="connsiteY2" fmla="*/ 54769 h 102540"/>
              <a:gd name="connsiteX3" fmla="*/ 146790 w 237278"/>
              <a:gd name="connsiteY3" fmla="*/ 69057 h 102540"/>
              <a:gd name="connsiteX4" fmla="*/ 132503 w 237278"/>
              <a:gd name="connsiteY4" fmla="*/ 78582 h 102540"/>
              <a:gd name="connsiteX5" fmla="*/ 85048 w 237278"/>
              <a:gd name="connsiteY5" fmla="*/ 86090 h 102540"/>
              <a:gd name="connsiteX6" fmla="*/ 56812 w 237278"/>
              <a:gd name="connsiteY6" fmla="*/ 90634 h 102540"/>
              <a:gd name="connsiteX7" fmla="*/ 0 w 237278"/>
              <a:gd name="connsiteY7" fmla="*/ 102540 h 102540"/>
              <a:gd name="connsiteX0" fmla="*/ 180466 w 180466"/>
              <a:gd name="connsiteY0" fmla="*/ 0 h 90634"/>
              <a:gd name="connsiteX1" fmla="*/ 137603 w 180466"/>
              <a:gd name="connsiteY1" fmla="*/ 40482 h 90634"/>
              <a:gd name="connsiteX2" fmla="*/ 109028 w 180466"/>
              <a:gd name="connsiteY2" fmla="*/ 54769 h 90634"/>
              <a:gd name="connsiteX3" fmla="*/ 89978 w 180466"/>
              <a:gd name="connsiteY3" fmla="*/ 69057 h 90634"/>
              <a:gd name="connsiteX4" fmla="*/ 75691 w 180466"/>
              <a:gd name="connsiteY4" fmla="*/ 78582 h 90634"/>
              <a:gd name="connsiteX5" fmla="*/ 28236 w 180466"/>
              <a:gd name="connsiteY5" fmla="*/ 86090 h 90634"/>
              <a:gd name="connsiteX6" fmla="*/ 0 w 180466"/>
              <a:gd name="connsiteY6" fmla="*/ 90634 h 90634"/>
              <a:gd name="connsiteX0" fmla="*/ 152230 w 152230"/>
              <a:gd name="connsiteY0" fmla="*/ 0 h 86090"/>
              <a:gd name="connsiteX1" fmla="*/ 109367 w 152230"/>
              <a:gd name="connsiteY1" fmla="*/ 40482 h 86090"/>
              <a:gd name="connsiteX2" fmla="*/ 80792 w 152230"/>
              <a:gd name="connsiteY2" fmla="*/ 54769 h 86090"/>
              <a:gd name="connsiteX3" fmla="*/ 61742 w 152230"/>
              <a:gd name="connsiteY3" fmla="*/ 69057 h 86090"/>
              <a:gd name="connsiteX4" fmla="*/ 47455 w 152230"/>
              <a:gd name="connsiteY4" fmla="*/ 78582 h 86090"/>
              <a:gd name="connsiteX5" fmla="*/ 0 w 152230"/>
              <a:gd name="connsiteY5" fmla="*/ 86090 h 86090"/>
              <a:gd name="connsiteX0" fmla="*/ 104775 w 104775"/>
              <a:gd name="connsiteY0" fmla="*/ 0 h 78582"/>
              <a:gd name="connsiteX1" fmla="*/ 61912 w 104775"/>
              <a:gd name="connsiteY1" fmla="*/ 40482 h 78582"/>
              <a:gd name="connsiteX2" fmla="*/ 33337 w 104775"/>
              <a:gd name="connsiteY2" fmla="*/ 54769 h 78582"/>
              <a:gd name="connsiteX3" fmla="*/ 14287 w 104775"/>
              <a:gd name="connsiteY3" fmla="*/ 69057 h 78582"/>
              <a:gd name="connsiteX4" fmla="*/ 0 w 104775"/>
              <a:gd name="connsiteY4" fmla="*/ 78582 h 78582"/>
              <a:gd name="connsiteX0" fmla="*/ 61912 w 61912"/>
              <a:gd name="connsiteY0" fmla="*/ 0 h 38100"/>
              <a:gd name="connsiteX1" fmla="*/ 33337 w 61912"/>
              <a:gd name="connsiteY1" fmla="*/ 14287 h 38100"/>
              <a:gd name="connsiteX2" fmla="*/ 14287 w 61912"/>
              <a:gd name="connsiteY2" fmla="*/ 28575 h 38100"/>
              <a:gd name="connsiteX3" fmla="*/ 0 w 61912"/>
              <a:gd name="connsiteY3" fmla="*/ 38100 h 38100"/>
              <a:gd name="connsiteX0" fmla="*/ 68657 w 68657"/>
              <a:gd name="connsiteY0" fmla="*/ 0 h 32147"/>
              <a:gd name="connsiteX1" fmla="*/ 33337 w 68657"/>
              <a:gd name="connsiteY1" fmla="*/ 8334 h 32147"/>
              <a:gd name="connsiteX2" fmla="*/ 14287 w 68657"/>
              <a:gd name="connsiteY2" fmla="*/ 22622 h 32147"/>
              <a:gd name="connsiteX3" fmla="*/ 0 w 68657"/>
              <a:gd name="connsiteY3" fmla="*/ 32147 h 32147"/>
              <a:gd name="connsiteX0" fmla="*/ 68657 w 70532"/>
              <a:gd name="connsiteY0" fmla="*/ 6051 h 38198"/>
              <a:gd name="connsiteX1" fmla="*/ 67678 w 70532"/>
              <a:gd name="connsiteY1" fmla="*/ 200 h 38198"/>
              <a:gd name="connsiteX2" fmla="*/ 33337 w 70532"/>
              <a:gd name="connsiteY2" fmla="*/ 14385 h 38198"/>
              <a:gd name="connsiteX3" fmla="*/ 14287 w 70532"/>
              <a:gd name="connsiteY3" fmla="*/ 28673 h 38198"/>
              <a:gd name="connsiteX4" fmla="*/ 0 w 70532"/>
              <a:gd name="connsiteY4" fmla="*/ 38198 h 38198"/>
              <a:gd name="connsiteX0" fmla="*/ 68657 w 74787"/>
              <a:gd name="connsiteY0" fmla="*/ 7152 h 39299"/>
              <a:gd name="connsiteX1" fmla="*/ 67678 w 74787"/>
              <a:gd name="connsiteY1" fmla="*/ 1301 h 39299"/>
              <a:gd name="connsiteX2" fmla="*/ 73074 w 74787"/>
              <a:gd name="connsiteY2" fmla="*/ 1302 h 39299"/>
              <a:gd name="connsiteX3" fmla="*/ 33337 w 74787"/>
              <a:gd name="connsiteY3" fmla="*/ 15486 h 39299"/>
              <a:gd name="connsiteX4" fmla="*/ 14287 w 74787"/>
              <a:gd name="connsiteY4" fmla="*/ 29774 h 39299"/>
              <a:gd name="connsiteX5" fmla="*/ 0 w 74787"/>
              <a:gd name="connsiteY5" fmla="*/ 39299 h 39299"/>
              <a:gd name="connsiteX0" fmla="*/ 68657 w 84685"/>
              <a:gd name="connsiteY0" fmla="*/ 6052 h 38199"/>
              <a:gd name="connsiteX1" fmla="*/ 67678 w 84685"/>
              <a:gd name="connsiteY1" fmla="*/ 201 h 38199"/>
              <a:gd name="connsiteX2" fmla="*/ 73074 w 84685"/>
              <a:gd name="connsiteY2" fmla="*/ 202 h 38199"/>
              <a:gd name="connsiteX3" fmla="*/ 33337 w 84685"/>
              <a:gd name="connsiteY3" fmla="*/ 14386 h 38199"/>
              <a:gd name="connsiteX4" fmla="*/ 14287 w 84685"/>
              <a:gd name="connsiteY4" fmla="*/ 28674 h 38199"/>
              <a:gd name="connsiteX5" fmla="*/ 0 w 84685"/>
              <a:gd name="connsiteY5" fmla="*/ 38199 h 38199"/>
              <a:gd name="connsiteX0" fmla="*/ 68657 w 86471"/>
              <a:gd name="connsiteY0" fmla="*/ 6052 h 38199"/>
              <a:gd name="connsiteX1" fmla="*/ 67678 w 86471"/>
              <a:gd name="connsiteY1" fmla="*/ 201 h 38199"/>
              <a:gd name="connsiteX2" fmla="*/ 73074 w 86471"/>
              <a:gd name="connsiteY2" fmla="*/ 202 h 38199"/>
              <a:gd name="connsiteX3" fmla="*/ 33337 w 86471"/>
              <a:gd name="connsiteY3" fmla="*/ 14386 h 38199"/>
              <a:gd name="connsiteX4" fmla="*/ 14287 w 86471"/>
              <a:gd name="connsiteY4" fmla="*/ 28674 h 38199"/>
              <a:gd name="connsiteX5" fmla="*/ 0 w 86471"/>
              <a:gd name="connsiteY5" fmla="*/ 38199 h 38199"/>
              <a:gd name="connsiteX0" fmla="*/ 68657 w 112961"/>
              <a:gd name="connsiteY0" fmla="*/ 6052 h 38199"/>
              <a:gd name="connsiteX1" fmla="*/ 67678 w 112961"/>
              <a:gd name="connsiteY1" fmla="*/ 201 h 38199"/>
              <a:gd name="connsiteX2" fmla="*/ 73074 w 112961"/>
              <a:gd name="connsiteY2" fmla="*/ 202 h 38199"/>
              <a:gd name="connsiteX3" fmla="*/ 112196 w 112961"/>
              <a:gd name="connsiteY3" fmla="*/ 8139 h 38199"/>
              <a:gd name="connsiteX4" fmla="*/ 33337 w 112961"/>
              <a:gd name="connsiteY4" fmla="*/ 14386 h 38199"/>
              <a:gd name="connsiteX5" fmla="*/ 14287 w 112961"/>
              <a:gd name="connsiteY5" fmla="*/ 28674 h 38199"/>
              <a:gd name="connsiteX6" fmla="*/ 0 w 112961"/>
              <a:gd name="connsiteY6" fmla="*/ 38199 h 38199"/>
              <a:gd name="connsiteX0" fmla="*/ 68657 w 112196"/>
              <a:gd name="connsiteY0" fmla="*/ 25555 h 57702"/>
              <a:gd name="connsiteX1" fmla="*/ 67678 w 112196"/>
              <a:gd name="connsiteY1" fmla="*/ 19704 h 57702"/>
              <a:gd name="connsiteX2" fmla="*/ 73074 w 112196"/>
              <a:gd name="connsiteY2" fmla="*/ 19705 h 57702"/>
              <a:gd name="connsiteX3" fmla="*/ 112196 w 112196"/>
              <a:gd name="connsiteY3" fmla="*/ 27642 h 57702"/>
              <a:gd name="connsiteX4" fmla="*/ 33337 w 112196"/>
              <a:gd name="connsiteY4" fmla="*/ 33889 h 57702"/>
              <a:gd name="connsiteX5" fmla="*/ 14287 w 112196"/>
              <a:gd name="connsiteY5" fmla="*/ 48177 h 57702"/>
              <a:gd name="connsiteX6" fmla="*/ 0 w 112196"/>
              <a:gd name="connsiteY6" fmla="*/ 57702 h 57702"/>
              <a:gd name="connsiteX0" fmla="*/ 68657 w 144747"/>
              <a:gd name="connsiteY0" fmla="*/ 6052 h 38199"/>
              <a:gd name="connsiteX1" fmla="*/ 67678 w 144747"/>
              <a:gd name="connsiteY1" fmla="*/ 201 h 38199"/>
              <a:gd name="connsiteX2" fmla="*/ 73074 w 144747"/>
              <a:gd name="connsiteY2" fmla="*/ 202 h 38199"/>
              <a:gd name="connsiteX3" fmla="*/ 112196 w 144747"/>
              <a:gd name="connsiteY3" fmla="*/ 8139 h 38199"/>
              <a:gd name="connsiteX4" fmla="*/ 33337 w 144747"/>
              <a:gd name="connsiteY4" fmla="*/ 14386 h 38199"/>
              <a:gd name="connsiteX5" fmla="*/ 14287 w 144747"/>
              <a:gd name="connsiteY5" fmla="*/ 28674 h 38199"/>
              <a:gd name="connsiteX6" fmla="*/ 0 w 144747"/>
              <a:gd name="connsiteY6" fmla="*/ 38199 h 38199"/>
              <a:gd name="connsiteX0" fmla="*/ 68657 w 156214"/>
              <a:gd name="connsiteY0" fmla="*/ 41570 h 73717"/>
              <a:gd name="connsiteX1" fmla="*/ 67678 w 156214"/>
              <a:gd name="connsiteY1" fmla="*/ 35719 h 73717"/>
              <a:gd name="connsiteX2" fmla="*/ 121640 w 156214"/>
              <a:gd name="connsiteY2" fmla="*/ 0 h 73717"/>
              <a:gd name="connsiteX3" fmla="*/ 112196 w 156214"/>
              <a:gd name="connsiteY3" fmla="*/ 43657 h 73717"/>
              <a:gd name="connsiteX4" fmla="*/ 33337 w 156214"/>
              <a:gd name="connsiteY4" fmla="*/ 49904 h 73717"/>
              <a:gd name="connsiteX5" fmla="*/ 14287 w 156214"/>
              <a:gd name="connsiteY5" fmla="*/ 64192 h 73717"/>
              <a:gd name="connsiteX6" fmla="*/ 0 w 156214"/>
              <a:gd name="connsiteY6" fmla="*/ 73717 h 73717"/>
              <a:gd name="connsiteX0" fmla="*/ 68657 w 226655"/>
              <a:gd name="connsiteY0" fmla="*/ 6052 h 38199"/>
              <a:gd name="connsiteX1" fmla="*/ 67678 w 226655"/>
              <a:gd name="connsiteY1" fmla="*/ 201 h 38199"/>
              <a:gd name="connsiteX2" fmla="*/ 222819 w 226655"/>
              <a:gd name="connsiteY2" fmla="*/ 14092 h 38199"/>
              <a:gd name="connsiteX3" fmla="*/ 112196 w 226655"/>
              <a:gd name="connsiteY3" fmla="*/ 8139 h 38199"/>
              <a:gd name="connsiteX4" fmla="*/ 33337 w 226655"/>
              <a:gd name="connsiteY4" fmla="*/ 14386 h 38199"/>
              <a:gd name="connsiteX5" fmla="*/ 14287 w 226655"/>
              <a:gd name="connsiteY5" fmla="*/ 28674 h 38199"/>
              <a:gd name="connsiteX6" fmla="*/ 0 w 226655"/>
              <a:gd name="connsiteY6" fmla="*/ 38199 h 38199"/>
              <a:gd name="connsiteX0" fmla="*/ 68657 w 226731"/>
              <a:gd name="connsiteY0" fmla="*/ 53503 h 85650"/>
              <a:gd name="connsiteX1" fmla="*/ 71726 w 226731"/>
              <a:gd name="connsiteY1" fmla="*/ 26 h 85650"/>
              <a:gd name="connsiteX2" fmla="*/ 222819 w 226731"/>
              <a:gd name="connsiteY2" fmla="*/ 61543 h 85650"/>
              <a:gd name="connsiteX3" fmla="*/ 112196 w 226731"/>
              <a:gd name="connsiteY3" fmla="*/ 55590 h 85650"/>
              <a:gd name="connsiteX4" fmla="*/ 33337 w 226731"/>
              <a:gd name="connsiteY4" fmla="*/ 61837 h 85650"/>
              <a:gd name="connsiteX5" fmla="*/ 14287 w 226731"/>
              <a:gd name="connsiteY5" fmla="*/ 76125 h 85650"/>
              <a:gd name="connsiteX6" fmla="*/ 0 w 226731"/>
              <a:gd name="connsiteY6" fmla="*/ 85650 h 85650"/>
              <a:gd name="connsiteX0" fmla="*/ 68657 w 231416"/>
              <a:gd name="connsiteY0" fmla="*/ 11 h 69567"/>
              <a:gd name="connsiteX1" fmla="*/ 183697 w 231416"/>
              <a:gd name="connsiteY1" fmla="*/ 69567 h 69567"/>
              <a:gd name="connsiteX2" fmla="*/ 222819 w 231416"/>
              <a:gd name="connsiteY2" fmla="*/ 8051 h 69567"/>
              <a:gd name="connsiteX3" fmla="*/ 112196 w 231416"/>
              <a:gd name="connsiteY3" fmla="*/ 2098 h 69567"/>
              <a:gd name="connsiteX4" fmla="*/ 33337 w 231416"/>
              <a:gd name="connsiteY4" fmla="*/ 8345 h 69567"/>
              <a:gd name="connsiteX5" fmla="*/ 14287 w 231416"/>
              <a:gd name="connsiteY5" fmla="*/ 22633 h 69567"/>
              <a:gd name="connsiteX6" fmla="*/ 0 w 231416"/>
              <a:gd name="connsiteY6" fmla="*/ 32158 h 69567"/>
              <a:gd name="connsiteX0" fmla="*/ 68657 w 231416"/>
              <a:gd name="connsiteY0" fmla="*/ 11 h 91103"/>
              <a:gd name="connsiteX1" fmla="*/ 183697 w 231416"/>
              <a:gd name="connsiteY1" fmla="*/ 69567 h 91103"/>
              <a:gd name="connsiteX2" fmla="*/ 222819 w 231416"/>
              <a:gd name="connsiteY2" fmla="*/ 8051 h 91103"/>
              <a:gd name="connsiteX3" fmla="*/ 89262 w 231416"/>
              <a:gd name="connsiteY3" fmla="*/ 83459 h 91103"/>
              <a:gd name="connsiteX4" fmla="*/ 33337 w 231416"/>
              <a:gd name="connsiteY4" fmla="*/ 8345 h 91103"/>
              <a:gd name="connsiteX5" fmla="*/ 14287 w 231416"/>
              <a:gd name="connsiteY5" fmla="*/ 22633 h 91103"/>
              <a:gd name="connsiteX6" fmla="*/ 0 w 231416"/>
              <a:gd name="connsiteY6" fmla="*/ 32158 h 91103"/>
              <a:gd name="connsiteX0" fmla="*/ 68657 w 231416"/>
              <a:gd name="connsiteY0" fmla="*/ 694 h 180011"/>
              <a:gd name="connsiteX1" fmla="*/ 183697 w 231416"/>
              <a:gd name="connsiteY1" fmla="*/ 70250 h 180011"/>
              <a:gd name="connsiteX2" fmla="*/ 222819 w 231416"/>
              <a:gd name="connsiteY2" fmla="*/ 8734 h 180011"/>
              <a:gd name="connsiteX3" fmla="*/ 5621 w 231416"/>
              <a:gd name="connsiteY3" fmla="*/ 175425 h 180011"/>
              <a:gd name="connsiteX4" fmla="*/ 33337 w 231416"/>
              <a:gd name="connsiteY4" fmla="*/ 9028 h 180011"/>
              <a:gd name="connsiteX5" fmla="*/ 14287 w 231416"/>
              <a:gd name="connsiteY5" fmla="*/ 23316 h 180011"/>
              <a:gd name="connsiteX6" fmla="*/ 0 w 231416"/>
              <a:gd name="connsiteY6" fmla="*/ 32841 h 180011"/>
              <a:gd name="connsiteX0" fmla="*/ 79450 w 231416"/>
              <a:gd name="connsiteY0" fmla="*/ 4 h 262665"/>
              <a:gd name="connsiteX1" fmla="*/ 183697 w 231416"/>
              <a:gd name="connsiteY1" fmla="*/ 152904 h 262665"/>
              <a:gd name="connsiteX2" fmla="*/ 222819 w 231416"/>
              <a:gd name="connsiteY2" fmla="*/ 91388 h 262665"/>
              <a:gd name="connsiteX3" fmla="*/ 5621 w 231416"/>
              <a:gd name="connsiteY3" fmla="*/ 258079 h 262665"/>
              <a:gd name="connsiteX4" fmla="*/ 33337 w 231416"/>
              <a:gd name="connsiteY4" fmla="*/ 91682 h 262665"/>
              <a:gd name="connsiteX5" fmla="*/ 14287 w 231416"/>
              <a:gd name="connsiteY5" fmla="*/ 105970 h 262665"/>
              <a:gd name="connsiteX6" fmla="*/ 0 w 231416"/>
              <a:gd name="connsiteY6" fmla="*/ 115495 h 262665"/>
              <a:gd name="connsiteX0" fmla="*/ 289902 w 289902"/>
              <a:gd name="connsiteY0" fmla="*/ 10 h 181310"/>
              <a:gd name="connsiteX1" fmla="*/ 183697 w 289902"/>
              <a:gd name="connsiteY1" fmla="*/ 71549 h 181310"/>
              <a:gd name="connsiteX2" fmla="*/ 222819 w 289902"/>
              <a:gd name="connsiteY2" fmla="*/ 10033 h 181310"/>
              <a:gd name="connsiteX3" fmla="*/ 5621 w 289902"/>
              <a:gd name="connsiteY3" fmla="*/ 176724 h 181310"/>
              <a:gd name="connsiteX4" fmla="*/ 33337 w 289902"/>
              <a:gd name="connsiteY4" fmla="*/ 10327 h 181310"/>
              <a:gd name="connsiteX5" fmla="*/ 14287 w 289902"/>
              <a:gd name="connsiteY5" fmla="*/ 24615 h 181310"/>
              <a:gd name="connsiteX6" fmla="*/ 0 w 289902"/>
              <a:gd name="connsiteY6" fmla="*/ 34140 h 181310"/>
              <a:gd name="connsiteX0" fmla="*/ 183697 w 231416"/>
              <a:gd name="connsiteY0" fmla="*/ 70251 h 180012"/>
              <a:gd name="connsiteX1" fmla="*/ 222819 w 231416"/>
              <a:gd name="connsiteY1" fmla="*/ 8735 h 180012"/>
              <a:gd name="connsiteX2" fmla="*/ 5621 w 231416"/>
              <a:gd name="connsiteY2" fmla="*/ 175426 h 180012"/>
              <a:gd name="connsiteX3" fmla="*/ 33337 w 231416"/>
              <a:gd name="connsiteY3" fmla="*/ 9029 h 180012"/>
              <a:gd name="connsiteX4" fmla="*/ 14287 w 231416"/>
              <a:gd name="connsiteY4" fmla="*/ 23317 h 180012"/>
              <a:gd name="connsiteX5" fmla="*/ 0 w 231416"/>
              <a:gd name="connsiteY5" fmla="*/ 32842 h 180012"/>
              <a:gd name="connsiteX0" fmla="*/ 184958 w 184958"/>
              <a:gd name="connsiteY0" fmla="*/ 70251 h 176201"/>
              <a:gd name="connsiteX1" fmla="*/ 6882 w 184958"/>
              <a:gd name="connsiteY1" fmla="*/ 175426 h 176201"/>
              <a:gd name="connsiteX2" fmla="*/ 34598 w 184958"/>
              <a:gd name="connsiteY2" fmla="*/ 9029 h 176201"/>
              <a:gd name="connsiteX3" fmla="*/ 15548 w 184958"/>
              <a:gd name="connsiteY3" fmla="*/ 23317 h 176201"/>
              <a:gd name="connsiteX4" fmla="*/ 1261 w 184958"/>
              <a:gd name="connsiteY4" fmla="*/ 32842 h 176201"/>
              <a:gd name="connsiteX0" fmla="*/ 183697 w 183697"/>
              <a:gd name="connsiteY0" fmla="*/ 71298 h 75113"/>
              <a:gd name="connsiteX1" fmla="*/ 58234 w 183697"/>
              <a:gd name="connsiteY1" fmla="*/ 3830 h 75113"/>
              <a:gd name="connsiteX2" fmla="*/ 33337 w 183697"/>
              <a:gd name="connsiteY2" fmla="*/ 10076 h 75113"/>
              <a:gd name="connsiteX3" fmla="*/ 14287 w 183697"/>
              <a:gd name="connsiteY3" fmla="*/ 24364 h 75113"/>
              <a:gd name="connsiteX4" fmla="*/ 0 w 183697"/>
              <a:gd name="connsiteY4" fmla="*/ 33889 h 75113"/>
              <a:gd name="connsiteX0" fmla="*/ 113547 w 113547"/>
              <a:gd name="connsiteY0" fmla="*/ 0 h 41967"/>
              <a:gd name="connsiteX1" fmla="*/ 58234 w 113547"/>
              <a:gd name="connsiteY1" fmla="*/ 11908 h 41967"/>
              <a:gd name="connsiteX2" fmla="*/ 33337 w 113547"/>
              <a:gd name="connsiteY2" fmla="*/ 18154 h 41967"/>
              <a:gd name="connsiteX3" fmla="*/ 14287 w 113547"/>
              <a:gd name="connsiteY3" fmla="*/ 32442 h 41967"/>
              <a:gd name="connsiteX4" fmla="*/ 0 w 113547"/>
              <a:gd name="connsiteY4" fmla="*/ 41967 h 41967"/>
              <a:gd name="connsiteX0" fmla="*/ 217312 w 217312"/>
              <a:gd name="connsiteY0" fmla="*/ 0 h 104243"/>
              <a:gd name="connsiteX1" fmla="*/ 58234 w 217312"/>
              <a:gd name="connsiteY1" fmla="*/ 74184 h 104243"/>
              <a:gd name="connsiteX2" fmla="*/ 33337 w 217312"/>
              <a:gd name="connsiteY2" fmla="*/ 80430 h 104243"/>
              <a:gd name="connsiteX3" fmla="*/ 14287 w 217312"/>
              <a:gd name="connsiteY3" fmla="*/ 94718 h 104243"/>
              <a:gd name="connsiteX4" fmla="*/ 0 w 217312"/>
              <a:gd name="connsiteY4" fmla="*/ 104243 h 104243"/>
              <a:gd name="connsiteX0" fmla="*/ 1467433 w 1467433"/>
              <a:gd name="connsiteY0" fmla="*/ 0 h 314134"/>
              <a:gd name="connsiteX1" fmla="*/ 1308355 w 1467433"/>
              <a:gd name="connsiteY1" fmla="*/ 74184 h 314134"/>
              <a:gd name="connsiteX2" fmla="*/ 1283458 w 1467433"/>
              <a:gd name="connsiteY2" fmla="*/ 80430 h 314134"/>
              <a:gd name="connsiteX3" fmla="*/ 1264408 w 1467433"/>
              <a:gd name="connsiteY3" fmla="*/ 94718 h 314134"/>
              <a:gd name="connsiteX4" fmla="*/ 0 w 1467433"/>
              <a:gd name="connsiteY4" fmla="*/ 314134 h 314134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283458 w 1467433"/>
              <a:gd name="connsiteY2" fmla="*/ 80430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797921 w 1467433"/>
              <a:gd name="connsiteY2" fmla="*/ 289219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26863 w 1467433"/>
              <a:gd name="connsiteY2" fmla="*/ 187733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1031805 w 1467433"/>
              <a:gd name="connsiteY2" fmla="*/ 220024 h 696745"/>
              <a:gd name="connsiteX3" fmla="*/ 674045 w 1467433"/>
              <a:gd name="connsiteY3" fmla="*/ 347984 h 696745"/>
              <a:gd name="connsiteX4" fmla="*/ 211935 w 1467433"/>
              <a:gd name="connsiteY4" fmla="*/ 696715 h 696745"/>
              <a:gd name="connsiteX5" fmla="*/ 0 w 1467433"/>
              <a:gd name="connsiteY5" fmla="*/ 314134 h 696745"/>
              <a:gd name="connsiteX0" fmla="*/ 1467433 w 1467433"/>
              <a:gd name="connsiteY0" fmla="*/ 0 h 696745"/>
              <a:gd name="connsiteX1" fmla="*/ 1308355 w 1467433"/>
              <a:gd name="connsiteY1" fmla="*/ 74184 h 696745"/>
              <a:gd name="connsiteX2" fmla="*/ 674045 w 1467433"/>
              <a:gd name="connsiteY2" fmla="*/ 347984 h 696745"/>
              <a:gd name="connsiteX3" fmla="*/ 211935 w 1467433"/>
              <a:gd name="connsiteY3" fmla="*/ 696715 h 696745"/>
              <a:gd name="connsiteX4" fmla="*/ 0 w 1467433"/>
              <a:gd name="connsiteY4" fmla="*/ 314134 h 696745"/>
              <a:gd name="connsiteX0" fmla="*/ 1467433 w 1467433"/>
              <a:gd name="connsiteY0" fmla="*/ 0 h 696745"/>
              <a:gd name="connsiteX1" fmla="*/ 674045 w 1467433"/>
              <a:gd name="connsiteY1" fmla="*/ 347984 h 696745"/>
              <a:gd name="connsiteX2" fmla="*/ 211935 w 1467433"/>
              <a:gd name="connsiteY2" fmla="*/ 696715 h 696745"/>
              <a:gd name="connsiteX3" fmla="*/ 0 w 1467433"/>
              <a:gd name="connsiteY3" fmla="*/ 314134 h 696745"/>
              <a:gd name="connsiteX0" fmla="*/ 674045 w 674045"/>
              <a:gd name="connsiteY0" fmla="*/ 33866 h 382627"/>
              <a:gd name="connsiteX1" fmla="*/ 211935 w 674045"/>
              <a:gd name="connsiteY1" fmla="*/ 382597 h 382627"/>
              <a:gd name="connsiteX2" fmla="*/ 0 w 674045"/>
              <a:gd name="connsiteY2" fmla="*/ 16 h 382627"/>
              <a:gd name="connsiteX0" fmla="*/ 674045 w 674045"/>
              <a:gd name="connsiteY0" fmla="*/ 33850 h 33850"/>
              <a:gd name="connsiteX1" fmla="*/ 0 w 674045"/>
              <a:gd name="connsiteY1" fmla="*/ 0 h 33850"/>
              <a:gd name="connsiteX0" fmla="*/ 800869 w 800869"/>
              <a:gd name="connsiteY0" fmla="*/ 347534 h 347534"/>
              <a:gd name="connsiteX1" fmla="*/ 0 w 800869"/>
              <a:gd name="connsiteY1" fmla="*/ 0 h 347534"/>
              <a:gd name="connsiteX0" fmla="*/ 227691 w 227691"/>
              <a:gd name="connsiteY0" fmla="*/ 1558 h 1558"/>
              <a:gd name="connsiteX1" fmla="*/ 0 w 227691"/>
              <a:gd name="connsiteY1" fmla="*/ 0 h 1558"/>
              <a:gd name="connsiteX0" fmla="*/ 10000 w 10000"/>
              <a:gd name="connsiteY0" fmla="*/ 20187 h 20187"/>
              <a:gd name="connsiteX1" fmla="*/ 3530 w 10000"/>
              <a:gd name="connsiteY1" fmla="*/ 0 h 20187"/>
              <a:gd name="connsiteX2" fmla="*/ 0 w 10000"/>
              <a:gd name="connsiteY2" fmla="*/ 10187 h 20187"/>
              <a:gd name="connsiteX0" fmla="*/ 10000 w 10000"/>
              <a:gd name="connsiteY0" fmla="*/ 57669 h 57669"/>
              <a:gd name="connsiteX1" fmla="*/ 3530 w 10000"/>
              <a:gd name="connsiteY1" fmla="*/ 37482 h 57669"/>
              <a:gd name="connsiteX2" fmla="*/ 0 w 10000"/>
              <a:gd name="connsiteY2" fmla="*/ 47669 h 57669"/>
              <a:gd name="connsiteX0" fmla="*/ 10000 w 10000"/>
              <a:gd name="connsiteY0" fmla="*/ 189058 h 189058"/>
              <a:gd name="connsiteX1" fmla="*/ 3530 w 10000"/>
              <a:gd name="connsiteY1" fmla="*/ 168871 h 189058"/>
              <a:gd name="connsiteX2" fmla="*/ 0 w 10000"/>
              <a:gd name="connsiteY2" fmla="*/ 179058 h 189058"/>
              <a:gd name="connsiteX0" fmla="*/ 10000 w 10000"/>
              <a:gd name="connsiteY0" fmla="*/ 159953 h 183169"/>
              <a:gd name="connsiteX1" fmla="*/ 4398 w 10000"/>
              <a:gd name="connsiteY1" fmla="*/ 179257 h 183169"/>
              <a:gd name="connsiteX2" fmla="*/ 0 w 10000"/>
              <a:gd name="connsiteY2" fmla="*/ 149953 h 183169"/>
              <a:gd name="connsiteX0" fmla="*/ 10000 w 10000"/>
              <a:gd name="connsiteY0" fmla="*/ 159953 h 179257"/>
              <a:gd name="connsiteX1" fmla="*/ 4398 w 10000"/>
              <a:gd name="connsiteY1" fmla="*/ 179257 h 179257"/>
              <a:gd name="connsiteX2" fmla="*/ 0 w 10000"/>
              <a:gd name="connsiteY2" fmla="*/ 149953 h 179257"/>
              <a:gd name="connsiteX0" fmla="*/ 10000 w 10000"/>
              <a:gd name="connsiteY0" fmla="*/ 77172 h 96476"/>
              <a:gd name="connsiteX1" fmla="*/ 4398 w 10000"/>
              <a:gd name="connsiteY1" fmla="*/ 96476 h 96476"/>
              <a:gd name="connsiteX2" fmla="*/ 0 w 10000"/>
              <a:gd name="connsiteY2" fmla="*/ 67172 h 96476"/>
              <a:gd name="connsiteX0" fmla="*/ 10000 w 10000"/>
              <a:gd name="connsiteY0" fmla="*/ 77172 h 259931"/>
              <a:gd name="connsiteX1" fmla="*/ 4398 w 10000"/>
              <a:gd name="connsiteY1" fmla="*/ 96476 h 259931"/>
              <a:gd name="connsiteX2" fmla="*/ 0 w 10000"/>
              <a:gd name="connsiteY2" fmla="*/ 67172 h 259931"/>
              <a:gd name="connsiteX0" fmla="*/ 10000 w 10000"/>
              <a:gd name="connsiteY0" fmla="*/ 10000 h 192759"/>
              <a:gd name="connsiteX1" fmla="*/ 4398 w 10000"/>
              <a:gd name="connsiteY1" fmla="*/ 29304 h 192759"/>
              <a:gd name="connsiteX2" fmla="*/ 0 w 10000"/>
              <a:gd name="connsiteY2" fmla="*/ 0 h 192759"/>
              <a:gd name="connsiteX0" fmla="*/ 10000 w 10000"/>
              <a:gd name="connsiteY0" fmla="*/ 10000 h 113958"/>
              <a:gd name="connsiteX1" fmla="*/ 4398 w 10000"/>
              <a:gd name="connsiteY1" fmla="*/ 29304 h 113958"/>
              <a:gd name="connsiteX2" fmla="*/ 0 w 10000"/>
              <a:gd name="connsiteY2" fmla="*/ 0 h 113958"/>
              <a:gd name="connsiteX0" fmla="*/ 10217 w 10217"/>
              <a:gd name="connsiteY0" fmla="*/ 10000 h 113958"/>
              <a:gd name="connsiteX1" fmla="*/ 4615 w 10217"/>
              <a:gd name="connsiteY1" fmla="*/ 29304 h 113958"/>
              <a:gd name="connsiteX2" fmla="*/ 0 w 10217"/>
              <a:gd name="connsiteY2" fmla="*/ 0 h 113958"/>
              <a:gd name="connsiteX0" fmla="*/ 5602 w 5602"/>
              <a:gd name="connsiteY0" fmla="*/ 146 h 104104"/>
              <a:gd name="connsiteX1" fmla="*/ 0 w 5602"/>
              <a:gd name="connsiteY1" fmla="*/ 19450 h 104104"/>
              <a:gd name="connsiteX0" fmla="*/ 7926 w 7926"/>
              <a:gd name="connsiteY0" fmla="*/ 14 h 10000"/>
              <a:gd name="connsiteX1" fmla="*/ 0 w 7926"/>
              <a:gd name="connsiteY1" fmla="*/ 1868 h 10000"/>
              <a:gd name="connsiteX0" fmla="*/ 10000 w 10000"/>
              <a:gd name="connsiteY0" fmla="*/ 68 h 2330"/>
              <a:gd name="connsiteX1" fmla="*/ 0 w 10000"/>
              <a:gd name="connsiteY1" fmla="*/ 1922 h 2330"/>
              <a:gd name="connsiteX0" fmla="*/ 8364 w 8364"/>
              <a:gd name="connsiteY0" fmla="*/ 293 h 10003"/>
              <a:gd name="connsiteX1" fmla="*/ 0 w 8364"/>
              <a:gd name="connsiteY1" fmla="*/ 8249 h 10003"/>
              <a:gd name="connsiteX0" fmla="*/ 10201 w 10201"/>
              <a:gd name="connsiteY0" fmla="*/ 4164 h 4164"/>
              <a:gd name="connsiteX1" fmla="*/ 0 w 10201"/>
              <a:gd name="connsiteY1" fmla="*/ 0 h 4164"/>
              <a:gd name="connsiteX0" fmla="*/ 9803 w 9803"/>
              <a:gd name="connsiteY0" fmla="*/ 39102 h 39102"/>
              <a:gd name="connsiteX1" fmla="*/ 0 w 9803"/>
              <a:gd name="connsiteY1" fmla="*/ 0 h 3910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1408 w 11408"/>
              <a:gd name="connsiteY0" fmla="*/ 6810 h 6810"/>
              <a:gd name="connsiteX1" fmla="*/ 0 w 11408"/>
              <a:gd name="connsiteY1" fmla="*/ 0 h 6810"/>
              <a:gd name="connsiteX0" fmla="*/ 10881 w 10881"/>
              <a:gd name="connsiteY0" fmla="*/ 8048 h 8048"/>
              <a:gd name="connsiteX1" fmla="*/ 0 w 10881"/>
              <a:gd name="connsiteY1" fmla="*/ 0 h 8048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1940 h 11940"/>
              <a:gd name="connsiteX1" fmla="*/ 0 w 13078"/>
              <a:gd name="connsiteY1" fmla="*/ 0 h 11940"/>
              <a:gd name="connsiteX0" fmla="*/ 13078 w 13078"/>
              <a:gd name="connsiteY0" fmla="*/ 13880 h 13880"/>
              <a:gd name="connsiteX1" fmla="*/ 0 w 13078"/>
              <a:gd name="connsiteY1" fmla="*/ 0 h 13880"/>
              <a:gd name="connsiteX0" fmla="*/ 40075 w 40075"/>
              <a:gd name="connsiteY0" fmla="*/ 134156 h 134156"/>
              <a:gd name="connsiteX1" fmla="*/ 0 w 40075"/>
              <a:gd name="connsiteY1" fmla="*/ 0 h 134156"/>
              <a:gd name="connsiteX0" fmla="*/ 43315 w 43315"/>
              <a:gd name="connsiteY0" fmla="*/ 85657 h 85657"/>
              <a:gd name="connsiteX1" fmla="*/ 0 w 43315"/>
              <a:gd name="connsiteY1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24721 w 43315"/>
              <a:gd name="connsiteY1" fmla="*/ 51270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3315 w 43315"/>
              <a:gd name="connsiteY0" fmla="*/ 85657 h 85657"/>
              <a:gd name="connsiteX1" fmla="*/ 33576 w 43315"/>
              <a:gd name="connsiteY1" fmla="*/ 31871 h 85657"/>
              <a:gd name="connsiteX2" fmla="*/ 0 w 43315"/>
              <a:gd name="connsiteY2" fmla="*/ 0 h 85657"/>
              <a:gd name="connsiteX0" fmla="*/ 42343 w 42343"/>
              <a:gd name="connsiteY0" fmla="*/ 87597 h 87597"/>
              <a:gd name="connsiteX1" fmla="*/ 33576 w 42343"/>
              <a:gd name="connsiteY1" fmla="*/ 31871 h 87597"/>
              <a:gd name="connsiteX2" fmla="*/ 0 w 42343"/>
              <a:gd name="connsiteY2" fmla="*/ 0 h 87597"/>
              <a:gd name="connsiteX0" fmla="*/ 42343 w 42343"/>
              <a:gd name="connsiteY0" fmla="*/ 87597 h 87597"/>
              <a:gd name="connsiteX1" fmla="*/ 33576 w 42343"/>
              <a:gd name="connsiteY1" fmla="*/ 31871 h 87597"/>
              <a:gd name="connsiteX2" fmla="*/ 0 w 42343"/>
              <a:gd name="connsiteY2" fmla="*/ 0 h 87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2343" h="87597">
                <a:moveTo>
                  <a:pt x="42343" y="87597"/>
                </a:moveTo>
                <a:cubicBezTo>
                  <a:pt x="40195" y="71770"/>
                  <a:pt x="43662" y="40100"/>
                  <a:pt x="33576" y="31871"/>
                </a:cubicBezTo>
                <a:cubicBezTo>
                  <a:pt x="22168" y="26616"/>
                  <a:pt x="7035" y="8183"/>
                  <a:pt x="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278" name="Блок-схема: узел 277"/>
          <p:cNvSpPr/>
          <p:nvPr/>
        </p:nvSpPr>
        <p:spPr bwMode="auto">
          <a:xfrm>
            <a:off x="5296781" y="1749169"/>
            <a:ext cx="142416" cy="104389"/>
          </a:xfrm>
          <a:prstGeom prst="flowChartConnector">
            <a:avLst/>
          </a:prstGeom>
          <a:solidFill>
            <a:srgbClr val="FF0000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21" name="Блок-схема: узел 120"/>
          <p:cNvSpPr/>
          <p:nvPr/>
        </p:nvSpPr>
        <p:spPr bwMode="auto">
          <a:xfrm>
            <a:off x="5596230" y="1961789"/>
            <a:ext cx="103293" cy="72721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63" name="Блок-схема: узел 262"/>
          <p:cNvSpPr/>
          <p:nvPr/>
        </p:nvSpPr>
        <p:spPr bwMode="auto">
          <a:xfrm>
            <a:off x="4787604" y="2384083"/>
            <a:ext cx="58972" cy="46460"/>
          </a:xfrm>
          <a:prstGeom prst="flowChartConnector">
            <a:avLst/>
          </a:prstGeom>
          <a:solidFill>
            <a:schemeClr val="accent6"/>
          </a:solidFill>
          <a:ln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>
              <a:defRPr/>
            </a:pPr>
            <a:endParaRPr lang="ru-RU" sz="160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70" name="Rectangle 35"/>
          <p:cNvSpPr>
            <a:spLocks noChangeArrowheads="1"/>
          </p:cNvSpPr>
          <p:nvPr/>
        </p:nvSpPr>
        <p:spPr bwMode="auto">
          <a:xfrm>
            <a:off x="331148" y="4087346"/>
            <a:ext cx="3096344" cy="256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3" tIns="35973" rIns="35973" bIns="35973"/>
          <a:lstStyle>
            <a:lvl1pPr marL="2857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 err="1"/>
              <a:t>Ақтөбе-Ұлғайсын</a:t>
            </a:r>
            <a:r>
              <a:rPr lang="ru-RU" altLang="ru-RU" sz="1600" b="1" dirty="0"/>
              <a:t> - 262 км</a:t>
            </a:r>
          </a:p>
        </p:txBody>
      </p:sp>
      <p:sp>
        <p:nvSpPr>
          <p:cNvPr id="7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3" y="4948222"/>
            <a:ext cx="2057797" cy="273350"/>
          </a:xfrm>
        </p:spPr>
        <p:txBody>
          <a:bodyPr/>
          <a:lstStyle/>
          <a:p>
            <a:pPr>
              <a:defRPr/>
            </a:pPr>
            <a:r>
              <a:rPr lang="ru-RU" dirty="0"/>
              <a:t>10</a:t>
            </a:r>
          </a:p>
        </p:txBody>
      </p:sp>
      <p:sp>
        <p:nvSpPr>
          <p:cNvPr id="72" name="TextBox 71"/>
          <p:cNvSpPr txBox="1">
            <a:spLocks noChangeArrowheads="1"/>
          </p:cNvSpPr>
          <p:nvPr/>
        </p:nvSpPr>
        <p:spPr bwMode="auto">
          <a:xfrm>
            <a:off x="368113" y="45793"/>
            <a:ext cx="8312901" cy="229791"/>
          </a:xfrm>
          <a:prstGeom prst="rect">
            <a:avLst/>
          </a:prstGeom>
          <a:noFill/>
        </p:spPr>
        <p:txBody>
          <a:bodyPr lIns="77925" tIns="38963" rIns="77925" bIns="38963" anchor="ctr"/>
          <a:lstStyle>
            <a:defPPr>
              <a:defRPr lang="ru-RU"/>
            </a:defPPr>
            <a:lvl1pPr>
              <a:spcBef>
                <a:spcPct val="0"/>
              </a:spcBef>
              <a:defRPr b="1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 eaLnBrk="1" hangingPunct="1">
              <a:defRPr/>
            </a:pPr>
            <a:r>
              <a:rPr lang="kk-KZ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СПЕКТИВТІ АВТОЖОЛ ЖОБАЛАРЫ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18"/>
          <p:cNvSpPr>
            <a:spLocks noChangeArrowheads="1"/>
          </p:cNvSpPr>
          <p:nvPr/>
        </p:nvSpPr>
        <p:spPr bwMode="auto">
          <a:xfrm>
            <a:off x="96841" y="3594985"/>
            <a:ext cx="9005887" cy="272909"/>
          </a:xfrm>
          <a:prstGeom prst="rect">
            <a:avLst/>
          </a:prstGeom>
          <a:solidFill>
            <a:srgbClr val="C0C0C0">
              <a:alpha val="39999"/>
            </a:srgbClr>
          </a:solidFill>
          <a:ln w="9525" algn="ctr">
            <a:noFill/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lIns="36000" tIns="36000" rIns="36000" bIns="36000" anchor="ctr"/>
          <a:lstStyle>
            <a:lvl1pPr defTabSz="9874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874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874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874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8742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7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1600" b="1" dirty="0">
                <a:solidFill>
                  <a:srgbClr val="000000"/>
                </a:solidFill>
                <a:cs typeface="Times New Roman" panose="02020603050405020304" pitchFamily="18" charset="0"/>
              </a:rPr>
              <a:t>2022 </a:t>
            </a:r>
            <a:r>
              <a:rPr lang="ru-RU" altLang="ru-RU" sz="1600" b="1" dirty="0" err="1">
                <a:solidFill>
                  <a:srgbClr val="000000"/>
                </a:solidFill>
                <a:cs typeface="Times New Roman" panose="02020603050405020304" pitchFamily="18" charset="0"/>
              </a:rPr>
              <a:t>жыл</a:t>
            </a:r>
            <a:endParaRPr lang="ru-RU" altLang="ru-RU" sz="1600" b="1" dirty="0">
              <a:solidFill>
                <a:srgbClr val="000000"/>
              </a:solidFill>
              <a:cs typeface="Times New Roman" panose="02020603050405020304" pitchFamily="18" charset="0"/>
            </a:endParaRPr>
          </a:p>
        </p:txBody>
      </p:sp>
      <p:sp>
        <p:nvSpPr>
          <p:cNvPr id="76" name="Rectangle 35"/>
          <p:cNvSpPr>
            <a:spLocks noChangeArrowheads="1"/>
          </p:cNvSpPr>
          <p:nvPr/>
        </p:nvSpPr>
        <p:spPr bwMode="auto">
          <a:xfrm>
            <a:off x="324186" y="4754850"/>
            <a:ext cx="3698526" cy="344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73" tIns="35973" rIns="35973" bIns="35973"/>
          <a:lstStyle>
            <a:lvl1pPr marL="2857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826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826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chemeClr val="tx1"/>
              </a:buClr>
              <a:buFont typeface="Wingdings" panose="05000000000000000000" pitchFamily="2" charset="2"/>
              <a:buChar char="Ø"/>
              <a:defRPr/>
            </a:pPr>
            <a:r>
              <a:rPr lang="ru-RU" altLang="ru-RU" sz="1600" b="1" dirty="0" err="1"/>
              <a:t>Жезқазған-Қарағанды</a:t>
            </a:r>
            <a:r>
              <a:rPr lang="ru-RU" altLang="ru-RU" sz="1600" b="1" dirty="0"/>
              <a:t> - 513 км</a:t>
            </a:r>
          </a:p>
        </p:txBody>
      </p:sp>
    </p:spTree>
    <p:extLst>
      <p:ext uri="{BB962C8B-B14F-4D97-AF65-F5344CB8AC3E}">
        <p14:creationId xmlns:p14="http://schemas.microsoft.com/office/powerpoint/2010/main" val="3292283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90" name="Группа 78"/>
          <p:cNvGrpSpPr>
            <a:grpSpLocks/>
          </p:cNvGrpSpPr>
          <p:nvPr/>
        </p:nvGrpSpPr>
        <p:grpSpPr bwMode="auto">
          <a:xfrm>
            <a:off x="34171" y="1101407"/>
            <a:ext cx="4975401" cy="2637711"/>
            <a:chOff x="3235360" y="690261"/>
            <a:chExt cx="5773238" cy="3177633"/>
          </a:xfrm>
        </p:grpSpPr>
        <p:grpSp>
          <p:nvGrpSpPr>
            <p:cNvPr id="3196" name="Группа 79"/>
            <p:cNvGrpSpPr>
              <a:grpSpLocks/>
            </p:cNvGrpSpPr>
            <p:nvPr/>
          </p:nvGrpSpPr>
          <p:grpSpPr bwMode="auto">
            <a:xfrm>
              <a:off x="3235360" y="690261"/>
              <a:ext cx="5773238" cy="3177633"/>
              <a:chOff x="1421417" y="1963639"/>
              <a:chExt cx="12312111" cy="6849357"/>
            </a:xfrm>
          </p:grpSpPr>
          <p:sp>
            <p:nvSpPr>
              <p:cNvPr id="127" name="Freeform 12"/>
              <p:cNvSpPr>
                <a:spLocks/>
              </p:cNvSpPr>
              <p:nvPr/>
            </p:nvSpPr>
            <p:spPr bwMode="auto">
              <a:xfrm>
                <a:off x="10702085" y="3360333"/>
                <a:ext cx="3031443" cy="2551336"/>
              </a:xfrm>
              <a:custGeom>
                <a:avLst/>
                <a:gdLst/>
                <a:ahLst/>
                <a:cxnLst>
                  <a:cxn ang="0">
                    <a:pos x="84" y="120"/>
                  </a:cxn>
                  <a:cxn ang="0">
                    <a:pos x="66" y="66"/>
                  </a:cxn>
                  <a:cxn ang="0">
                    <a:pos x="131" y="12"/>
                  </a:cxn>
                  <a:cxn ang="0">
                    <a:pos x="170" y="63"/>
                  </a:cxn>
                  <a:cxn ang="0">
                    <a:pos x="201" y="62"/>
                  </a:cxn>
                  <a:cxn ang="0">
                    <a:pos x="224" y="15"/>
                  </a:cxn>
                  <a:cxn ang="0">
                    <a:pos x="260" y="36"/>
                  </a:cxn>
                  <a:cxn ang="0">
                    <a:pos x="311" y="45"/>
                  </a:cxn>
                  <a:cxn ang="0">
                    <a:pos x="345" y="51"/>
                  </a:cxn>
                  <a:cxn ang="0">
                    <a:pos x="381" y="12"/>
                  </a:cxn>
                  <a:cxn ang="0">
                    <a:pos x="414" y="12"/>
                  </a:cxn>
                  <a:cxn ang="0">
                    <a:pos x="467" y="32"/>
                  </a:cxn>
                  <a:cxn ang="0">
                    <a:pos x="512" y="54"/>
                  </a:cxn>
                  <a:cxn ang="0">
                    <a:pos x="531" y="92"/>
                  </a:cxn>
                  <a:cxn ang="0">
                    <a:pos x="588" y="98"/>
                  </a:cxn>
                  <a:cxn ang="0">
                    <a:pos x="629" y="111"/>
                  </a:cxn>
                  <a:cxn ang="0">
                    <a:pos x="677" y="117"/>
                  </a:cxn>
                  <a:cxn ang="0">
                    <a:pos x="719" y="87"/>
                  </a:cxn>
                  <a:cxn ang="0">
                    <a:pos x="749" y="110"/>
                  </a:cxn>
                  <a:cxn ang="0">
                    <a:pos x="776" y="125"/>
                  </a:cxn>
                  <a:cxn ang="0">
                    <a:pos x="755" y="171"/>
                  </a:cxn>
                  <a:cxn ang="0">
                    <a:pos x="767" y="206"/>
                  </a:cxn>
                  <a:cxn ang="0">
                    <a:pos x="738" y="239"/>
                  </a:cxn>
                  <a:cxn ang="0">
                    <a:pos x="683" y="287"/>
                  </a:cxn>
                  <a:cxn ang="0">
                    <a:pos x="710" y="336"/>
                  </a:cxn>
                  <a:cxn ang="0">
                    <a:pos x="719" y="416"/>
                  </a:cxn>
                  <a:cxn ang="0">
                    <a:pos x="663" y="458"/>
                  </a:cxn>
                  <a:cxn ang="0">
                    <a:pos x="609" y="464"/>
                  </a:cxn>
                  <a:cxn ang="0">
                    <a:pos x="560" y="470"/>
                  </a:cxn>
                  <a:cxn ang="0">
                    <a:pos x="525" y="476"/>
                  </a:cxn>
                  <a:cxn ang="0">
                    <a:pos x="530" y="524"/>
                  </a:cxn>
                  <a:cxn ang="0">
                    <a:pos x="531" y="573"/>
                  </a:cxn>
                  <a:cxn ang="0">
                    <a:pos x="545" y="665"/>
                  </a:cxn>
                  <a:cxn ang="0">
                    <a:pos x="482" y="633"/>
                  </a:cxn>
                  <a:cxn ang="0">
                    <a:pos x="440" y="578"/>
                  </a:cxn>
                  <a:cxn ang="0">
                    <a:pos x="377" y="566"/>
                  </a:cxn>
                  <a:cxn ang="0">
                    <a:pos x="323" y="524"/>
                  </a:cxn>
                  <a:cxn ang="0">
                    <a:pos x="248" y="555"/>
                  </a:cxn>
                  <a:cxn ang="0">
                    <a:pos x="129" y="530"/>
                  </a:cxn>
                  <a:cxn ang="0">
                    <a:pos x="83" y="542"/>
                  </a:cxn>
                  <a:cxn ang="0">
                    <a:pos x="42" y="473"/>
                  </a:cxn>
                  <a:cxn ang="0">
                    <a:pos x="30" y="441"/>
                  </a:cxn>
                  <a:cxn ang="0">
                    <a:pos x="38" y="383"/>
                  </a:cxn>
                  <a:cxn ang="0">
                    <a:pos x="27" y="303"/>
                  </a:cxn>
                  <a:cxn ang="0">
                    <a:pos x="14" y="275"/>
                  </a:cxn>
                  <a:cxn ang="0">
                    <a:pos x="5" y="228"/>
                  </a:cxn>
                  <a:cxn ang="0">
                    <a:pos x="41" y="191"/>
                  </a:cxn>
                  <a:cxn ang="0">
                    <a:pos x="101" y="176"/>
                  </a:cxn>
                </a:cxnLst>
                <a:rect l="0" t="0" r="r" b="b"/>
                <a:pathLst>
                  <a:path w="784" h="668">
                    <a:moveTo>
                      <a:pt x="111" y="161"/>
                    </a:moveTo>
                    <a:cubicBezTo>
                      <a:pt x="122" y="161"/>
                      <a:pt x="90" y="157"/>
                      <a:pt x="87" y="153"/>
                    </a:cubicBezTo>
                    <a:cubicBezTo>
                      <a:pt x="84" y="149"/>
                      <a:pt x="93" y="142"/>
                      <a:pt x="93" y="137"/>
                    </a:cubicBezTo>
                    <a:cubicBezTo>
                      <a:pt x="93" y="132"/>
                      <a:pt x="85" y="121"/>
                      <a:pt x="84" y="120"/>
                    </a:cubicBezTo>
                    <a:cubicBezTo>
                      <a:pt x="83" y="119"/>
                      <a:pt x="88" y="129"/>
                      <a:pt x="86" y="128"/>
                    </a:cubicBezTo>
                    <a:cubicBezTo>
                      <a:pt x="84" y="127"/>
                      <a:pt x="75" y="118"/>
                      <a:pt x="74" y="113"/>
                    </a:cubicBezTo>
                    <a:cubicBezTo>
                      <a:pt x="73" y="108"/>
                      <a:pt x="79" y="107"/>
                      <a:pt x="78" y="99"/>
                    </a:cubicBezTo>
                    <a:cubicBezTo>
                      <a:pt x="77" y="91"/>
                      <a:pt x="64" y="75"/>
                      <a:pt x="66" y="66"/>
                    </a:cubicBezTo>
                    <a:cubicBezTo>
                      <a:pt x="68" y="57"/>
                      <a:pt x="83" y="51"/>
                      <a:pt x="90" y="44"/>
                    </a:cubicBezTo>
                    <a:cubicBezTo>
                      <a:pt x="97" y="37"/>
                      <a:pt x="103" y="31"/>
                      <a:pt x="107" y="24"/>
                    </a:cubicBezTo>
                    <a:cubicBezTo>
                      <a:pt x="111" y="17"/>
                      <a:pt x="113" y="4"/>
                      <a:pt x="117" y="2"/>
                    </a:cubicBezTo>
                    <a:cubicBezTo>
                      <a:pt x="121" y="0"/>
                      <a:pt x="126" y="8"/>
                      <a:pt x="131" y="12"/>
                    </a:cubicBezTo>
                    <a:cubicBezTo>
                      <a:pt x="136" y="16"/>
                      <a:pt x="146" y="21"/>
                      <a:pt x="149" y="26"/>
                    </a:cubicBezTo>
                    <a:cubicBezTo>
                      <a:pt x="152" y="31"/>
                      <a:pt x="147" y="41"/>
                      <a:pt x="150" y="45"/>
                    </a:cubicBezTo>
                    <a:cubicBezTo>
                      <a:pt x="153" y="49"/>
                      <a:pt x="167" y="48"/>
                      <a:pt x="170" y="51"/>
                    </a:cubicBezTo>
                    <a:cubicBezTo>
                      <a:pt x="173" y="54"/>
                      <a:pt x="168" y="58"/>
                      <a:pt x="170" y="63"/>
                    </a:cubicBezTo>
                    <a:cubicBezTo>
                      <a:pt x="172" y="68"/>
                      <a:pt x="178" y="77"/>
                      <a:pt x="182" y="81"/>
                    </a:cubicBezTo>
                    <a:cubicBezTo>
                      <a:pt x="186" y="85"/>
                      <a:pt x="193" y="89"/>
                      <a:pt x="197" y="89"/>
                    </a:cubicBezTo>
                    <a:cubicBezTo>
                      <a:pt x="201" y="89"/>
                      <a:pt x="206" y="88"/>
                      <a:pt x="207" y="84"/>
                    </a:cubicBezTo>
                    <a:cubicBezTo>
                      <a:pt x="208" y="80"/>
                      <a:pt x="202" y="69"/>
                      <a:pt x="201" y="62"/>
                    </a:cubicBezTo>
                    <a:cubicBezTo>
                      <a:pt x="200" y="55"/>
                      <a:pt x="204" y="49"/>
                      <a:pt x="204" y="44"/>
                    </a:cubicBezTo>
                    <a:cubicBezTo>
                      <a:pt x="204" y="39"/>
                      <a:pt x="200" y="36"/>
                      <a:pt x="201" y="33"/>
                    </a:cubicBezTo>
                    <a:cubicBezTo>
                      <a:pt x="202" y="30"/>
                      <a:pt x="208" y="27"/>
                      <a:pt x="212" y="24"/>
                    </a:cubicBezTo>
                    <a:cubicBezTo>
                      <a:pt x="216" y="21"/>
                      <a:pt x="220" y="16"/>
                      <a:pt x="224" y="15"/>
                    </a:cubicBezTo>
                    <a:cubicBezTo>
                      <a:pt x="228" y="14"/>
                      <a:pt x="232" y="19"/>
                      <a:pt x="236" y="20"/>
                    </a:cubicBezTo>
                    <a:cubicBezTo>
                      <a:pt x="240" y="21"/>
                      <a:pt x="249" y="21"/>
                      <a:pt x="251" y="24"/>
                    </a:cubicBezTo>
                    <a:cubicBezTo>
                      <a:pt x="253" y="27"/>
                      <a:pt x="245" y="39"/>
                      <a:pt x="246" y="41"/>
                    </a:cubicBezTo>
                    <a:cubicBezTo>
                      <a:pt x="247" y="43"/>
                      <a:pt x="257" y="34"/>
                      <a:pt x="260" y="36"/>
                    </a:cubicBezTo>
                    <a:cubicBezTo>
                      <a:pt x="263" y="38"/>
                      <a:pt x="263" y="51"/>
                      <a:pt x="267" y="53"/>
                    </a:cubicBezTo>
                    <a:cubicBezTo>
                      <a:pt x="271" y="55"/>
                      <a:pt x="282" y="49"/>
                      <a:pt x="287" y="50"/>
                    </a:cubicBezTo>
                    <a:cubicBezTo>
                      <a:pt x="292" y="51"/>
                      <a:pt x="293" y="57"/>
                      <a:pt x="297" y="56"/>
                    </a:cubicBezTo>
                    <a:cubicBezTo>
                      <a:pt x="301" y="55"/>
                      <a:pt x="308" y="45"/>
                      <a:pt x="311" y="45"/>
                    </a:cubicBezTo>
                    <a:cubicBezTo>
                      <a:pt x="314" y="45"/>
                      <a:pt x="315" y="58"/>
                      <a:pt x="317" y="57"/>
                    </a:cubicBezTo>
                    <a:cubicBezTo>
                      <a:pt x="319" y="56"/>
                      <a:pt x="322" y="42"/>
                      <a:pt x="326" y="39"/>
                    </a:cubicBezTo>
                    <a:cubicBezTo>
                      <a:pt x="330" y="36"/>
                      <a:pt x="336" y="36"/>
                      <a:pt x="339" y="38"/>
                    </a:cubicBezTo>
                    <a:cubicBezTo>
                      <a:pt x="342" y="40"/>
                      <a:pt x="342" y="51"/>
                      <a:pt x="345" y="51"/>
                    </a:cubicBezTo>
                    <a:cubicBezTo>
                      <a:pt x="348" y="51"/>
                      <a:pt x="353" y="43"/>
                      <a:pt x="356" y="38"/>
                    </a:cubicBezTo>
                    <a:cubicBezTo>
                      <a:pt x="359" y="33"/>
                      <a:pt x="360" y="24"/>
                      <a:pt x="363" y="23"/>
                    </a:cubicBezTo>
                    <a:cubicBezTo>
                      <a:pt x="366" y="22"/>
                      <a:pt x="372" y="31"/>
                      <a:pt x="375" y="29"/>
                    </a:cubicBezTo>
                    <a:cubicBezTo>
                      <a:pt x="378" y="27"/>
                      <a:pt x="377" y="15"/>
                      <a:pt x="381" y="12"/>
                    </a:cubicBezTo>
                    <a:cubicBezTo>
                      <a:pt x="385" y="9"/>
                      <a:pt x="396" y="7"/>
                      <a:pt x="399" y="9"/>
                    </a:cubicBezTo>
                    <a:cubicBezTo>
                      <a:pt x="402" y="11"/>
                      <a:pt x="395" y="22"/>
                      <a:pt x="398" y="23"/>
                    </a:cubicBezTo>
                    <a:cubicBezTo>
                      <a:pt x="401" y="24"/>
                      <a:pt x="417" y="16"/>
                      <a:pt x="420" y="14"/>
                    </a:cubicBezTo>
                    <a:cubicBezTo>
                      <a:pt x="423" y="12"/>
                      <a:pt x="411" y="12"/>
                      <a:pt x="414" y="12"/>
                    </a:cubicBezTo>
                    <a:cubicBezTo>
                      <a:pt x="417" y="12"/>
                      <a:pt x="434" y="13"/>
                      <a:pt x="440" y="15"/>
                    </a:cubicBezTo>
                    <a:cubicBezTo>
                      <a:pt x="446" y="17"/>
                      <a:pt x="451" y="23"/>
                      <a:pt x="453" y="27"/>
                    </a:cubicBezTo>
                    <a:cubicBezTo>
                      <a:pt x="455" y="31"/>
                      <a:pt x="453" y="37"/>
                      <a:pt x="455" y="38"/>
                    </a:cubicBezTo>
                    <a:cubicBezTo>
                      <a:pt x="457" y="39"/>
                      <a:pt x="462" y="33"/>
                      <a:pt x="467" y="32"/>
                    </a:cubicBezTo>
                    <a:cubicBezTo>
                      <a:pt x="472" y="31"/>
                      <a:pt x="482" y="29"/>
                      <a:pt x="485" y="30"/>
                    </a:cubicBezTo>
                    <a:cubicBezTo>
                      <a:pt x="488" y="31"/>
                      <a:pt x="483" y="38"/>
                      <a:pt x="486" y="39"/>
                    </a:cubicBezTo>
                    <a:cubicBezTo>
                      <a:pt x="489" y="40"/>
                      <a:pt x="502" y="36"/>
                      <a:pt x="506" y="39"/>
                    </a:cubicBezTo>
                    <a:cubicBezTo>
                      <a:pt x="510" y="42"/>
                      <a:pt x="511" y="50"/>
                      <a:pt x="512" y="54"/>
                    </a:cubicBezTo>
                    <a:cubicBezTo>
                      <a:pt x="513" y="58"/>
                      <a:pt x="509" y="61"/>
                      <a:pt x="512" y="63"/>
                    </a:cubicBezTo>
                    <a:cubicBezTo>
                      <a:pt x="515" y="65"/>
                      <a:pt x="527" y="63"/>
                      <a:pt x="531" y="65"/>
                    </a:cubicBezTo>
                    <a:cubicBezTo>
                      <a:pt x="535" y="67"/>
                      <a:pt x="537" y="73"/>
                      <a:pt x="537" y="77"/>
                    </a:cubicBezTo>
                    <a:cubicBezTo>
                      <a:pt x="537" y="81"/>
                      <a:pt x="530" y="91"/>
                      <a:pt x="531" y="92"/>
                    </a:cubicBezTo>
                    <a:cubicBezTo>
                      <a:pt x="532" y="93"/>
                      <a:pt x="540" y="87"/>
                      <a:pt x="545" y="86"/>
                    </a:cubicBezTo>
                    <a:cubicBezTo>
                      <a:pt x="550" y="85"/>
                      <a:pt x="559" y="84"/>
                      <a:pt x="561" y="86"/>
                    </a:cubicBezTo>
                    <a:cubicBezTo>
                      <a:pt x="570" y="87"/>
                      <a:pt x="556" y="97"/>
                      <a:pt x="560" y="99"/>
                    </a:cubicBezTo>
                    <a:cubicBezTo>
                      <a:pt x="564" y="101"/>
                      <a:pt x="583" y="96"/>
                      <a:pt x="588" y="98"/>
                    </a:cubicBezTo>
                    <a:cubicBezTo>
                      <a:pt x="593" y="100"/>
                      <a:pt x="588" y="113"/>
                      <a:pt x="591" y="114"/>
                    </a:cubicBezTo>
                    <a:cubicBezTo>
                      <a:pt x="594" y="115"/>
                      <a:pt x="591" y="107"/>
                      <a:pt x="606" y="107"/>
                    </a:cubicBezTo>
                    <a:cubicBezTo>
                      <a:pt x="621" y="107"/>
                      <a:pt x="590" y="118"/>
                      <a:pt x="614" y="120"/>
                    </a:cubicBezTo>
                    <a:cubicBezTo>
                      <a:pt x="618" y="121"/>
                      <a:pt x="625" y="109"/>
                      <a:pt x="629" y="111"/>
                    </a:cubicBezTo>
                    <a:cubicBezTo>
                      <a:pt x="633" y="113"/>
                      <a:pt x="632" y="128"/>
                      <a:pt x="636" y="129"/>
                    </a:cubicBezTo>
                    <a:cubicBezTo>
                      <a:pt x="640" y="130"/>
                      <a:pt x="650" y="119"/>
                      <a:pt x="656" y="119"/>
                    </a:cubicBezTo>
                    <a:cubicBezTo>
                      <a:pt x="662" y="119"/>
                      <a:pt x="668" y="129"/>
                      <a:pt x="671" y="129"/>
                    </a:cubicBezTo>
                    <a:cubicBezTo>
                      <a:pt x="674" y="129"/>
                      <a:pt x="677" y="121"/>
                      <a:pt x="677" y="117"/>
                    </a:cubicBezTo>
                    <a:cubicBezTo>
                      <a:pt x="677" y="113"/>
                      <a:pt x="670" y="106"/>
                      <a:pt x="671" y="102"/>
                    </a:cubicBezTo>
                    <a:cubicBezTo>
                      <a:pt x="672" y="98"/>
                      <a:pt x="679" y="93"/>
                      <a:pt x="683" y="90"/>
                    </a:cubicBezTo>
                    <a:cubicBezTo>
                      <a:pt x="687" y="87"/>
                      <a:pt x="692" y="85"/>
                      <a:pt x="698" y="84"/>
                    </a:cubicBezTo>
                    <a:cubicBezTo>
                      <a:pt x="704" y="83"/>
                      <a:pt x="715" y="85"/>
                      <a:pt x="719" y="87"/>
                    </a:cubicBezTo>
                    <a:cubicBezTo>
                      <a:pt x="723" y="89"/>
                      <a:pt x="720" y="97"/>
                      <a:pt x="723" y="98"/>
                    </a:cubicBezTo>
                    <a:cubicBezTo>
                      <a:pt x="726" y="99"/>
                      <a:pt x="735" y="93"/>
                      <a:pt x="737" y="96"/>
                    </a:cubicBezTo>
                    <a:cubicBezTo>
                      <a:pt x="739" y="99"/>
                      <a:pt x="733" y="112"/>
                      <a:pt x="735" y="114"/>
                    </a:cubicBezTo>
                    <a:cubicBezTo>
                      <a:pt x="737" y="116"/>
                      <a:pt x="747" y="109"/>
                      <a:pt x="749" y="110"/>
                    </a:cubicBezTo>
                    <a:cubicBezTo>
                      <a:pt x="751" y="111"/>
                      <a:pt x="748" y="118"/>
                      <a:pt x="749" y="120"/>
                    </a:cubicBezTo>
                    <a:cubicBezTo>
                      <a:pt x="750" y="122"/>
                      <a:pt x="755" y="120"/>
                      <a:pt x="758" y="120"/>
                    </a:cubicBezTo>
                    <a:cubicBezTo>
                      <a:pt x="761" y="120"/>
                      <a:pt x="765" y="118"/>
                      <a:pt x="768" y="119"/>
                    </a:cubicBezTo>
                    <a:cubicBezTo>
                      <a:pt x="771" y="120"/>
                      <a:pt x="774" y="122"/>
                      <a:pt x="776" y="125"/>
                    </a:cubicBezTo>
                    <a:cubicBezTo>
                      <a:pt x="778" y="128"/>
                      <a:pt x="784" y="134"/>
                      <a:pt x="782" y="138"/>
                    </a:cubicBezTo>
                    <a:cubicBezTo>
                      <a:pt x="780" y="142"/>
                      <a:pt x="766" y="147"/>
                      <a:pt x="764" y="150"/>
                    </a:cubicBezTo>
                    <a:cubicBezTo>
                      <a:pt x="762" y="153"/>
                      <a:pt x="774" y="155"/>
                      <a:pt x="773" y="158"/>
                    </a:cubicBezTo>
                    <a:cubicBezTo>
                      <a:pt x="772" y="161"/>
                      <a:pt x="758" y="167"/>
                      <a:pt x="755" y="171"/>
                    </a:cubicBezTo>
                    <a:cubicBezTo>
                      <a:pt x="752" y="175"/>
                      <a:pt x="753" y="183"/>
                      <a:pt x="755" y="185"/>
                    </a:cubicBezTo>
                    <a:cubicBezTo>
                      <a:pt x="757" y="187"/>
                      <a:pt x="764" y="184"/>
                      <a:pt x="765" y="186"/>
                    </a:cubicBezTo>
                    <a:cubicBezTo>
                      <a:pt x="766" y="188"/>
                      <a:pt x="758" y="194"/>
                      <a:pt x="758" y="197"/>
                    </a:cubicBezTo>
                    <a:cubicBezTo>
                      <a:pt x="758" y="200"/>
                      <a:pt x="766" y="203"/>
                      <a:pt x="767" y="206"/>
                    </a:cubicBezTo>
                    <a:cubicBezTo>
                      <a:pt x="768" y="209"/>
                      <a:pt x="765" y="213"/>
                      <a:pt x="764" y="216"/>
                    </a:cubicBezTo>
                    <a:cubicBezTo>
                      <a:pt x="763" y="219"/>
                      <a:pt x="764" y="223"/>
                      <a:pt x="759" y="225"/>
                    </a:cubicBezTo>
                    <a:cubicBezTo>
                      <a:pt x="754" y="227"/>
                      <a:pt x="736" y="226"/>
                      <a:pt x="732" y="228"/>
                    </a:cubicBezTo>
                    <a:cubicBezTo>
                      <a:pt x="728" y="230"/>
                      <a:pt x="740" y="235"/>
                      <a:pt x="738" y="239"/>
                    </a:cubicBezTo>
                    <a:cubicBezTo>
                      <a:pt x="736" y="243"/>
                      <a:pt x="725" y="251"/>
                      <a:pt x="717" y="255"/>
                    </a:cubicBezTo>
                    <a:cubicBezTo>
                      <a:pt x="709" y="259"/>
                      <a:pt x="693" y="260"/>
                      <a:pt x="690" y="263"/>
                    </a:cubicBezTo>
                    <a:cubicBezTo>
                      <a:pt x="687" y="266"/>
                      <a:pt x="700" y="268"/>
                      <a:pt x="699" y="272"/>
                    </a:cubicBezTo>
                    <a:cubicBezTo>
                      <a:pt x="698" y="276"/>
                      <a:pt x="683" y="284"/>
                      <a:pt x="683" y="287"/>
                    </a:cubicBezTo>
                    <a:cubicBezTo>
                      <a:pt x="683" y="290"/>
                      <a:pt x="697" y="286"/>
                      <a:pt x="699" y="290"/>
                    </a:cubicBezTo>
                    <a:cubicBezTo>
                      <a:pt x="720" y="305"/>
                      <a:pt x="694" y="310"/>
                      <a:pt x="696" y="314"/>
                    </a:cubicBezTo>
                    <a:cubicBezTo>
                      <a:pt x="698" y="318"/>
                      <a:pt x="711" y="308"/>
                      <a:pt x="713" y="312"/>
                    </a:cubicBezTo>
                    <a:cubicBezTo>
                      <a:pt x="733" y="331"/>
                      <a:pt x="709" y="332"/>
                      <a:pt x="710" y="336"/>
                    </a:cubicBezTo>
                    <a:cubicBezTo>
                      <a:pt x="711" y="340"/>
                      <a:pt x="719" y="336"/>
                      <a:pt x="722" y="339"/>
                    </a:cubicBezTo>
                    <a:cubicBezTo>
                      <a:pt x="725" y="342"/>
                      <a:pt x="728" y="344"/>
                      <a:pt x="728" y="354"/>
                    </a:cubicBezTo>
                    <a:lnTo>
                      <a:pt x="725" y="399"/>
                    </a:lnTo>
                    <a:cubicBezTo>
                      <a:pt x="724" y="409"/>
                      <a:pt x="721" y="411"/>
                      <a:pt x="719" y="416"/>
                    </a:cubicBezTo>
                    <a:cubicBezTo>
                      <a:pt x="717" y="421"/>
                      <a:pt x="713" y="427"/>
                      <a:pt x="710" y="431"/>
                    </a:cubicBezTo>
                    <a:cubicBezTo>
                      <a:pt x="707" y="435"/>
                      <a:pt x="701" y="439"/>
                      <a:pt x="698" y="443"/>
                    </a:cubicBezTo>
                    <a:cubicBezTo>
                      <a:pt x="695" y="447"/>
                      <a:pt x="696" y="456"/>
                      <a:pt x="690" y="458"/>
                    </a:cubicBezTo>
                    <a:cubicBezTo>
                      <a:pt x="684" y="460"/>
                      <a:pt x="669" y="457"/>
                      <a:pt x="663" y="458"/>
                    </a:cubicBezTo>
                    <a:cubicBezTo>
                      <a:pt x="657" y="459"/>
                      <a:pt x="655" y="464"/>
                      <a:pt x="651" y="464"/>
                    </a:cubicBezTo>
                    <a:cubicBezTo>
                      <a:pt x="647" y="464"/>
                      <a:pt x="640" y="455"/>
                      <a:pt x="636" y="455"/>
                    </a:cubicBezTo>
                    <a:cubicBezTo>
                      <a:pt x="632" y="455"/>
                      <a:pt x="631" y="461"/>
                      <a:pt x="627" y="462"/>
                    </a:cubicBezTo>
                    <a:cubicBezTo>
                      <a:pt x="623" y="463"/>
                      <a:pt x="614" y="464"/>
                      <a:pt x="609" y="464"/>
                    </a:cubicBezTo>
                    <a:cubicBezTo>
                      <a:pt x="604" y="464"/>
                      <a:pt x="602" y="462"/>
                      <a:pt x="599" y="464"/>
                    </a:cubicBezTo>
                    <a:cubicBezTo>
                      <a:pt x="596" y="466"/>
                      <a:pt x="594" y="476"/>
                      <a:pt x="590" y="476"/>
                    </a:cubicBezTo>
                    <a:cubicBezTo>
                      <a:pt x="586" y="476"/>
                      <a:pt x="578" y="466"/>
                      <a:pt x="573" y="465"/>
                    </a:cubicBezTo>
                    <a:cubicBezTo>
                      <a:pt x="568" y="464"/>
                      <a:pt x="562" y="472"/>
                      <a:pt x="560" y="470"/>
                    </a:cubicBezTo>
                    <a:cubicBezTo>
                      <a:pt x="558" y="468"/>
                      <a:pt x="563" y="458"/>
                      <a:pt x="560" y="455"/>
                    </a:cubicBezTo>
                    <a:cubicBezTo>
                      <a:pt x="557" y="452"/>
                      <a:pt x="548" y="452"/>
                      <a:pt x="543" y="453"/>
                    </a:cubicBezTo>
                    <a:cubicBezTo>
                      <a:pt x="538" y="454"/>
                      <a:pt x="531" y="458"/>
                      <a:pt x="528" y="462"/>
                    </a:cubicBezTo>
                    <a:cubicBezTo>
                      <a:pt x="525" y="466"/>
                      <a:pt x="524" y="472"/>
                      <a:pt x="525" y="476"/>
                    </a:cubicBezTo>
                    <a:cubicBezTo>
                      <a:pt x="526" y="480"/>
                      <a:pt x="532" y="485"/>
                      <a:pt x="533" y="489"/>
                    </a:cubicBezTo>
                    <a:cubicBezTo>
                      <a:pt x="534" y="493"/>
                      <a:pt x="530" y="498"/>
                      <a:pt x="531" y="503"/>
                    </a:cubicBezTo>
                    <a:cubicBezTo>
                      <a:pt x="532" y="508"/>
                      <a:pt x="537" y="516"/>
                      <a:pt x="537" y="519"/>
                    </a:cubicBezTo>
                    <a:cubicBezTo>
                      <a:pt x="537" y="522"/>
                      <a:pt x="530" y="519"/>
                      <a:pt x="530" y="524"/>
                    </a:cubicBezTo>
                    <a:cubicBezTo>
                      <a:pt x="530" y="529"/>
                      <a:pt x="536" y="543"/>
                      <a:pt x="534" y="548"/>
                    </a:cubicBezTo>
                    <a:cubicBezTo>
                      <a:pt x="532" y="553"/>
                      <a:pt x="522" y="547"/>
                      <a:pt x="519" y="552"/>
                    </a:cubicBezTo>
                    <a:cubicBezTo>
                      <a:pt x="516" y="557"/>
                      <a:pt x="511" y="575"/>
                      <a:pt x="513" y="578"/>
                    </a:cubicBezTo>
                    <a:cubicBezTo>
                      <a:pt x="515" y="581"/>
                      <a:pt x="510" y="573"/>
                      <a:pt x="531" y="573"/>
                    </a:cubicBezTo>
                    <a:cubicBezTo>
                      <a:pt x="552" y="573"/>
                      <a:pt x="520" y="607"/>
                      <a:pt x="521" y="614"/>
                    </a:cubicBezTo>
                    <a:cubicBezTo>
                      <a:pt x="522" y="621"/>
                      <a:pt x="526" y="608"/>
                      <a:pt x="534" y="617"/>
                    </a:cubicBezTo>
                    <a:cubicBezTo>
                      <a:pt x="542" y="626"/>
                      <a:pt x="532" y="631"/>
                      <a:pt x="534" y="639"/>
                    </a:cubicBezTo>
                    <a:cubicBezTo>
                      <a:pt x="536" y="647"/>
                      <a:pt x="546" y="662"/>
                      <a:pt x="545" y="665"/>
                    </a:cubicBezTo>
                    <a:cubicBezTo>
                      <a:pt x="544" y="668"/>
                      <a:pt x="535" y="661"/>
                      <a:pt x="530" y="659"/>
                    </a:cubicBezTo>
                    <a:cubicBezTo>
                      <a:pt x="525" y="657"/>
                      <a:pt x="520" y="656"/>
                      <a:pt x="515" y="653"/>
                    </a:cubicBezTo>
                    <a:cubicBezTo>
                      <a:pt x="510" y="650"/>
                      <a:pt x="503" y="644"/>
                      <a:pt x="498" y="641"/>
                    </a:cubicBezTo>
                    <a:cubicBezTo>
                      <a:pt x="493" y="638"/>
                      <a:pt x="487" y="637"/>
                      <a:pt x="482" y="633"/>
                    </a:cubicBezTo>
                    <a:cubicBezTo>
                      <a:pt x="477" y="629"/>
                      <a:pt x="475" y="623"/>
                      <a:pt x="471" y="617"/>
                    </a:cubicBezTo>
                    <a:cubicBezTo>
                      <a:pt x="467" y="611"/>
                      <a:pt x="460" y="603"/>
                      <a:pt x="456" y="599"/>
                    </a:cubicBezTo>
                    <a:cubicBezTo>
                      <a:pt x="452" y="595"/>
                      <a:pt x="453" y="595"/>
                      <a:pt x="450" y="591"/>
                    </a:cubicBezTo>
                    <a:cubicBezTo>
                      <a:pt x="447" y="587"/>
                      <a:pt x="444" y="582"/>
                      <a:pt x="440" y="578"/>
                    </a:cubicBezTo>
                    <a:cubicBezTo>
                      <a:pt x="436" y="574"/>
                      <a:pt x="431" y="569"/>
                      <a:pt x="428" y="566"/>
                    </a:cubicBezTo>
                    <a:cubicBezTo>
                      <a:pt x="425" y="563"/>
                      <a:pt x="427" y="558"/>
                      <a:pt x="423" y="557"/>
                    </a:cubicBezTo>
                    <a:cubicBezTo>
                      <a:pt x="402" y="553"/>
                      <a:pt x="423" y="560"/>
                      <a:pt x="401" y="558"/>
                    </a:cubicBezTo>
                    <a:cubicBezTo>
                      <a:pt x="383" y="572"/>
                      <a:pt x="383" y="567"/>
                      <a:pt x="377" y="566"/>
                    </a:cubicBezTo>
                    <a:cubicBezTo>
                      <a:pt x="371" y="565"/>
                      <a:pt x="367" y="557"/>
                      <a:pt x="363" y="554"/>
                    </a:cubicBezTo>
                    <a:cubicBezTo>
                      <a:pt x="359" y="551"/>
                      <a:pt x="358" y="551"/>
                      <a:pt x="353" y="545"/>
                    </a:cubicBezTo>
                    <a:cubicBezTo>
                      <a:pt x="327" y="542"/>
                      <a:pt x="337" y="519"/>
                      <a:pt x="332" y="516"/>
                    </a:cubicBezTo>
                    <a:cubicBezTo>
                      <a:pt x="327" y="513"/>
                      <a:pt x="327" y="522"/>
                      <a:pt x="323" y="524"/>
                    </a:cubicBezTo>
                    <a:cubicBezTo>
                      <a:pt x="319" y="526"/>
                      <a:pt x="314" y="525"/>
                      <a:pt x="309" y="527"/>
                    </a:cubicBezTo>
                    <a:cubicBezTo>
                      <a:pt x="304" y="529"/>
                      <a:pt x="296" y="534"/>
                      <a:pt x="290" y="537"/>
                    </a:cubicBezTo>
                    <a:cubicBezTo>
                      <a:pt x="284" y="540"/>
                      <a:pt x="280" y="545"/>
                      <a:pt x="273" y="548"/>
                    </a:cubicBezTo>
                    <a:cubicBezTo>
                      <a:pt x="266" y="551"/>
                      <a:pt x="255" y="555"/>
                      <a:pt x="248" y="555"/>
                    </a:cubicBezTo>
                    <a:cubicBezTo>
                      <a:pt x="241" y="551"/>
                      <a:pt x="237" y="555"/>
                      <a:pt x="230" y="551"/>
                    </a:cubicBezTo>
                    <a:cubicBezTo>
                      <a:pt x="226" y="569"/>
                      <a:pt x="220" y="540"/>
                      <a:pt x="216" y="537"/>
                    </a:cubicBezTo>
                    <a:cubicBezTo>
                      <a:pt x="212" y="534"/>
                      <a:pt x="221" y="531"/>
                      <a:pt x="207" y="530"/>
                    </a:cubicBezTo>
                    <a:cubicBezTo>
                      <a:pt x="182" y="545"/>
                      <a:pt x="143" y="528"/>
                      <a:pt x="129" y="530"/>
                    </a:cubicBezTo>
                    <a:cubicBezTo>
                      <a:pt x="115" y="532"/>
                      <a:pt x="127" y="539"/>
                      <a:pt x="125" y="540"/>
                    </a:cubicBezTo>
                    <a:cubicBezTo>
                      <a:pt x="123" y="541"/>
                      <a:pt x="120" y="535"/>
                      <a:pt x="114" y="537"/>
                    </a:cubicBezTo>
                    <a:cubicBezTo>
                      <a:pt x="108" y="539"/>
                      <a:pt x="95" y="550"/>
                      <a:pt x="90" y="551"/>
                    </a:cubicBezTo>
                    <a:cubicBezTo>
                      <a:pt x="85" y="552"/>
                      <a:pt x="87" y="541"/>
                      <a:pt x="83" y="542"/>
                    </a:cubicBezTo>
                    <a:cubicBezTo>
                      <a:pt x="79" y="543"/>
                      <a:pt x="71" y="558"/>
                      <a:pt x="65" y="560"/>
                    </a:cubicBezTo>
                    <a:cubicBezTo>
                      <a:pt x="59" y="562"/>
                      <a:pt x="51" y="560"/>
                      <a:pt x="47" y="557"/>
                    </a:cubicBezTo>
                    <a:cubicBezTo>
                      <a:pt x="43" y="554"/>
                      <a:pt x="42" y="557"/>
                      <a:pt x="41" y="543"/>
                    </a:cubicBezTo>
                    <a:cubicBezTo>
                      <a:pt x="40" y="529"/>
                      <a:pt x="43" y="485"/>
                      <a:pt x="42" y="473"/>
                    </a:cubicBezTo>
                    <a:cubicBezTo>
                      <a:pt x="41" y="461"/>
                      <a:pt x="37" y="473"/>
                      <a:pt x="35" y="471"/>
                    </a:cubicBezTo>
                    <a:cubicBezTo>
                      <a:pt x="33" y="469"/>
                      <a:pt x="28" y="466"/>
                      <a:pt x="30" y="462"/>
                    </a:cubicBezTo>
                    <a:cubicBezTo>
                      <a:pt x="32" y="458"/>
                      <a:pt x="45" y="449"/>
                      <a:pt x="45" y="446"/>
                    </a:cubicBezTo>
                    <a:cubicBezTo>
                      <a:pt x="45" y="443"/>
                      <a:pt x="34" y="443"/>
                      <a:pt x="30" y="441"/>
                    </a:cubicBezTo>
                    <a:cubicBezTo>
                      <a:pt x="26" y="439"/>
                      <a:pt x="25" y="435"/>
                      <a:pt x="23" y="431"/>
                    </a:cubicBezTo>
                    <a:cubicBezTo>
                      <a:pt x="21" y="427"/>
                      <a:pt x="18" y="421"/>
                      <a:pt x="18" y="416"/>
                    </a:cubicBezTo>
                    <a:cubicBezTo>
                      <a:pt x="18" y="411"/>
                      <a:pt x="18" y="403"/>
                      <a:pt x="21" y="398"/>
                    </a:cubicBezTo>
                    <a:cubicBezTo>
                      <a:pt x="24" y="393"/>
                      <a:pt x="35" y="392"/>
                      <a:pt x="38" y="383"/>
                    </a:cubicBezTo>
                    <a:cubicBezTo>
                      <a:pt x="41" y="374"/>
                      <a:pt x="42" y="352"/>
                      <a:pt x="41" y="344"/>
                    </a:cubicBezTo>
                    <a:cubicBezTo>
                      <a:pt x="40" y="336"/>
                      <a:pt x="33" y="337"/>
                      <a:pt x="30" y="333"/>
                    </a:cubicBezTo>
                    <a:cubicBezTo>
                      <a:pt x="27" y="329"/>
                      <a:pt x="24" y="325"/>
                      <a:pt x="23" y="320"/>
                    </a:cubicBezTo>
                    <a:cubicBezTo>
                      <a:pt x="22" y="315"/>
                      <a:pt x="29" y="307"/>
                      <a:pt x="27" y="303"/>
                    </a:cubicBezTo>
                    <a:cubicBezTo>
                      <a:pt x="25" y="299"/>
                      <a:pt x="14" y="300"/>
                      <a:pt x="12" y="297"/>
                    </a:cubicBezTo>
                    <a:cubicBezTo>
                      <a:pt x="10" y="294"/>
                      <a:pt x="13" y="291"/>
                      <a:pt x="15" y="288"/>
                    </a:cubicBezTo>
                    <a:cubicBezTo>
                      <a:pt x="17" y="285"/>
                      <a:pt x="24" y="278"/>
                      <a:pt x="24" y="276"/>
                    </a:cubicBezTo>
                    <a:cubicBezTo>
                      <a:pt x="24" y="274"/>
                      <a:pt x="15" y="277"/>
                      <a:pt x="14" y="275"/>
                    </a:cubicBezTo>
                    <a:cubicBezTo>
                      <a:pt x="13" y="273"/>
                      <a:pt x="16" y="267"/>
                      <a:pt x="15" y="263"/>
                    </a:cubicBezTo>
                    <a:cubicBezTo>
                      <a:pt x="14" y="259"/>
                      <a:pt x="10" y="257"/>
                      <a:pt x="8" y="254"/>
                    </a:cubicBezTo>
                    <a:cubicBezTo>
                      <a:pt x="6" y="251"/>
                      <a:pt x="0" y="249"/>
                      <a:pt x="0" y="245"/>
                    </a:cubicBezTo>
                    <a:cubicBezTo>
                      <a:pt x="0" y="241"/>
                      <a:pt x="3" y="233"/>
                      <a:pt x="5" y="228"/>
                    </a:cubicBezTo>
                    <a:cubicBezTo>
                      <a:pt x="7" y="223"/>
                      <a:pt x="11" y="217"/>
                      <a:pt x="14" y="213"/>
                    </a:cubicBezTo>
                    <a:cubicBezTo>
                      <a:pt x="17" y="209"/>
                      <a:pt x="18" y="206"/>
                      <a:pt x="21" y="201"/>
                    </a:cubicBezTo>
                    <a:cubicBezTo>
                      <a:pt x="24" y="196"/>
                      <a:pt x="27" y="182"/>
                      <a:pt x="30" y="180"/>
                    </a:cubicBezTo>
                    <a:cubicBezTo>
                      <a:pt x="33" y="178"/>
                      <a:pt x="37" y="189"/>
                      <a:pt x="41" y="191"/>
                    </a:cubicBezTo>
                    <a:cubicBezTo>
                      <a:pt x="45" y="193"/>
                      <a:pt x="53" y="191"/>
                      <a:pt x="57" y="192"/>
                    </a:cubicBezTo>
                    <a:cubicBezTo>
                      <a:pt x="61" y="193"/>
                      <a:pt x="63" y="196"/>
                      <a:pt x="68" y="197"/>
                    </a:cubicBezTo>
                    <a:cubicBezTo>
                      <a:pt x="73" y="198"/>
                      <a:pt x="81" y="200"/>
                      <a:pt x="86" y="197"/>
                    </a:cubicBezTo>
                    <a:cubicBezTo>
                      <a:pt x="82" y="187"/>
                      <a:pt x="96" y="186"/>
                      <a:pt x="101" y="176"/>
                    </a:cubicBezTo>
                    <a:cubicBezTo>
                      <a:pt x="106" y="177"/>
                      <a:pt x="111" y="159"/>
                      <a:pt x="111" y="1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15"/>
              <p:cNvSpPr>
                <a:spLocks/>
              </p:cNvSpPr>
              <p:nvPr/>
            </p:nvSpPr>
            <p:spPr bwMode="auto">
              <a:xfrm>
                <a:off x="6416346" y="3775742"/>
                <a:ext cx="4689003" cy="2551336"/>
              </a:xfrm>
              <a:custGeom>
                <a:avLst/>
                <a:gdLst/>
                <a:ahLst/>
                <a:cxnLst>
                  <a:cxn ang="0">
                    <a:pos x="526" y="161"/>
                  </a:cxn>
                  <a:cxn ang="0">
                    <a:pos x="593" y="163"/>
                  </a:cxn>
                  <a:cxn ang="0">
                    <a:pos x="623" y="107"/>
                  </a:cxn>
                  <a:cxn ang="0">
                    <a:pos x="710" y="103"/>
                  </a:cxn>
                  <a:cxn ang="0">
                    <a:pos x="748" y="79"/>
                  </a:cxn>
                  <a:cxn ang="0">
                    <a:pos x="778" y="32"/>
                  </a:cxn>
                  <a:cxn ang="0">
                    <a:pos x="818" y="13"/>
                  </a:cxn>
                  <a:cxn ang="0">
                    <a:pos x="853" y="41"/>
                  </a:cxn>
                  <a:cxn ang="0">
                    <a:pos x="890" y="68"/>
                  </a:cxn>
                  <a:cxn ang="0">
                    <a:pos x="920" y="88"/>
                  </a:cxn>
                  <a:cxn ang="0">
                    <a:pos x="935" y="116"/>
                  </a:cxn>
                  <a:cxn ang="0">
                    <a:pos x="991" y="107"/>
                  </a:cxn>
                  <a:cxn ang="0">
                    <a:pos x="1039" y="91"/>
                  </a:cxn>
                  <a:cxn ang="0">
                    <a:pos x="1073" y="50"/>
                  </a:cxn>
                  <a:cxn ang="0">
                    <a:pos x="1123" y="43"/>
                  </a:cxn>
                  <a:cxn ang="0">
                    <a:pos x="1130" y="95"/>
                  </a:cxn>
                  <a:cxn ang="0">
                    <a:pos x="1136" y="164"/>
                  </a:cxn>
                  <a:cxn ang="0">
                    <a:pos x="1138" y="223"/>
                  </a:cxn>
                  <a:cxn ang="0">
                    <a:pos x="1135" y="284"/>
                  </a:cxn>
                  <a:cxn ang="0">
                    <a:pos x="1154" y="337"/>
                  </a:cxn>
                  <a:cxn ang="0">
                    <a:pos x="1151" y="404"/>
                  </a:cxn>
                  <a:cxn ang="0">
                    <a:pos x="1174" y="451"/>
                  </a:cxn>
                  <a:cxn ang="0">
                    <a:pos x="1204" y="463"/>
                  </a:cxn>
                  <a:cxn ang="0">
                    <a:pos x="1195" y="508"/>
                  </a:cxn>
                  <a:cxn ang="0">
                    <a:pos x="994" y="503"/>
                  </a:cxn>
                  <a:cxn ang="0">
                    <a:pos x="946" y="548"/>
                  </a:cxn>
                  <a:cxn ang="0">
                    <a:pos x="911" y="590"/>
                  </a:cxn>
                  <a:cxn ang="0">
                    <a:pos x="904" y="614"/>
                  </a:cxn>
                  <a:cxn ang="0">
                    <a:pos x="835" y="628"/>
                  </a:cxn>
                  <a:cxn ang="0">
                    <a:pos x="764" y="647"/>
                  </a:cxn>
                  <a:cxn ang="0">
                    <a:pos x="664" y="649"/>
                  </a:cxn>
                  <a:cxn ang="0">
                    <a:pos x="575" y="641"/>
                  </a:cxn>
                  <a:cxn ang="0">
                    <a:pos x="538" y="661"/>
                  </a:cxn>
                  <a:cxn ang="0">
                    <a:pos x="428" y="658"/>
                  </a:cxn>
                  <a:cxn ang="0">
                    <a:pos x="302" y="655"/>
                  </a:cxn>
                  <a:cxn ang="0">
                    <a:pos x="220" y="626"/>
                  </a:cxn>
                  <a:cxn ang="0">
                    <a:pos x="151" y="584"/>
                  </a:cxn>
                  <a:cxn ang="0">
                    <a:pos x="92" y="571"/>
                  </a:cxn>
                  <a:cxn ang="0">
                    <a:pos x="37" y="550"/>
                  </a:cxn>
                  <a:cxn ang="0">
                    <a:pos x="26" y="509"/>
                  </a:cxn>
                  <a:cxn ang="0">
                    <a:pos x="68" y="469"/>
                  </a:cxn>
                  <a:cxn ang="0">
                    <a:pos x="107" y="431"/>
                  </a:cxn>
                  <a:cxn ang="0">
                    <a:pos x="112" y="400"/>
                  </a:cxn>
                  <a:cxn ang="0">
                    <a:pos x="140" y="352"/>
                  </a:cxn>
                  <a:cxn ang="0">
                    <a:pos x="196" y="314"/>
                  </a:cxn>
                  <a:cxn ang="0">
                    <a:pos x="250" y="284"/>
                  </a:cxn>
                  <a:cxn ang="0">
                    <a:pos x="296" y="245"/>
                  </a:cxn>
                  <a:cxn ang="0">
                    <a:pos x="349" y="208"/>
                  </a:cxn>
                  <a:cxn ang="0">
                    <a:pos x="386" y="161"/>
                  </a:cxn>
                  <a:cxn ang="0">
                    <a:pos x="407" y="109"/>
                  </a:cxn>
                  <a:cxn ang="0">
                    <a:pos x="454" y="128"/>
                  </a:cxn>
                  <a:cxn ang="0">
                    <a:pos x="484" y="166"/>
                  </a:cxn>
                </a:cxnLst>
                <a:rect l="0" t="0" r="r" b="b"/>
                <a:pathLst>
                  <a:path w="1213" h="668">
                    <a:moveTo>
                      <a:pt x="484" y="166"/>
                    </a:moveTo>
                    <a:cubicBezTo>
                      <a:pt x="488" y="168"/>
                      <a:pt x="492" y="173"/>
                      <a:pt x="496" y="173"/>
                    </a:cubicBezTo>
                    <a:cubicBezTo>
                      <a:pt x="500" y="173"/>
                      <a:pt x="504" y="169"/>
                      <a:pt x="509" y="167"/>
                    </a:cubicBezTo>
                    <a:cubicBezTo>
                      <a:pt x="514" y="165"/>
                      <a:pt x="519" y="163"/>
                      <a:pt x="526" y="161"/>
                    </a:cubicBezTo>
                    <a:cubicBezTo>
                      <a:pt x="533" y="159"/>
                      <a:pt x="541" y="155"/>
                      <a:pt x="548" y="155"/>
                    </a:cubicBezTo>
                    <a:cubicBezTo>
                      <a:pt x="555" y="155"/>
                      <a:pt x="565" y="159"/>
                      <a:pt x="571" y="161"/>
                    </a:cubicBezTo>
                    <a:cubicBezTo>
                      <a:pt x="577" y="163"/>
                      <a:pt x="582" y="170"/>
                      <a:pt x="586" y="170"/>
                    </a:cubicBezTo>
                    <a:cubicBezTo>
                      <a:pt x="590" y="170"/>
                      <a:pt x="590" y="165"/>
                      <a:pt x="593" y="163"/>
                    </a:cubicBezTo>
                    <a:cubicBezTo>
                      <a:pt x="596" y="161"/>
                      <a:pt x="604" y="163"/>
                      <a:pt x="607" y="160"/>
                    </a:cubicBezTo>
                    <a:cubicBezTo>
                      <a:pt x="610" y="157"/>
                      <a:pt x="611" y="148"/>
                      <a:pt x="613" y="143"/>
                    </a:cubicBezTo>
                    <a:cubicBezTo>
                      <a:pt x="615" y="138"/>
                      <a:pt x="615" y="134"/>
                      <a:pt x="617" y="128"/>
                    </a:cubicBezTo>
                    <a:lnTo>
                      <a:pt x="623" y="107"/>
                    </a:lnTo>
                    <a:cubicBezTo>
                      <a:pt x="626" y="101"/>
                      <a:pt x="632" y="95"/>
                      <a:pt x="638" y="92"/>
                    </a:cubicBezTo>
                    <a:cubicBezTo>
                      <a:pt x="644" y="89"/>
                      <a:pt x="652" y="87"/>
                      <a:pt x="659" y="86"/>
                    </a:cubicBezTo>
                    <a:cubicBezTo>
                      <a:pt x="666" y="85"/>
                      <a:pt x="671" y="85"/>
                      <a:pt x="679" y="88"/>
                    </a:cubicBezTo>
                    <a:cubicBezTo>
                      <a:pt x="687" y="91"/>
                      <a:pt x="703" y="100"/>
                      <a:pt x="710" y="103"/>
                    </a:cubicBezTo>
                    <a:cubicBezTo>
                      <a:pt x="717" y="106"/>
                      <a:pt x="718" y="107"/>
                      <a:pt x="722" y="106"/>
                    </a:cubicBezTo>
                    <a:cubicBezTo>
                      <a:pt x="726" y="105"/>
                      <a:pt x="730" y="100"/>
                      <a:pt x="733" y="97"/>
                    </a:cubicBezTo>
                    <a:cubicBezTo>
                      <a:pt x="736" y="94"/>
                      <a:pt x="741" y="92"/>
                      <a:pt x="743" y="89"/>
                    </a:cubicBezTo>
                    <a:cubicBezTo>
                      <a:pt x="745" y="86"/>
                      <a:pt x="746" y="82"/>
                      <a:pt x="748" y="79"/>
                    </a:cubicBezTo>
                    <a:cubicBezTo>
                      <a:pt x="750" y="76"/>
                      <a:pt x="756" y="76"/>
                      <a:pt x="758" y="73"/>
                    </a:cubicBezTo>
                    <a:cubicBezTo>
                      <a:pt x="760" y="70"/>
                      <a:pt x="757" y="63"/>
                      <a:pt x="760" y="59"/>
                    </a:cubicBezTo>
                    <a:cubicBezTo>
                      <a:pt x="763" y="55"/>
                      <a:pt x="776" y="50"/>
                      <a:pt x="779" y="46"/>
                    </a:cubicBezTo>
                    <a:cubicBezTo>
                      <a:pt x="782" y="42"/>
                      <a:pt x="777" y="34"/>
                      <a:pt x="778" y="32"/>
                    </a:cubicBezTo>
                    <a:cubicBezTo>
                      <a:pt x="779" y="30"/>
                      <a:pt x="783" y="33"/>
                      <a:pt x="788" y="31"/>
                    </a:cubicBezTo>
                    <a:cubicBezTo>
                      <a:pt x="793" y="29"/>
                      <a:pt x="802" y="20"/>
                      <a:pt x="806" y="20"/>
                    </a:cubicBezTo>
                    <a:cubicBezTo>
                      <a:pt x="810" y="20"/>
                      <a:pt x="809" y="30"/>
                      <a:pt x="811" y="29"/>
                    </a:cubicBezTo>
                    <a:cubicBezTo>
                      <a:pt x="813" y="28"/>
                      <a:pt x="814" y="18"/>
                      <a:pt x="818" y="13"/>
                    </a:cubicBezTo>
                    <a:cubicBezTo>
                      <a:pt x="822" y="8"/>
                      <a:pt x="834" y="2"/>
                      <a:pt x="838" y="1"/>
                    </a:cubicBezTo>
                    <a:cubicBezTo>
                      <a:pt x="842" y="0"/>
                      <a:pt x="841" y="4"/>
                      <a:pt x="844" y="8"/>
                    </a:cubicBezTo>
                    <a:cubicBezTo>
                      <a:pt x="847" y="12"/>
                      <a:pt x="855" y="21"/>
                      <a:pt x="856" y="26"/>
                    </a:cubicBezTo>
                    <a:cubicBezTo>
                      <a:pt x="857" y="31"/>
                      <a:pt x="852" y="36"/>
                      <a:pt x="853" y="41"/>
                    </a:cubicBezTo>
                    <a:cubicBezTo>
                      <a:pt x="854" y="46"/>
                      <a:pt x="857" y="51"/>
                      <a:pt x="860" y="55"/>
                    </a:cubicBezTo>
                    <a:cubicBezTo>
                      <a:pt x="863" y="59"/>
                      <a:pt x="865" y="66"/>
                      <a:pt x="868" y="67"/>
                    </a:cubicBezTo>
                    <a:cubicBezTo>
                      <a:pt x="871" y="68"/>
                      <a:pt x="876" y="61"/>
                      <a:pt x="880" y="61"/>
                    </a:cubicBezTo>
                    <a:cubicBezTo>
                      <a:pt x="884" y="61"/>
                      <a:pt x="886" y="68"/>
                      <a:pt x="890" y="68"/>
                    </a:cubicBezTo>
                    <a:cubicBezTo>
                      <a:pt x="894" y="68"/>
                      <a:pt x="900" y="60"/>
                      <a:pt x="904" y="59"/>
                    </a:cubicBezTo>
                    <a:cubicBezTo>
                      <a:pt x="908" y="58"/>
                      <a:pt x="914" y="61"/>
                      <a:pt x="916" y="64"/>
                    </a:cubicBezTo>
                    <a:cubicBezTo>
                      <a:pt x="918" y="67"/>
                      <a:pt x="918" y="75"/>
                      <a:pt x="919" y="79"/>
                    </a:cubicBezTo>
                    <a:cubicBezTo>
                      <a:pt x="920" y="83"/>
                      <a:pt x="918" y="86"/>
                      <a:pt x="920" y="88"/>
                    </a:cubicBezTo>
                    <a:cubicBezTo>
                      <a:pt x="922" y="90"/>
                      <a:pt x="929" y="91"/>
                      <a:pt x="931" y="92"/>
                    </a:cubicBezTo>
                    <a:cubicBezTo>
                      <a:pt x="933" y="93"/>
                      <a:pt x="932" y="89"/>
                      <a:pt x="932" y="91"/>
                    </a:cubicBezTo>
                    <a:cubicBezTo>
                      <a:pt x="932" y="93"/>
                      <a:pt x="932" y="102"/>
                      <a:pt x="932" y="106"/>
                    </a:cubicBezTo>
                    <a:cubicBezTo>
                      <a:pt x="932" y="110"/>
                      <a:pt x="933" y="113"/>
                      <a:pt x="935" y="116"/>
                    </a:cubicBezTo>
                    <a:cubicBezTo>
                      <a:pt x="937" y="119"/>
                      <a:pt x="939" y="120"/>
                      <a:pt x="943" y="122"/>
                    </a:cubicBezTo>
                    <a:cubicBezTo>
                      <a:pt x="947" y="124"/>
                      <a:pt x="953" y="125"/>
                      <a:pt x="958" y="125"/>
                    </a:cubicBezTo>
                    <a:cubicBezTo>
                      <a:pt x="963" y="125"/>
                      <a:pt x="968" y="125"/>
                      <a:pt x="973" y="122"/>
                    </a:cubicBezTo>
                    <a:cubicBezTo>
                      <a:pt x="978" y="119"/>
                      <a:pt x="986" y="111"/>
                      <a:pt x="991" y="107"/>
                    </a:cubicBezTo>
                    <a:cubicBezTo>
                      <a:pt x="996" y="103"/>
                      <a:pt x="999" y="101"/>
                      <a:pt x="1004" y="100"/>
                    </a:cubicBezTo>
                    <a:cubicBezTo>
                      <a:pt x="1009" y="99"/>
                      <a:pt x="1017" y="99"/>
                      <a:pt x="1022" y="100"/>
                    </a:cubicBezTo>
                    <a:cubicBezTo>
                      <a:pt x="1027" y="101"/>
                      <a:pt x="1033" y="105"/>
                      <a:pt x="1036" y="104"/>
                    </a:cubicBezTo>
                    <a:cubicBezTo>
                      <a:pt x="1039" y="103"/>
                      <a:pt x="1037" y="94"/>
                      <a:pt x="1039" y="91"/>
                    </a:cubicBezTo>
                    <a:cubicBezTo>
                      <a:pt x="1041" y="88"/>
                      <a:pt x="1048" y="92"/>
                      <a:pt x="1051" y="88"/>
                    </a:cubicBezTo>
                    <a:cubicBezTo>
                      <a:pt x="1054" y="84"/>
                      <a:pt x="1054" y="69"/>
                      <a:pt x="1057" y="65"/>
                    </a:cubicBezTo>
                    <a:cubicBezTo>
                      <a:pt x="1060" y="61"/>
                      <a:pt x="1064" y="64"/>
                      <a:pt x="1067" y="62"/>
                    </a:cubicBezTo>
                    <a:cubicBezTo>
                      <a:pt x="1070" y="60"/>
                      <a:pt x="1070" y="52"/>
                      <a:pt x="1073" y="50"/>
                    </a:cubicBezTo>
                    <a:cubicBezTo>
                      <a:pt x="1076" y="48"/>
                      <a:pt x="1082" y="53"/>
                      <a:pt x="1084" y="52"/>
                    </a:cubicBezTo>
                    <a:cubicBezTo>
                      <a:pt x="1086" y="51"/>
                      <a:pt x="1084" y="45"/>
                      <a:pt x="1088" y="43"/>
                    </a:cubicBezTo>
                    <a:cubicBezTo>
                      <a:pt x="1092" y="41"/>
                      <a:pt x="1099" y="38"/>
                      <a:pt x="1105" y="38"/>
                    </a:cubicBezTo>
                    <a:cubicBezTo>
                      <a:pt x="1111" y="38"/>
                      <a:pt x="1117" y="41"/>
                      <a:pt x="1123" y="43"/>
                    </a:cubicBezTo>
                    <a:cubicBezTo>
                      <a:pt x="1129" y="45"/>
                      <a:pt x="1136" y="48"/>
                      <a:pt x="1139" y="53"/>
                    </a:cubicBezTo>
                    <a:cubicBezTo>
                      <a:pt x="1142" y="58"/>
                      <a:pt x="1143" y="66"/>
                      <a:pt x="1142" y="71"/>
                    </a:cubicBezTo>
                    <a:cubicBezTo>
                      <a:pt x="1141" y="76"/>
                      <a:pt x="1134" y="78"/>
                      <a:pt x="1132" y="82"/>
                    </a:cubicBezTo>
                    <a:cubicBezTo>
                      <a:pt x="1130" y="86"/>
                      <a:pt x="1133" y="87"/>
                      <a:pt x="1130" y="95"/>
                    </a:cubicBezTo>
                    <a:cubicBezTo>
                      <a:pt x="1127" y="103"/>
                      <a:pt x="1112" y="125"/>
                      <a:pt x="1111" y="133"/>
                    </a:cubicBezTo>
                    <a:cubicBezTo>
                      <a:pt x="1110" y="141"/>
                      <a:pt x="1123" y="141"/>
                      <a:pt x="1126" y="146"/>
                    </a:cubicBezTo>
                    <a:cubicBezTo>
                      <a:pt x="1129" y="151"/>
                      <a:pt x="1124" y="160"/>
                      <a:pt x="1126" y="163"/>
                    </a:cubicBezTo>
                    <a:cubicBezTo>
                      <a:pt x="1128" y="166"/>
                      <a:pt x="1136" y="161"/>
                      <a:pt x="1136" y="164"/>
                    </a:cubicBezTo>
                    <a:cubicBezTo>
                      <a:pt x="1136" y="167"/>
                      <a:pt x="1123" y="179"/>
                      <a:pt x="1123" y="184"/>
                    </a:cubicBezTo>
                    <a:cubicBezTo>
                      <a:pt x="1123" y="189"/>
                      <a:pt x="1137" y="189"/>
                      <a:pt x="1138" y="193"/>
                    </a:cubicBezTo>
                    <a:cubicBezTo>
                      <a:pt x="1139" y="197"/>
                      <a:pt x="1132" y="204"/>
                      <a:pt x="1132" y="209"/>
                    </a:cubicBezTo>
                    <a:cubicBezTo>
                      <a:pt x="1132" y="214"/>
                      <a:pt x="1135" y="220"/>
                      <a:pt x="1138" y="223"/>
                    </a:cubicBezTo>
                    <a:cubicBezTo>
                      <a:pt x="1141" y="226"/>
                      <a:pt x="1148" y="225"/>
                      <a:pt x="1150" y="229"/>
                    </a:cubicBezTo>
                    <a:cubicBezTo>
                      <a:pt x="1152" y="233"/>
                      <a:pt x="1150" y="238"/>
                      <a:pt x="1150" y="245"/>
                    </a:cubicBezTo>
                    <a:cubicBezTo>
                      <a:pt x="1150" y="252"/>
                      <a:pt x="1150" y="263"/>
                      <a:pt x="1148" y="269"/>
                    </a:cubicBezTo>
                    <a:cubicBezTo>
                      <a:pt x="1146" y="275"/>
                      <a:pt x="1138" y="280"/>
                      <a:pt x="1135" y="284"/>
                    </a:cubicBezTo>
                    <a:cubicBezTo>
                      <a:pt x="1132" y="288"/>
                      <a:pt x="1131" y="288"/>
                      <a:pt x="1130" y="293"/>
                    </a:cubicBezTo>
                    <a:cubicBezTo>
                      <a:pt x="1129" y="298"/>
                      <a:pt x="1129" y="307"/>
                      <a:pt x="1130" y="313"/>
                    </a:cubicBezTo>
                    <a:cubicBezTo>
                      <a:pt x="1131" y="319"/>
                      <a:pt x="1132" y="324"/>
                      <a:pt x="1136" y="328"/>
                    </a:cubicBezTo>
                    <a:cubicBezTo>
                      <a:pt x="1140" y="332"/>
                      <a:pt x="1153" y="333"/>
                      <a:pt x="1154" y="337"/>
                    </a:cubicBezTo>
                    <a:cubicBezTo>
                      <a:pt x="1155" y="341"/>
                      <a:pt x="1144" y="348"/>
                      <a:pt x="1142" y="352"/>
                    </a:cubicBezTo>
                    <a:cubicBezTo>
                      <a:pt x="1140" y="356"/>
                      <a:pt x="1142" y="358"/>
                      <a:pt x="1144" y="359"/>
                    </a:cubicBezTo>
                    <a:cubicBezTo>
                      <a:pt x="1146" y="360"/>
                      <a:pt x="1156" y="354"/>
                      <a:pt x="1157" y="361"/>
                    </a:cubicBezTo>
                    <a:lnTo>
                      <a:pt x="1151" y="404"/>
                    </a:lnTo>
                    <a:lnTo>
                      <a:pt x="1150" y="428"/>
                    </a:lnTo>
                    <a:cubicBezTo>
                      <a:pt x="1150" y="433"/>
                      <a:pt x="1150" y="434"/>
                      <a:pt x="1151" y="437"/>
                    </a:cubicBezTo>
                    <a:cubicBezTo>
                      <a:pt x="1152" y="440"/>
                      <a:pt x="1153" y="446"/>
                      <a:pt x="1157" y="448"/>
                    </a:cubicBezTo>
                    <a:cubicBezTo>
                      <a:pt x="1161" y="450"/>
                      <a:pt x="1170" y="452"/>
                      <a:pt x="1174" y="451"/>
                    </a:cubicBezTo>
                    <a:cubicBezTo>
                      <a:pt x="1178" y="450"/>
                      <a:pt x="1177" y="443"/>
                      <a:pt x="1181" y="440"/>
                    </a:cubicBezTo>
                    <a:cubicBezTo>
                      <a:pt x="1185" y="437"/>
                      <a:pt x="1191" y="432"/>
                      <a:pt x="1195" y="433"/>
                    </a:cubicBezTo>
                    <a:cubicBezTo>
                      <a:pt x="1199" y="434"/>
                      <a:pt x="1203" y="441"/>
                      <a:pt x="1204" y="446"/>
                    </a:cubicBezTo>
                    <a:cubicBezTo>
                      <a:pt x="1205" y="451"/>
                      <a:pt x="1204" y="458"/>
                      <a:pt x="1204" y="463"/>
                    </a:cubicBezTo>
                    <a:cubicBezTo>
                      <a:pt x="1204" y="468"/>
                      <a:pt x="1205" y="471"/>
                      <a:pt x="1205" y="475"/>
                    </a:cubicBezTo>
                    <a:cubicBezTo>
                      <a:pt x="1205" y="479"/>
                      <a:pt x="1204" y="481"/>
                      <a:pt x="1205" y="485"/>
                    </a:cubicBezTo>
                    <a:cubicBezTo>
                      <a:pt x="1206" y="489"/>
                      <a:pt x="1213" y="495"/>
                      <a:pt x="1211" y="499"/>
                    </a:cubicBezTo>
                    <a:cubicBezTo>
                      <a:pt x="1209" y="503"/>
                      <a:pt x="1200" y="508"/>
                      <a:pt x="1195" y="508"/>
                    </a:cubicBezTo>
                    <a:cubicBezTo>
                      <a:pt x="1190" y="508"/>
                      <a:pt x="1206" y="501"/>
                      <a:pt x="1180" y="499"/>
                    </a:cubicBezTo>
                    <a:cubicBezTo>
                      <a:pt x="1154" y="497"/>
                      <a:pt x="1065" y="497"/>
                      <a:pt x="1037" y="497"/>
                    </a:cubicBezTo>
                    <a:cubicBezTo>
                      <a:pt x="1009" y="497"/>
                      <a:pt x="1016" y="496"/>
                      <a:pt x="1009" y="497"/>
                    </a:cubicBezTo>
                    <a:cubicBezTo>
                      <a:pt x="1002" y="498"/>
                      <a:pt x="999" y="502"/>
                      <a:pt x="994" y="503"/>
                    </a:cubicBezTo>
                    <a:cubicBezTo>
                      <a:pt x="989" y="504"/>
                      <a:pt x="985" y="503"/>
                      <a:pt x="979" y="505"/>
                    </a:cubicBezTo>
                    <a:cubicBezTo>
                      <a:pt x="973" y="507"/>
                      <a:pt x="962" y="510"/>
                      <a:pt x="958" y="515"/>
                    </a:cubicBezTo>
                    <a:cubicBezTo>
                      <a:pt x="954" y="520"/>
                      <a:pt x="957" y="527"/>
                      <a:pt x="955" y="532"/>
                    </a:cubicBezTo>
                    <a:cubicBezTo>
                      <a:pt x="953" y="537"/>
                      <a:pt x="948" y="544"/>
                      <a:pt x="946" y="548"/>
                    </a:cubicBezTo>
                    <a:cubicBezTo>
                      <a:pt x="944" y="552"/>
                      <a:pt x="943" y="555"/>
                      <a:pt x="940" y="559"/>
                    </a:cubicBezTo>
                    <a:cubicBezTo>
                      <a:pt x="937" y="563"/>
                      <a:pt x="928" y="567"/>
                      <a:pt x="926" y="571"/>
                    </a:cubicBezTo>
                    <a:cubicBezTo>
                      <a:pt x="924" y="575"/>
                      <a:pt x="927" y="578"/>
                      <a:pt x="925" y="581"/>
                    </a:cubicBezTo>
                    <a:cubicBezTo>
                      <a:pt x="923" y="584"/>
                      <a:pt x="911" y="587"/>
                      <a:pt x="911" y="590"/>
                    </a:cubicBezTo>
                    <a:cubicBezTo>
                      <a:pt x="911" y="593"/>
                      <a:pt x="921" y="598"/>
                      <a:pt x="922" y="601"/>
                    </a:cubicBezTo>
                    <a:cubicBezTo>
                      <a:pt x="923" y="604"/>
                      <a:pt x="919" y="604"/>
                      <a:pt x="916" y="605"/>
                    </a:cubicBezTo>
                    <a:cubicBezTo>
                      <a:pt x="913" y="606"/>
                      <a:pt x="906" y="606"/>
                      <a:pt x="904" y="607"/>
                    </a:cubicBezTo>
                    <a:cubicBezTo>
                      <a:pt x="902" y="608"/>
                      <a:pt x="906" y="612"/>
                      <a:pt x="904" y="614"/>
                    </a:cubicBezTo>
                    <a:cubicBezTo>
                      <a:pt x="902" y="616"/>
                      <a:pt x="894" y="618"/>
                      <a:pt x="889" y="620"/>
                    </a:cubicBezTo>
                    <a:cubicBezTo>
                      <a:pt x="884" y="622"/>
                      <a:pt x="880" y="628"/>
                      <a:pt x="874" y="628"/>
                    </a:cubicBezTo>
                    <a:cubicBezTo>
                      <a:pt x="868" y="628"/>
                      <a:pt x="859" y="619"/>
                      <a:pt x="853" y="619"/>
                    </a:cubicBezTo>
                    <a:cubicBezTo>
                      <a:pt x="830" y="627"/>
                      <a:pt x="843" y="627"/>
                      <a:pt x="835" y="628"/>
                    </a:cubicBezTo>
                    <a:cubicBezTo>
                      <a:pt x="827" y="629"/>
                      <a:pt x="810" y="624"/>
                      <a:pt x="803" y="625"/>
                    </a:cubicBezTo>
                    <a:cubicBezTo>
                      <a:pt x="796" y="626"/>
                      <a:pt x="795" y="631"/>
                      <a:pt x="791" y="634"/>
                    </a:cubicBezTo>
                    <a:cubicBezTo>
                      <a:pt x="787" y="637"/>
                      <a:pt x="783" y="639"/>
                      <a:pt x="779" y="641"/>
                    </a:cubicBezTo>
                    <a:cubicBezTo>
                      <a:pt x="762" y="659"/>
                      <a:pt x="775" y="647"/>
                      <a:pt x="764" y="647"/>
                    </a:cubicBezTo>
                    <a:cubicBezTo>
                      <a:pt x="753" y="647"/>
                      <a:pt x="722" y="642"/>
                      <a:pt x="712" y="641"/>
                    </a:cubicBezTo>
                    <a:cubicBezTo>
                      <a:pt x="702" y="640"/>
                      <a:pt x="707" y="639"/>
                      <a:pt x="704" y="640"/>
                    </a:cubicBezTo>
                    <a:cubicBezTo>
                      <a:pt x="701" y="641"/>
                      <a:pt x="698" y="646"/>
                      <a:pt x="691" y="647"/>
                    </a:cubicBezTo>
                    <a:cubicBezTo>
                      <a:pt x="684" y="648"/>
                      <a:pt x="672" y="647"/>
                      <a:pt x="664" y="649"/>
                    </a:cubicBezTo>
                    <a:cubicBezTo>
                      <a:pt x="656" y="651"/>
                      <a:pt x="654" y="658"/>
                      <a:pt x="644" y="658"/>
                    </a:cubicBezTo>
                    <a:cubicBezTo>
                      <a:pt x="634" y="658"/>
                      <a:pt x="611" y="655"/>
                      <a:pt x="602" y="652"/>
                    </a:cubicBezTo>
                    <a:cubicBezTo>
                      <a:pt x="593" y="649"/>
                      <a:pt x="596" y="642"/>
                      <a:pt x="592" y="640"/>
                    </a:cubicBezTo>
                    <a:cubicBezTo>
                      <a:pt x="588" y="638"/>
                      <a:pt x="580" y="641"/>
                      <a:pt x="575" y="641"/>
                    </a:cubicBezTo>
                    <a:cubicBezTo>
                      <a:pt x="570" y="641"/>
                      <a:pt x="566" y="639"/>
                      <a:pt x="563" y="641"/>
                    </a:cubicBezTo>
                    <a:cubicBezTo>
                      <a:pt x="560" y="643"/>
                      <a:pt x="557" y="652"/>
                      <a:pt x="554" y="653"/>
                    </a:cubicBezTo>
                    <a:cubicBezTo>
                      <a:pt x="551" y="654"/>
                      <a:pt x="548" y="649"/>
                      <a:pt x="545" y="650"/>
                    </a:cubicBezTo>
                    <a:cubicBezTo>
                      <a:pt x="542" y="651"/>
                      <a:pt x="539" y="662"/>
                      <a:pt x="538" y="661"/>
                    </a:cubicBezTo>
                    <a:cubicBezTo>
                      <a:pt x="537" y="660"/>
                      <a:pt x="542" y="646"/>
                      <a:pt x="539" y="646"/>
                    </a:cubicBezTo>
                    <a:cubicBezTo>
                      <a:pt x="536" y="646"/>
                      <a:pt x="523" y="658"/>
                      <a:pt x="518" y="659"/>
                    </a:cubicBezTo>
                    <a:cubicBezTo>
                      <a:pt x="513" y="660"/>
                      <a:pt x="523" y="655"/>
                      <a:pt x="508" y="655"/>
                    </a:cubicBezTo>
                    <a:cubicBezTo>
                      <a:pt x="493" y="655"/>
                      <a:pt x="446" y="658"/>
                      <a:pt x="428" y="658"/>
                    </a:cubicBezTo>
                    <a:cubicBezTo>
                      <a:pt x="410" y="658"/>
                      <a:pt x="410" y="655"/>
                      <a:pt x="401" y="656"/>
                    </a:cubicBezTo>
                    <a:cubicBezTo>
                      <a:pt x="392" y="657"/>
                      <a:pt x="378" y="666"/>
                      <a:pt x="371" y="667"/>
                    </a:cubicBezTo>
                    <a:cubicBezTo>
                      <a:pt x="364" y="668"/>
                      <a:pt x="370" y="661"/>
                      <a:pt x="359" y="659"/>
                    </a:cubicBezTo>
                    <a:cubicBezTo>
                      <a:pt x="341" y="653"/>
                      <a:pt x="315" y="657"/>
                      <a:pt x="302" y="655"/>
                    </a:cubicBezTo>
                    <a:cubicBezTo>
                      <a:pt x="289" y="653"/>
                      <a:pt x="290" y="649"/>
                      <a:pt x="286" y="647"/>
                    </a:cubicBezTo>
                    <a:cubicBezTo>
                      <a:pt x="282" y="645"/>
                      <a:pt x="280" y="642"/>
                      <a:pt x="277" y="641"/>
                    </a:cubicBezTo>
                    <a:cubicBezTo>
                      <a:pt x="274" y="640"/>
                      <a:pt x="275" y="645"/>
                      <a:pt x="266" y="643"/>
                    </a:cubicBezTo>
                    <a:cubicBezTo>
                      <a:pt x="257" y="641"/>
                      <a:pt x="231" y="632"/>
                      <a:pt x="220" y="626"/>
                    </a:cubicBezTo>
                    <a:cubicBezTo>
                      <a:pt x="209" y="620"/>
                      <a:pt x="205" y="611"/>
                      <a:pt x="200" y="607"/>
                    </a:cubicBezTo>
                    <a:cubicBezTo>
                      <a:pt x="195" y="603"/>
                      <a:pt x="193" y="602"/>
                      <a:pt x="187" y="599"/>
                    </a:cubicBezTo>
                    <a:cubicBezTo>
                      <a:pt x="181" y="596"/>
                      <a:pt x="167" y="592"/>
                      <a:pt x="161" y="590"/>
                    </a:cubicBezTo>
                    <a:cubicBezTo>
                      <a:pt x="155" y="588"/>
                      <a:pt x="154" y="585"/>
                      <a:pt x="151" y="584"/>
                    </a:cubicBezTo>
                    <a:cubicBezTo>
                      <a:pt x="148" y="583"/>
                      <a:pt x="149" y="585"/>
                      <a:pt x="143" y="586"/>
                    </a:cubicBezTo>
                    <a:cubicBezTo>
                      <a:pt x="137" y="587"/>
                      <a:pt x="122" y="590"/>
                      <a:pt x="116" y="589"/>
                    </a:cubicBezTo>
                    <a:cubicBezTo>
                      <a:pt x="110" y="588"/>
                      <a:pt x="111" y="584"/>
                      <a:pt x="107" y="581"/>
                    </a:cubicBezTo>
                    <a:cubicBezTo>
                      <a:pt x="103" y="578"/>
                      <a:pt x="96" y="574"/>
                      <a:pt x="92" y="571"/>
                    </a:cubicBezTo>
                    <a:cubicBezTo>
                      <a:pt x="88" y="568"/>
                      <a:pt x="89" y="566"/>
                      <a:pt x="85" y="565"/>
                    </a:cubicBezTo>
                    <a:cubicBezTo>
                      <a:pt x="81" y="564"/>
                      <a:pt x="71" y="567"/>
                      <a:pt x="67" y="566"/>
                    </a:cubicBezTo>
                    <a:cubicBezTo>
                      <a:pt x="63" y="565"/>
                      <a:pt x="66" y="559"/>
                      <a:pt x="61" y="556"/>
                    </a:cubicBezTo>
                    <a:cubicBezTo>
                      <a:pt x="56" y="553"/>
                      <a:pt x="42" y="552"/>
                      <a:pt x="37" y="550"/>
                    </a:cubicBezTo>
                    <a:cubicBezTo>
                      <a:pt x="32" y="548"/>
                      <a:pt x="34" y="544"/>
                      <a:pt x="29" y="542"/>
                    </a:cubicBezTo>
                    <a:cubicBezTo>
                      <a:pt x="24" y="540"/>
                      <a:pt x="8" y="542"/>
                      <a:pt x="4" y="539"/>
                    </a:cubicBezTo>
                    <a:cubicBezTo>
                      <a:pt x="0" y="536"/>
                      <a:pt x="0" y="526"/>
                      <a:pt x="4" y="521"/>
                    </a:cubicBezTo>
                    <a:cubicBezTo>
                      <a:pt x="8" y="516"/>
                      <a:pt x="21" y="514"/>
                      <a:pt x="26" y="509"/>
                    </a:cubicBezTo>
                    <a:cubicBezTo>
                      <a:pt x="31" y="504"/>
                      <a:pt x="32" y="496"/>
                      <a:pt x="37" y="490"/>
                    </a:cubicBezTo>
                    <a:cubicBezTo>
                      <a:pt x="42" y="484"/>
                      <a:pt x="50" y="474"/>
                      <a:pt x="56" y="473"/>
                    </a:cubicBezTo>
                    <a:cubicBezTo>
                      <a:pt x="62" y="472"/>
                      <a:pt x="69" y="482"/>
                      <a:pt x="71" y="481"/>
                    </a:cubicBezTo>
                    <a:cubicBezTo>
                      <a:pt x="73" y="480"/>
                      <a:pt x="67" y="473"/>
                      <a:pt x="68" y="469"/>
                    </a:cubicBezTo>
                    <a:cubicBezTo>
                      <a:pt x="69" y="465"/>
                      <a:pt x="75" y="462"/>
                      <a:pt x="76" y="458"/>
                    </a:cubicBezTo>
                    <a:cubicBezTo>
                      <a:pt x="77" y="454"/>
                      <a:pt x="75" y="447"/>
                      <a:pt x="77" y="443"/>
                    </a:cubicBezTo>
                    <a:cubicBezTo>
                      <a:pt x="79" y="439"/>
                      <a:pt x="83" y="435"/>
                      <a:pt x="88" y="433"/>
                    </a:cubicBezTo>
                    <a:cubicBezTo>
                      <a:pt x="93" y="431"/>
                      <a:pt x="104" y="432"/>
                      <a:pt x="107" y="431"/>
                    </a:cubicBezTo>
                    <a:cubicBezTo>
                      <a:pt x="110" y="430"/>
                      <a:pt x="105" y="428"/>
                      <a:pt x="104" y="425"/>
                    </a:cubicBezTo>
                    <a:cubicBezTo>
                      <a:pt x="103" y="422"/>
                      <a:pt x="100" y="412"/>
                      <a:pt x="101" y="410"/>
                    </a:cubicBezTo>
                    <a:cubicBezTo>
                      <a:pt x="102" y="408"/>
                      <a:pt x="107" y="411"/>
                      <a:pt x="109" y="409"/>
                    </a:cubicBezTo>
                    <a:cubicBezTo>
                      <a:pt x="111" y="407"/>
                      <a:pt x="112" y="403"/>
                      <a:pt x="112" y="400"/>
                    </a:cubicBezTo>
                    <a:cubicBezTo>
                      <a:pt x="112" y="397"/>
                      <a:pt x="111" y="392"/>
                      <a:pt x="112" y="388"/>
                    </a:cubicBezTo>
                    <a:cubicBezTo>
                      <a:pt x="113" y="384"/>
                      <a:pt x="119" y="381"/>
                      <a:pt x="121" y="377"/>
                    </a:cubicBezTo>
                    <a:cubicBezTo>
                      <a:pt x="123" y="373"/>
                      <a:pt x="122" y="365"/>
                      <a:pt x="125" y="361"/>
                    </a:cubicBezTo>
                    <a:cubicBezTo>
                      <a:pt x="128" y="357"/>
                      <a:pt x="136" y="356"/>
                      <a:pt x="140" y="352"/>
                    </a:cubicBezTo>
                    <a:cubicBezTo>
                      <a:pt x="144" y="348"/>
                      <a:pt x="147" y="340"/>
                      <a:pt x="151" y="335"/>
                    </a:cubicBezTo>
                    <a:cubicBezTo>
                      <a:pt x="155" y="330"/>
                      <a:pt x="158" y="326"/>
                      <a:pt x="164" y="323"/>
                    </a:cubicBezTo>
                    <a:cubicBezTo>
                      <a:pt x="170" y="320"/>
                      <a:pt x="180" y="317"/>
                      <a:pt x="185" y="316"/>
                    </a:cubicBezTo>
                    <a:cubicBezTo>
                      <a:pt x="190" y="315"/>
                      <a:pt x="192" y="316"/>
                      <a:pt x="196" y="314"/>
                    </a:cubicBezTo>
                    <a:cubicBezTo>
                      <a:pt x="200" y="312"/>
                      <a:pt x="207" y="307"/>
                      <a:pt x="211" y="305"/>
                    </a:cubicBezTo>
                    <a:cubicBezTo>
                      <a:pt x="215" y="303"/>
                      <a:pt x="219" y="305"/>
                      <a:pt x="223" y="304"/>
                    </a:cubicBezTo>
                    <a:cubicBezTo>
                      <a:pt x="227" y="303"/>
                      <a:pt x="231" y="299"/>
                      <a:pt x="235" y="296"/>
                    </a:cubicBezTo>
                    <a:cubicBezTo>
                      <a:pt x="239" y="293"/>
                      <a:pt x="244" y="287"/>
                      <a:pt x="250" y="284"/>
                    </a:cubicBezTo>
                    <a:cubicBezTo>
                      <a:pt x="256" y="281"/>
                      <a:pt x="266" y="280"/>
                      <a:pt x="271" y="277"/>
                    </a:cubicBezTo>
                    <a:cubicBezTo>
                      <a:pt x="276" y="274"/>
                      <a:pt x="277" y="267"/>
                      <a:pt x="281" y="266"/>
                    </a:cubicBezTo>
                    <a:cubicBezTo>
                      <a:pt x="285" y="265"/>
                      <a:pt x="294" y="271"/>
                      <a:pt x="296" y="268"/>
                    </a:cubicBezTo>
                    <a:cubicBezTo>
                      <a:pt x="298" y="265"/>
                      <a:pt x="293" y="247"/>
                      <a:pt x="296" y="245"/>
                    </a:cubicBezTo>
                    <a:cubicBezTo>
                      <a:pt x="299" y="243"/>
                      <a:pt x="313" y="255"/>
                      <a:pt x="317" y="253"/>
                    </a:cubicBezTo>
                    <a:cubicBezTo>
                      <a:pt x="321" y="251"/>
                      <a:pt x="316" y="237"/>
                      <a:pt x="320" y="232"/>
                    </a:cubicBezTo>
                    <a:cubicBezTo>
                      <a:pt x="324" y="227"/>
                      <a:pt x="335" y="227"/>
                      <a:pt x="340" y="223"/>
                    </a:cubicBezTo>
                    <a:cubicBezTo>
                      <a:pt x="345" y="219"/>
                      <a:pt x="347" y="212"/>
                      <a:pt x="349" y="208"/>
                    </a:cubicBezTo>
                    <a:cubicBezTo>
                      <a:pt x="351" y="204"/>
                      <a:pt x="351" y="203"/>
                      <a:pt x="353" y="200"/>
                    </a:cubicBezTo>
                    <a:cubicBezTo>
                      <a:pt x="357" y="201"/>
                      <a:pt x="362" y="193"/>
                      <a:pt x="364" y="187"/>
                    </a:cubicBezTo>
                    <a:cubicBezTo>
                      <a:pt x="366" y="181"/>
                      <a:pt x="364" y="170"/>
                      <a:pt x="368" y="166"/>
                    </a:cubicBezTo>
                    <a:cubicBezTo>
                      <a:pt x="372" y="162"/>
                      <a:pt x="382" y="164"/>
                      <a:pt x="386" y="161"/>
                    </a:cubicBezTo>
                    <a:cubicBezTo>
                      <a:pt x="390" y="158"/>
                      <a:pt x="389" y="150"/>
                      <a:pt x="392" y="145"/>
                    </a:cubicBezTo>
                    <a:cubicBezTo>
                      <a:pt x="395" y="140"/>
                      <a:pt x="401" y="136"/>
                      <a:pt x="403" y="133"/>
                    </a:cubicBezTo>
                    <a:cubicBezTo>
                      <a:pt x="405" y="130"/>
                      <a:pt x="405" y="129"/>
                      <a:pt x="406" y="125"/>
                    </a:cubicBezTo>
                    <a:cubicBezTo>
                      <a:pt x="407" y="121"/>
                      <a:pt x="405" y="113"/>
                      <a:pt x="407" y="109"/>
                    </a:cubicBezTo>
                    <a:cubicBezTo>
                      <a:pt x="409" y="105"/>
                      <a:pt x="415" y="101"/>
                      <a:pt x="419" y="100"/>
                    </a:cubicBezTo>
                    <a:cubicBezTo>
                      <a:pt x="423" y="99"/>
                      <a:pt x="429" y="101"/>
                      <a:pt x="434" y="104"/>
                    </a:cubicBezTo>
                    <a:cubicBezTo>
                      <a:pt x="439" y="107"/>
                      <a:pt x="445" y="112"/>
                      <a:pt x="448" y="116"/>
                    </a:cubicBezTo>
                    <a:cubicBezTo>
                      <a:pt x="451" y="120"/>
                      <a:pt x="454" y="124"/>
                      <a:pt x="454" y="128"/>
                    </a:cubicBezTo>
                    <a:cubicBezTo>
                      <a:pt x="454" y="132"/>
                      <a:pt x="447" y="135"/>
                      <a:pt x="448" y="140"/>
                    </a:cubicBezTo>
                    <a:cubicBezTo>
                      <a:pt x="449" y="145"/>
                      <a:pt x="456" y="153"/>
                      <a:pt x="460" y="157"/>
                    </a:cubicBezTo>
                    <a:cubicBezTo>
                      <a:pt x="464" y="161"/>
                      <a:pt x="469" y="162"/>
                      <a:pt x="473" y="163"/>
                    </a:cubicBezTo>
                    <a:cubicBezTo>
                      <a:pt x="477" y="164"/>
                      <a:pt x="480" y="164"/>
                      <a:pt x="484" y="16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3"/>
              <p:cNvSpPr>
                <a:spLocks/>
              </p:cNvSpPr>
              <p:nvPr/>
            </p:nvSpPr>
            <p:spPr bwMode="auto">
              <a:xfrm>
                <a:off x="7359153" y="6238764"/>
                <a:ext cx="1855020" cy="2574232"/>
              </a:xfrm>
              <a:custGeom>
                <a:avLst/>
                <a:gdLst/>
                <a:ahLst/>
                <a:cxnLst>
                  <a:cxn ang="0">
                    <a:pos x="138" y="16"/>
                  </a:cxn>
                  <a:cxn ang="0">
                    <a:pos x="180" y="7"/>
                  </a:cxn>
                  <a:cxn ang="0">
                    <a:pos x="260" y="10"/>
                  </a:cxn>
                  <a:cxn ang="0">
                    <a:pos x="291" y="2"/>
                  </a:cxn>
                  <a:cxn ang="0">
                    <a:pos x="293" y="44"/>
                  </a:cxn>
                  <a:cxn ang="0">
                    <a:pos x="303" y="77"/>
                  </a:cxn>
                  <a:cxn ang="0">
                    <a:pos x="312" y="107"/>
                  </a:cxn>
                  <a:cxn ang="0">
                    <a:pos x="333" y="140"/>
                  </a:cxn>
                  <a:cxn ang="0">
                    <a:pos x="348" y="173"/>
                  </a:cxn>
                  <a:cxn ang="0">
                    <a:pos x="357" y="197"/>
                  </a:cxn>
                  <a:cxn ang="0">
                    <a:pos x="357" y="241"/>
                  </a:cxn>
                  <a:cxn ang="0">
                    <a:pos x="348" y="278"/>
                  </a:cxn>
                  <a:cxn ang="0">
                    <a:pos x="342" y="335"/>
                  </a:cxn>
                  <a:cxn ang="0">
                    <a:pos x="378" y="373"/>
                  </a:cxn>
                  <a:cxn ang="0">
                    <a:pos x="392" y="391"/>
                  </a:cxn>
                  <a:cxn ang="0">
                    <a:pos x="462" y="430"/>
                  </a:cxn>
                  <a:cxn ang="0">
                    <a:pos x="455" y="470"/>
                  </a:cxn>
                  <a:cxn ang="0">
                    <a:pos x="435" y="499"/>
                  </a:cxn>
                  <a:cxn ang="0">
                    <a:pos x="404" y="512"/>
                  </a:cxn>
                  <a:cxn ang="0">
                    <a:pos x="371" y="527"/>
                  </a:cxn>
                  <a:cxn ang="0">
                    <a:pos x="332" y="565"/>
                  </a:cxn>
                  <a:cxn ang="0">
                    <a:pos x="306" y="607"/>
                  </a:cxn>
                  <a:cxn ang="0">
                    <a:pos x="290" y="622"/>
                  </a:cxn>
                  <a:cxn ang="0">
                    <a:pos x="285" y="662"/>
                  </a:cxn>
                  <a:cxn ang="0">
                    <a:pos x="264" y="670"/>
                  </a:cxn>
                  <a:cxn ang="0">
                    <a:pos x="233" y="673"/>
                  </a:cxn>
                  <a:cxn ang="0">
                    <a:pos x="212" y="646"/>
                  </a:cxn>
                  <a:cxn ang="0">
                    <a:pos x="207" y="623"/>
                  </a:cxn>
                  <a:cxn ang="0">
                    <a:pos x="189" y="604"/>
                  </a:cxn>
                  <a:cxn ang="0">
                    <a:pos x="165" y="611"/>
                  </a:cxn>
                  <a:cxn ang="0">
                    <a:pos x="132" y="622"/>
                  </a:cxn>
                  <a:cxn ang="0">
                    <a:pos x="102" y="611"/>
                  </a:cxn>
                  <a:cxn ang="0">
                    <a:pos x="77" y="595"/>
                  </a:cxn>
                  <a:cxn ang="0">
                    <a:pos x="75" y="574"/>
                  </a:cxn>
                  <a:cxn ang="0">
                    <a:pos x="71" y="559"/>
                  </a:cxn>
                  <a:cxn ang="0">
                    <a:pos x="68" y="536"/>
                  </a:cxn>
                  <a:cxn ang="0">
                    <a:pos x="39" y="545"/>
                  </a:cxn>
                  <a:cxn ang="0">
                    <a:pos x="18" y="532"/>
                  </a:cxn>
                  <a:cxn ang="0">
                    <a:pos x="14" y="500"/>
                  </a:cxn>
                  <a:cxn ang="0">
                    <a:pos x="8" y="479"/>
                  </a:cxn>
                  <a:cxn ang="0">
                    <a:pos x="24" y="452"/>
                  </a:cxn>
                  <a:cxn ang="0">
                    <a:pos x="45" y="436"/>
                  </a:cxn>
                  <a:cxn ang="0">
                    <a:pos x="74" y="415"/>
                  </a:cxn>
                  <a:cxn ang="0">
                    <a:pos x="93" y="395"/>
                  </a:cxn>
                  <a:cxn ang="0">
                    <a:pos x="134" y="377"/>
                  </a:cxn>
                  <a:cxn ang="0">
                    <a:pos x="158" y="364"/>
                  </a:cxn>
                  <a:cxn ang="0">
                    <a:pos x="191" y="317"/>
                  </a:cxn>
                  <a:cxn ang="0">
                    <a:pos x="188" y="308"/>
                  </a:cxn>
                  <a:cxn ang="0">
                    <a:pos x="177" y="262"/>
                  </a:cxn>
                  <a:cxn ang="0">
                    <a:pos x="161" y="248"/>
                  </a:cxn>
                  <a:cxn ang="0">
                    <a:pos x="143" y="229"/>
                  </a:cxn>
                  <a:cxn ang="0">
                    <a:pos x="138" y="188"/>
                  </a:cxn>
                  <a:cxn ang="0">
                    <a:pos x="144" y="115"/>
                  </a:cxn>
                  <a:cxn ang="0">
                    <a:pos x="129" y="97"/>
                  </a:cxn>
                  <a:cxn ang="0">
                    <a:pos x="115" y="73"/>
                  </a:cxn>
                  <a:cxn ang="0">
                    <a:pos x="119" y="37"/>
                  </a:cxn>
                </a:cxnLst>
                <a:rect l="0" t="0" r="r" b="b"/>
                <a:pathLst>
                  <a:path w="480" h="674">
                    <a:moveTo>
                      <a:pt x="119" y="37"/>
                    </a:moveTo>
                    <a:cubicBezTo>
                      <a:pt x="111" y="35"/>
                      <a:pt x="117" y="20"/>
                      <a:pt x="138" y="16"/>
                    </a:cubicBezTo>
                    <a:cubicBezTo>
                      <a:pt x="145" y="12"/>
                      <a:pt x="155" y="11"/>
                      <a:pt x="162" y="10"/>
                    </a:cubicBezTo>
                    <a:cubicBezTo>
                      <a:pt x="169" y="9"/>
                      <a:pt x="167" y="7"/>
                      <a:pt x="180" y="7"/>
                    </a:cubicBezTo>
                    <a:cubicBezTo>
                      <a:pt x="193" y="7"/>
                      <a:pt x="230" y="11"/>
                      <a:pt x="243" y="11"/>
                    </a:cubicBezTo>
                    <a:cubicBezTo>
                      <a:pt x="256" y="11"/>
                      <a:pt x="255" y="10"/>
                      <a:pt x="260" y="10"/>
                    </a:cubicBezTo>
                    <a:cubicBezTo>
                      <a:pt x="280" y="14"/>
                      <a:pt x="270" y="11"/>
                      <a:pt x="275" y="10"/>
                    </a:cubicBezTo>
                    <a:cubicBezTo>
                      <a:pt x="280" y="9"/>
                      <a:pt x="289" y="0"/>
                      <a:pt x="291" y="2"/>
                    </a:cubicBezTo>
                    <a:cubicBezTo>
                      <a:pt x="293" y="5"/>
                      <a:pt x="294" y="12"/>
                      <a:pt x="290" y="23"/>
                    </a:cubicBezTo>
                    <a:cubicBezTo>
                      <a:pt x="290" y="30"/>
                      <a:pt x="292" y="38"/>
                      <a:pt x="293" y="44"/>
                    </a:cubicBezTo>
                    <a:cubicBezTo>
                      <a:pt x="294" y="50"/>
                      <a:pt x="295" y="57"/>
                      <a:pt x="297" y="62"/>
                    </a:cubicBezTo>
                    <a:cubicBezTo>
                      <a:pt x="299" y="67"/>
                      <a:pt x="301" y="72"/>
                      <a:pt x="303" y="77"/>
                    </a:cubicBezTo>
                    <a:cubicBezTo>
                      <a:pt x="302" y="80"/>
                      <a:pt x="313" y="91"/>
                      <a:pt x="309" y="92"/>
                    </a:cubicBezTo>
                    <a:cubicBezTo>
                      <a:pt x="310" y="97"/>
                      <a:pt x="309" y="102"/>
                      <a:pt x="312" y="107"/>
                    </a:cubicBezTo>
                    <a:cubicBezTo>
                      <a:pt x="316" y="118"/>
                      <a:pt x="322" y="112"/>
                      <a:pt x="327" y="122"/>
                    </a:cubicBezTo>
                    <a:cubicBezTo>
                      <a:pt x="327" y="128"/>
                      <a:pt x="339" y="132"/>
                      <a:pt x="333" y="140"/>
                    </a:cubicBezTo>
                    <a:cubicBezTo>
                      <a:pt x="335" y="146"/>
                      <a:pt x="337" y="153"/>
                      <a:pt x="339" y="158"/>
                    </a:cubicBezTo>
                    <a:cubicBezTo>
                      <a:pt x="341" y="163"/>
                      <a:pt x="346" y="168"/>
                      <a:pt x="348" y="173"/>
                    </a:cubicBezTo>
                    <a:cubicBezTo>
                      <a:pt x="350" y="178"/>
                      <a:pt x="349" y="183"/>
                      <a:pt x="350" y="187"/>
                    </a:cubicBezTo>
                    <a:cubicBezTo>
                      <a:pt x="351" y="191"/>
                      <a:pt x="356" y="191"/>
                      <a:pt x="357" y="197"/>
                    </a:cubicBezTo>
                    <a:cubicBezTo>
                      <a:pt x="358" y="203"/>
                      <a:pt x="356" y="216"/>
                      <a:pt x="356" y="223"/>
                    </a:cubicBezTo>
                    <a:cubicBezTo>
                      <a:pt x="356" y="230"/>
                      <a:pt x="357" y="235"/>
                      <a:pt x="357" y="241"/>
                    </a:cubicBezTo>
                    <a:cubicBezTo>
                      <a:pt x="357" y="247"/>
                      <a:pt x="357" y="256"/>
                      <a:pt x="356" y="262"/>
                    </a:cubicBezTo>
                    <a:cubicBezTo>
                      <a:pt x="355" y="268"/>
                      <a:pt x="350" y="272"/>
                      <a:pt x="348" y="278"/>
                    </a:cubicBezTo>
                    <a:cubicBezTo>
                      <a:pt x="346" y="284"/>
                      <a:pt x="346" y="287"/>
                      <a:pt x="345" y="296"/>
                    </a:cubicBezTo>
                    <a:lnTo>
                      <a:pt x="342" y="335"/>
                    </a:lnTo>
                    <a:cubicBezTo>
                      <a:pt x="343" y="341"/>
                      <a:pt x="375" y="358"/>
                      <a:pt x="375" y="358"/>
                    </a:cubicBezTo>
                    <a:cubicBezTo>
                      <a:pt x="376" y="365"/>
                      <a:pt x="373" y="368"/>
                      <a:pt x="378" y="373"/>
                    </a:cubicBezTo>
                    <a:cubicBezTo>
                      <a:pt x="378" y="375"/>
                      <a:pt x="388" y="380"/>
                      <a:pt x="389" y="382"/>
                    </a:cubicBezTo>
                    <a:cubicBezTo>
                      <a:pt x="390" y="384"/>
                      <a:pt x="391" y="389"/>
                      <a:pt x="392" y="391"/>
                    </a:cubicBezTo>
                    <a:cubicBezTo>
                      <a:pt x="396" y="398"/>
                      <a:pt x="443" y="411"/>
                      <a:pt x="447" y="419"/>
                    </a:cubicBezTo>
                    <a:cubicBezTo>
                      <a:pt x="449" y="430"/>
                      <a:pt x="456" y="421"/>
                      <a:pt x="462" y="430"/>
                    </a:cubicBezTo>
                    <a:cubicBezTo>
                      <a:pt x="465" y="441"/>
                      <a:pt x="467" y="448"/>
                      <a:pt x="477" y="454"/>
                    </a:cubicBezTo>
                    <a:cubicBezTo>
                      <a:pt x="480" y="462"/>
                      <a:pt x="449" y="464"/>
                      <a:pt x="455" y="470"/>
                    </a:cubicBezTo>
                    <a:cubicBezTo>
                      <a:pt x="457" y="476"/>
                      <a:pt x="444" y="478"/>
                      <a:pt x="447" y="484"/>
                    </a:cubicBezTo>
                    <a:cubicBezTo>
                      <a:pt x="439" y="488"/>
                      <a:pt x="449" y="497"/>
                      <a:pt x="435" y="499"/>
                    </a:cubicBezTo>
                    <a:cubicBezTo>
                      <a:pt x="430" y="503"/>
                      <a:pt x="425" y="506"/>
                      <a:pt x="420" y="508"/>
                    </a:cubicBezTo>
                    <a:cubicBezTo>
                      <a:pt x="415" y="510"/>
                      <a:pt x="409" y="509"/>
                      <a:pt x="404" y="512"/>
                    </a:cubicBezTo>
                    <a:cubicBezTo>
                      <a:pt x="399" y="515"/>
                      <a:pt x="397" y="525"/>
                      <a:pt x="392" y="527"/>
                    </a:cubicBezTo>
                    <a:cubicBezTo>
                      <a:pt x="387" y="529"/>
                      <a:pt x="377" y="525"/>
                      <a:pt x="371" y="527"/>
                    </a:cubicBezTo>
                    <a:cubicBezTo>
                      <a:pt x="365" y="529"/>
                      <a:pt x="364" y="533"/>
                      <a:pt x="357" y="539"/>
                    </a:cubicBezTo>
                    <a:cubicBezTo>
                      <a:pt x="355" y="551"/>
                      <a:pt x="345" y="562"/>
                      <a:pt x="332" y="565"/>
                    </a:cubicBezTo>
                    <a:cubicBezTo>
                      <a:pt x="324" y="569"/>
                      <a:pt x="320" y="590"/>
                      <a:pt x="312" y="589"/>
                    </a:cubicBezTo>
                    <a:cubicBezTo>
                      <a:pt x="308" y="596"/>
                      <a:pt x="309" y="604"/>
                      <a:pt x="306" y="607"/>
                    </a:cubicBezTo>
                    <a:cubicBezTo>
                      <a:pt x="303" y="610"/>
                      <a:pt x="296" y="603"/>
                      <a:pt x="293" y="605"/>
                    </a:cubicBezTo>
                    <a:cubicBezTo>
                      <a:pt x="290" y="608"/>
                      <a:pt x="290" y="616"/>
                      <a:pt x="290" y="622"/>
                    </a:cubicBezTo>
                    <a:cubicBezTo>
                      <a:pt x="290" y="628"/>
                      <a:pt x="294" y="636"/>
                      <a:pt x="293" y="643"/>
                    </a:cubicBezTo>
                    <a:cubicBezTo>
                      <a:pt x="292" y="650"/>
                      <a:pt x="288" y="658"/>
                      <a:pt x="285" y="662"/>
                    </a:cubicBezTo>
                    <a:cubicBezTo>
                      <a:pt x="282" y="666"/>
                      <a:pt x="276" y="666"/>
                      <a:pt x="273" y="667"/>
                    </a:cubicBezTo>
                    <a:cubicBezTo>
                      <a:pt x="270" y="668"/>
                      <a:pt x="268" y="670"/>
                      <a:pt x="264" y="670"/>
                    </a:cubicBezTo>
                    <a:cubicBezTo>
                      <a:pt x="260" y="670"/>
                      <a:pt x="253" y="668"/>
                      <a:pt x="248" y="668"/>
                    </a:cubicBezTo>
                    <a:cubicBezTo>
                      <a:pt x="243" y="668"/>
                      <a:pt x="239" y="674"/>
                      <a:pt x="233" y="673"/>
                    </a:cubicBezTo>
                    <a:cubicBezTo>
                      <a:pt x="227" y="672"/>
                      <a:pt x="216" y="666"/>
                      <a:pt x="213" y="662"/>
                    </a:cubicBezTo>
                    <a:cubicBezTo>
                      <a:pt x="210" y="658"/>
                      <a:pt x="214" y="650"/>
                      <a:pt x="212" y="646"/>
                    </a:cubicBezTo>
                    <a:cubicBezTo>
                      <a:pt x="210" y="642"/>
                      <a:pt x="194" y="642"/>
                      <a:pt x="200" y="635"/>
                    </a:cubicBezTo>
                    <a:cubicBezTo>
                      <a:pt x="199" y="631"/>
                      <a:pt x="207" y="626"/>
                      <a:pt x="207" y="623"/>
                    </a:cubicBezTo>
                    <a:cubicBezTo>
                      <a:pt x="207" y="620"/>
                      <a:pt x="200" y="619"/>
                      <a:pt x="197" y="616"/>
                    </a:cubicBezTo>
                    <a:cubicBezTo>
                      <a:pt x="194" y="613"/>
                      <a:pt x="193" y="606"/>
                      <a:pt x="189" y="604"/>
                    </a:cubicBezTo>
                    <a:cubicBezTo>
                      <a:pt x="178" y="602"/>
                      <a:pt x="184" y="609"/>
                      <a:pt x="174" y="605"/>
                    </a:cubicBezTo>
                    <a:cubicBezTo>
                      <a:pt x="176" y="602"/>
                      <a:pt x="165" y="616"/>
                      <a:pt x="165" y="611"/>
                    </a:cubicBezTo>
                    <a:cubicBezTo>
                      <a:pt x="161" y="613"/>
                      <a:pt x="154" y="617"/>
                      <a:pt x="149" y="619"/>
                    </a:cubicBezTo>
                    <a:cubicBezTo>
                      <a:pt x="144" y="621"/>
                      <a:pt x="138" y="622"/>
                      <a:pt x="132" y="622"/>
                    </a:cubicBezTo>
                    <a:cubicBezTo>
                      <a:pt x="126" y="622"/>
                      <a:pt x="119" y="622"/>
                      <a:pt x="114" y="620"/>
                    </a:cubicBezTo>
                    <a:cubicBezTo>
                      <a:pt x="109" y="618"/>
                      <a:pt x="106" y="613"/>
                      <a:pt x="102" y="611"/>
                    </a:cubicBezTo>
                    <a:cubicBezTo>
                      <a:pt x="98" y="609"/>
                      <a:pt x="91" y="608"/>
                      <a:pt x="87" y="605"/>
                    </a:cubicBezTo>
                    <a:cubicBezTo>
                      <a:pt x="83" y="602"/>
                      <a:pt x="78" y="599"/>
                      <a:pt x="77" y="595"/>
                    </a:cubicBezTo>
                    <a:cubicBezTo>
                      <a:pt x="76" y="591"/>
                      <a:pt x="78" y="583"/>
                      <a:pt x="78" y="580"/>
                    </a:cubicBezTo>
                    <a:cubicBezTo>
                      <a:pt x="78" y="577"/>
                      <a:pt x="77" y="576"/>
                      <a:pt x="75" y="574"/>
                    </a:cubicBezTo>
                    <a:cubicBezTo>
                      <a:pt x="68" y="569"/>
                      <a:pt x="75" y="572"/>
                      <a:pt x="68" y="568"/>
                    </a:cubicBezTo>
                    <a:cubicBezTo>
                      <a:pt x="62" y="560"/>
                      <a:pt x="81" y="563"/>
                      <a:pt x="71" y="559"/>
                    </a:cubicBezTo>
                    <a:cubicBezTo>
                      <a:pt x="67" y="554"/>
                      <a:pt x="76" y="552"/>
                      <a:pt x="71" y="550"/>
                    </a:cubicBezTo>
                    <a:cubicBezTo>
                      <a:pt x="66" y="545"/>
                      <a:pt x="74" y="539"/>
                      <a:pt x="68" y="536"/>
                    </a:cubicBezTo>
                    <a:cubicBezTo>
                      <a:pt x="61" y="530"/>
                      <a:pt x="58" y="550"/>
                      <a:pt x="51" y="545"/>
                    </a:cubicBezTo>
                    <a:cubicBezTo>
                      <a:pt x="42" y="554"/>
                      <a:pt x="43" y="546"/>
                      <a:pt x="39" y="545"/>
                    </a:cubicBezTo>
                    <a:cubicBezTo>
                      <a:pt x="35" y="544"/>
                      <a:pt x="30" y="541"/>
                      <a:pt x="27" y="539"/>
                    </a:cubicBezTo>
                    <a:cubicBezTo>
                      <a:pt x="24" y="537"/>
                      <a:pt x="21" y="536"/>
                      <a:pt x="18" y="532"/>
                    </a:cubicBezTo>
                    <a:cubicBezTo>
                      <a:pt x="22" y="525"/>
                      <a:pt x="0" y="515"/>
                      <a:pt x="8" y="514"/>
                    </a:cubicBezTo>
                    <a:cubicBezTo>
                      <a:pt x="4" y="514"/>
                      <a:pt x="14" y="502"/>
                      <a:pt x="14" y="500"/>
                    </a:cubicBezTo>
                    <a:cubicBezTo>
                      <a:pt x="14" y="498"/>
                      <a:pt x="9" y="503"/>
                      <a:pt x="8" y="499"/>
                    </a:cubicBezTo>
                    <a:cubicBezTo>
                      <a:pt x="7" y="495"/>
                      <a:pt x="7" y="485"/>
                      <a:pt x="8" y="479"/>
                    </a:cubicBezTo>
                    <a:cubicBezTo>
                      <a:pt x="9" y="473"/>
                      <a:pt x="9" y="469"/>
                      <a:pt x="12" y="464"/>
                    </a:cubicBezTo>
                    <a:cubicBezTo>
                      <a:pt x="15" y="459"/>
                      <a:pt x="19" y="454"/>
                      <a:pt x="24" y="452"/>
                    </a:cubicBezTo>
                    <a:cubicBezTo>
                      <a:pt x="29" y="450"/>
                      <a:pt x="38" y="454"/>
                      <a:pt x="41" y="451"/>
                    </a:cubicBezTo>
                    <a:cubicBezTo>
                      <a:pt x="44" y="448"/>
                      <a:pt x="42" y="440"/>
                      <a:pt x="45" y="436"/>
                    </a:cubicBezTo>
                    <a:cubicBezTo>
                      <a:pt x="48" y="432"/>
                      <a:pt x="55" y="427"/>
                      <a:pt x="60" y="424"/>
                    </a:cubicBezTo>
                    <a:cubicBezTo>
                      <a:pt x="65" y="421"/>
                      <a:pt x="71" y="419"/>
                      <a:pt x="74" y="415"/>
                    </a:cubicBezTo>
                    <a:cubicBezTo>
                      <a:pt x="79" y="411"/>
                      <a:pt x="75" y="401"/>
                      <a:pt x="81" y="400"/>
                    </a:cubicBezTo>
                    <a:cubicBezTo>
                      <a:pt x="94" y="394"/>
                      <a:pt x="82" y="403"/>
                      <a:pt x="93" y="395"/>
                    </a:cubicBezTo>
                    <a:cubicBezTo>
                      <a:pt x="95" y="390"/>
                      <a:pt x="108" y="386"/>
                      <a:pt x="111" y="382"/>
                    </a:cubicBezTo>
                    <a:cubicBezTo>
                      <a:pt x="113" y="374"/>
                      <a:pt x="128" y="382"/>
                      <a:pt x="134" y="377"/>
                    </a:cubicBezTo>
                    <a:cubicBezTo>
                      <a:pt x="140" y="376"/>
                      <a:pt x="142" y="376"/>
                      <a:pt x="146" y="374"/>
                    </a:cubicBezTo>
                    <a:cubicBezTo>
                      <a:pt x="150" y="372"/>
                      <a:pt x="152" y="371"/>
                      <a:pt x="158" y="364"/>
                    </a:cubicBezTo>
                    <a:cubicBezTo>
                      <a:pt x="157" y="358"/>
                      <a:pt x="179" y="337"/>
                      <a:pt x="185" y="329"/>
                    </a:cubicBezTo>
                    <a:cubicBezTo>
                      <a:pt x="190" y="321"/>
                      <a:pt x="191" y="322"/>
                      <a:pt x="191" y="317"/>
                    </a:cubicBezTo>
                    <a:cubicBezTo>
                      <a:pt x="191" y="312"/>
                      <a:pt x="188" y="297"/>
                      <a:pt x="188" y="296"/>
                    </a:cubicBezTo>
                    <a:cubicBezTo>
                      <a:pt x="188" y="294"/>
                      <a:pt x="188" y="313"/>
                      <a:pt x="188" y="308"/>
                    </a:cubicBezTo>
                    <a:cubicBezTo>
                      <a:pt x="187" y="303"/>
                      <a:pt x="186" y="276"/>
                      <a:pt x="184" y="268"/>
                    </a:cubicBezTo>
                    <a:cubicBezTo>
                      <a:pt x="182" y="260"/>
                      <a:pt x="180" y="263"/>
                      <a:pt x="177" y="262"/>
                    </a:cubicBezTo>
                    <a:cubicBezTo>
                      <a:pt x="174" y="261"/>
                      <a:pt x="171" y="261"/>
                      <a:pt x="168" y="259"/>
                    </a:cubicBezTo>
                    <a:cubicBezTo>
                      <a:pt x="165" y="257"/>
                      <a:pt x="163" y="252"/>
                      <a:pt x="161" y="248"/>
                    </a:cubicBezTo>
                    <a:cubicBezTo>
                      <a:pt x="158" y="240"/>
                      <a:pt x="161" y="240"/>
                      <a:pt x="156" y="232"/>
                    </a:cubicBezTo>
                    <a:cubicBezTo>
                      <a:pt x="153" y="228"/>
                      <a:pt x="147" y="231"/>
                      <a:pt x="143" y="229"/>
                    </a:cubicBezTo>
                    <a:cubicBezTo>
                      <a:pt x="139" y="227"/>
                      <a:pt x="135" y="225"/>
                      <a:pt x="134" y="218"/>
                    </a:cubicBezTo>
                    <a:cubicBezTo>
                      <a:pt x="135" y="204"/>
                      <a:pt x="136" y="202"/>
                      <a:pt x="138" y="188"/>
                    </a:cubicBezTo>
                    <a:cubicBezTo>
                      <a:pt x="136" y="180"/>
                      <a:pt x="148" y="193"/>
                      <a:pt x="149" y="181"/>
                    </a:cubicBezTo>
                    <a:cubicBezTo>
                      <a:pt x="150" y="169"/>
                      <a:pt x="146" y="127"/>
                      <a:pt x="144" y="115"/>
                    </a:cubicBezTo>
                    <a:cubicBezTo>
                      <a:pt x="142" y="103"/>
                      <a:pt x="140" y="109"/>
                      <a:pt x="137" y="106"/>
                    </a:cubicBezTo>
                    <a:cubicBezTo>
                      <a:pt x="134" y="103"/>
                      <a:pt x="132" y="100"/>
                      <a:pt x="129" y="97"/>
                    </a:cubicBezTo>
                    <a:cubicBezTo>
                      <a:pt x="126" y="94"/>
                      <a:pt x="122" y="92"/>
                      <a:pt x="120" y="88"/>
                    </a:cubicBezTo>
                    <a:cubicBezTo>
                      <a:pt x="118" y="84"/>
                      <a:pt x="115" y="77"/>
                      <a:pt x="115" y="73"/>
                    </a:cubicBezTo>
                    <a:cubicBezTo>
                      <a:pt x="110" y="63"/>
                      <a:pt x="126" y="68"/>
                      <a:pt x="119" y="61"/>
                    </a:cubicBezTo>
                    <a:lnTo>
                      <a:pt x="119" y="3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4"/>
              <p:cNvSpPr>
                <a:spLocks/>
              </p:cNvSpPr>
              <p:nvPr/>
            </p:nvSpPr>
            <p:spPr bwMode="auto">
              <a:xfrm>
                <a:off x="5150928" y="5309816"/>
                <a:ext cx="2970258" cy="2652735"/>
              </a:xfrm>
              <a:custGeom>
                <a:avLst/>
                <a:gdLst/>
                <a:ahLst/>
                <a:cxnLst>
                  <a:cxn ang="0">
                    <a:pos x="123" y="107"/>
                  </a:cxn>
                  <a:cxn ang="0">
                    <a:pos x="229" y="11"/>
                  </a:cxn>
                  <a:cxn ang="0">
                    <a:pos x="294" y="55"/>
                  </a:cxn>
                  <a:cxn ang="0">
                    <a:pos x="336" y="89"/>
                  </a:cxn>
                  <a:cxn ang="0">
                    <a:pos x="391" y="145"/>
                  </a:cxn>
                  <a:cxn ang="0">
                    <a:pos x="468" y="175"/>
                  </a:cxn>
                  <a:cxn ang="0">
                    <a:pos x="549" y="214"/>
                  </a:cxn>
                  <a:cxn ang="0">
                    <a:pos x="616" y="238"/>
                  </a:cxn>
                  <a:cxn ang="0">
                    <a:pos x="702" y="251"/>
                  </a:cxn>
                  <a:cxn ang="0">
                    <a:pos x="697" y="311"/>
                  </a:cxn>
                  <a:cxn ang="0">
                    <a:pos x="726" y="398"/>
                  </a:cxn>
                  <a:cxn ang="0">
                    <a:pos x="714" y="461"/>
                  </a:cxn>
                  <a:cxn ang="0">
                    <a:pos x="765" y="509"/>
                  </a:cxn>
                  <a:cxn ang="0">
                    <a:pos x="760" y="575"/>
                  </a:cxn>
                  <a:cxn ang="0">
                    <a:pos x="684" y="622"/>
                  </a:cxn>
                  <a:cxn ang="0">
                    <a:pos x="652" y="653"/>
                  </a:cxn>
                  <a:cxn ang="0">
                    <a:pos x="618" y="685"/>
                  </a:cxn>
                  <a:cxn ang="0">
                    <a:pos x="589" y="677"/>
                  </a:cxn>
                  <a:cxn ang="0">
                    <a:pos x="582" y="638"/>
                  </a:cxn>
                  <a:cxn ang="0">
                    <a:pos x="558" y="608"/>
                  </a:cxn>
                  <a:cxn ang="0">
                    <a:pos x="525" y="569"/>
                  </a:cxn>
                  <a:cxn ang="0">
                    <a:pos x="499" y="538"/>
                  </a:cxn>
                  <a:cxn ang="0">
                    <a:pos x="469" y="557"/>
                  </a:cxn>
                  <a:cxn ang="0">
                    <a:pos x="417" y="548"/>
                  </a:cxn>
                  <a:cxn ang="0">
                    <a:pos x="372" y="544"/>
                  </a:cxn>
                  <a:cxn ang="0">
                    <a:pos x="328" y="550"/>
                  </a:cxn>
                  <a:cxn ang="0">
                    <a:pos x="277" y="560"/>
                  </a:cxn>
                  <a:cxn ang="0">
                    <a:pos x="219" y="533"/>
                  </a:cxn>
                  <a:cxn ang="0">
                    <a:pos x="193" y="499"/>
                  </a:cxn>
                  <a:cxn ang="0">
                    <a:pos x="162" y="467"/>
                  </a:cxn>
                  <a:cxn ang="0">
                    <a:pos x="130" y="427"/>
                  </a:cxn>
                  <a:cxn ang="0">
                    <a:pos x="147" y="388"/>
                  </a:cxn>
                  <a:cxn ang="0">
                    <a:pos x="174" y="341"/>
                  </a:cxn>
                  <a:cxn ang="0">
                    <a:pos x="162" y="313"/>
                  </a:cxn>
                  <a:cxn ang="0">
                    <a:pos x="115" y="305"/>
                  </a:cxn>
                  <a:cxn ang="0">
                    <a:pos x="120" y="280"/>
                  </a:cxn>
                  <a:cxn ang="0">
                    <a:pos x="156" y="259"/>
                  </a:cxn>
                  <a:cxn ang="0">
                    <a:pos x="138" y="245"/>
                  </a:cxn>
                  <a:cxn ang="0">
                    <a:pos x="114" y="235"/>
                  </a:cxn>
                  <a:cxn ang="0">
                    <a:pos x="76" y="230"/>
                  </a:cxn>
                  <a:cxn ang="0">
                    <a:pos x="70" y="203"/>
                  </a:cxn>
                  <a:cxn ang="0">
                    <a:pos x="45" y="212"/>
                  </a:cxn>
                  <a:cxn ang="0">
                    <a:pos x="54" y="254"/>
                  </a:cxn>
                  <a:cxn ang="0">
                    <a:pos x="25" y="245"/>
                  </a:cxn>
                  <a:cxn ang="0">
                    <a:pos x="4" y="220"/>
                  </a:cxn>
                  <a:cxn ang="0">
                    <a:pos x="40" y="175"/>
                  </a:cxn>
                  <a:cxn ang="0">
                    <a:pos x="85" y="136"/>
                  </a:cxn>
                </a:cxnLst>
                <a:rect l="0" t="0" r="r" b="b"/>
                <a:pathLst>
                  <a:path w="768" h="695">
                    <a:moveTo>
                      <a:pt x="85" y="136"/>
                    </a:moveTo>
                    <a:cubicBezTo>
                      <a:pt x="90" y="134"/>
                      <a:pt x="99" y="132"/>
                      <a:pt x="105" y="127"/>
                    </a:cubicBezTo>
                    <a:cubicBezTo>
                      <a:pt x="111" y="122"/>
                      <a:pt x="117" y="111"/>
                      <a:pt x="123" y="107"/>
                    </a:cubicBezTo>
                    <a:cubicBezTo>
                      <a:pt x="132" y="101"/>
                      <a:pt x="133" y="106"/>
                      <a:pt x="139" y="103"/>
                    </a:cubicBezTo>
                    <a:cubicBezTo>
                      <a:pt x="145" y="100"/>
                      <a:pt x="144" y="103"/>
                      <a:pt x="159" y="88"/>
                    </a:cubicBezTo>
                    <a:cubicBezTo>
                      <a:pt x="173" y="82"/>
                      <a:pt x="212" y="13"/>
                      <a:pt x="229" y="11"/>
                    </a:cubicBezTo>
                    <a:cubicBezTo>
                      <a:pt x="243" y="0"/>
                      <a:pt x="244" y="2"/>
                      <a:pt x="250" y="13"/>
                    </a:cubicBezTo>
                    <a:cubicBezTo>
                      <a:pt x="258" y="18"/>
                      <a:pt x="273" y="34"/>
                      <a:pt x="280" y="41"/>
                    </a:cubicBezTo>
                    <a:cubicBezTo>
                      <a:pt x="287" y="48"/>
                      <a:pt x="291" y="50"/>
                      <a:pt x="294" y="55"/>
                    </a:cubicBezTo>
                    <a:cubicBezTo>
                      <a:pt x="297" y="60"/>
                      <a:pt x="295" y="68"/>
                      <a:pt x="298" y="73"/>
                    </a:cubicBezTo>
                    <a:cubicBezTo>
                      <a:pt x="312" y="78"/>
                      <a:pt x="300" y="85"/>
                      <a:pt x="315" y="86"/>
                    </a:cubicBezTo>
                    <a:cubicBezTo>
                      <a:pt x="339" y="91"/>
                      <a:pt x="311" y="86"/>
                      <a:pt x="336" y="89"/>
                    </a:cubicBezTo>
                    <a:cubicBezTo>
                      <a:pt x="342" y="90"/>
                      <a:pt x="334" y="121"/>
                      <a:pt x="334" y="121"/>
                    </a:cubicBezTo>
                    <a:cubicBezTo>
                      <a:pt x="335" y="134"/>
                      <a:pt x="362" y="130"/>
                      <a:pt x="364" y="139"/>
                    </a:cubicBezTo>
                    <a:cubicBezTo>
                      <a:pt x="373" y="143"/>
                      <a:pt x="383" y="142"/>
                      <a:pt x="391" y="145"/>
                    </a:cubicBezTo>
                    <a:cubicBezTo>
                      <a:pt x="392" y="152"/>
                      <a:pt x="413" y="151"/>
                      <a:pt x="415" y="158"/>
                    </a:cubicBezTo>
                    <a:cubicBezTo>
                      <a:pt x="426" y="160"/>
                      <a:pt x="429" y="164"/>
                      <a:pt x="439" y="172"/>
                    </a:cubicBezTo>
                    <a:cubicBezTo>
                      <a:pt x="457" y="176"/>
                      <a:pt x="445" y="172"/>
                      <a:pt x="468" y="175"/>
                    </a:cubicBezTo>
                    <a:cubicBezTo>
                      <a:pt x="475" y="180"/>
                      <a:pt x="477" y="170"/>
                      <a:pt x="489" y="182"/>
                    </a:cubicBezTo>
                    <a:cubicBezTo>
                      <a:pt x="497" y="184"/>
                      <a:pt x="507" y="182"/>
                      <a:pt x="517" y="187"/>
                    </a:cubicBezTo>
                    <a:cubicBezTo>
                      <a:pt x="528" y="196"/>
                      <a:pt x="538" y="200"/>
                      <a:pt x="549" y="214"/>
                    </a:cubicBezTo>
                    <a:cubicBezTo>
                      <a:pt x="559" y="221"/>
                      <a:pt x="568" y="224"/>
                      <a:pt x="576" y="227"/>
                    </a:cubicBezTo>
                    <a:cubicBezTo>
                      <a:pt x="584" y="230"/>
                      <a:pt x="588" y="231"/>
                      <a:pt x="595" y="233"/>
                    </a:cubicBezTo>
                    <a:cubicBezTo>
                      <a:pt x="601" y="238"/>
                      <a:pt x="610" y="228"/>
                      <a:pt x="616" y="238"/>
                    </a:cubicBezTo>
                    <a:cubicBezTo>
                      <a:pt x="623" y="240"/>
                      <a:pt x="630" y="246"/>
                      <a:pt x="639" y="247"/>
                    </a:cubicBezTo>
                    <a:cubicBezTo>
                      <a:pt x="648" y="248"/>
                      <a:pt x="663" y="246"/>
                      <a:pt x="673" y="247"/>
                    </a:cubicBezTo>
                    <a:cubicBezTo>
                      <a:pt x="683" y="248"/>
                      <a:pt x="698" y="247"/>
                      <a:pt x="702" y="251"/>
                    </a:cubicBezTo>
                    <a:cubicBezTo>
                      <a:pt x="706" y="255"/>
                      <a:pt x="698" y="264"/>
                      <a:pt x="697" y="272"/>
                    </a:cubicBezTo>
                    <a:cubicBezTo>
                      <a:pt x="696" y="280"/>
                      <a:pt x="696" y="292"/>
                      <a:pt x="696" y="298"/>
                    </a:cubicBezTo>
                    <a:cubicBezTo>
                      <a:pt x="701" y="302"/>
                      <a:pt x="691" y="308"/>
                      <a:pt x="697" y="311"/>
                    </a:cubicBezTo>
                    <a:cubicBezTo>
                      <a:pt x="702" y="318"/>
                      <a:pt x="692" y="325"/>
                      <a:pt x="699" y="331"/>
                    </a:cubicBezTo>
                    <a:cubicBezTo>
                      <a:pt x="697" y="321"/>
                      <a:pt x="717" y="349"/>
                      <a:pt x="723" y="352"/>
                    </a:cubicBezTo>
                    <a:cubicBezTo>
                      <a:pt x="727" y="362"/>
                      <a:pt x="726" y="387"/>
                      <a:pt x="726" y="398"/>
                    </a:cubicBezTo>
                    <a:cubicBezTo>
                      <a:pt x="726" y="409"/>
                      <a:pt x="725" y="417"/>
                      <a:pt x="724" y="421"/>
                    </a:cubicBezTo>
                    <a:cubicBezTo>
                      <a:pt x="723" y="425"/>
                      <a:pt x="719" y="418"/>
                      <a:pt x="717" y="425"/>
                    </a:cubicBezTo>
                    <a:cubicBezTo>
                      <a:pt x="716" y="444"/>
                      <a:pt x="714" y="451"/>
                      <a:pt x="714" y="461"/>
                    </a:cubicBezTo>
                    <a:cubicBezTo>
                      <a:pt x="717" y="468"/>
                      <a:pt x="728" y="464"/>
                      <a:pt x="732" y="469"/>
                    </a:cubicBezTo>
                    <a:cubicBezTo>
                      <a:pt x="736" y="474"/>
                      <a:pt x="734" y="483"/>
                      <a:pt x="739" y="490"/>
                    </a:cubicBezTo>
                    <a:cubicBezTo>
                      <a:pt x="744" y="497"/>
                      <a:pt x="760" y="498"/>
                      <a:pt x="765" y="509"/>
                    </a:cubicBezTo>
                    <a:cubicBezTo>
                      <a:pt x="767" y="518"/>
                      <a:pt x="763" y="545"/>
                      <a:pt x="768" y="553"/>
                    </a:cubicBezTo>
                    <a:cubicBezTo>
                      <a:pt x="767" y="562"/>
                      <a:pt x="763" y="561"/>
                      <a:pt x="762" y="565"/>
                    </a:cubicBezTo>
                    <a:cubicBezTo>
                      <a:pt x="761" y="569"/>
                      <a:pt x="766" y="568"/>
                      <a:pt x="760" y="575"/>
                    </a:cubicBezTo>
                    <a:cubicBezTo>
                      <a:pt x="754" y="582"/>
                      <a:pt x="737" y="601"/>
                      <a:pt x="727" y="608"/>
                    </a:cubicBezTo>
                    <a:cubicBezTo>
                      <a:pt x="717" y="615"/>
                      <a:pt x="707" y="617"/>
                      <a:pt x="700" y="619"/>
                    </a:cubicBezTo>
                    <a:cubicBezTo>
                      <a:pt x="693" y="621"/>
                      <a:pt x="691" y="619"/>
                      <a:pt x="684" y="622"/>
                    </a:cubicBezTo>
                    <a:cubicBezTo>
                      <a:pt x="679" y="630"/>
                      <a:pt x="668" y="633"/>
                      <a:pt x="660" y="638"/>
                    </a:cubicBezTo>
                    <a:cubicBezTo>
                      <a:pt x="656" y="639"/>
                      <a:pt x="659" y="639"/>
                      <a:pt x="657" y="641"/>
                    </a:cubicBezTo>
                    <a:cubicBezTo>
                      <a:pt x="656" y="643"/>
                      <a:pt x="655" y="649"/>
                      <a:pt x="652" y="653"/>
                    </a:cubicBezTo>
                    <a:cubicBezTo>
                      <a:pt x="645" y="665"/>
                      <a:pt x="648" y="654"/>
                      <a:pt x="637" y="665"/>
                    </a:cubicBezTo>
                    <a:cubicBezTo>
                      <a:pt x="635" y="668"/>
                      <a:pt x="628" y="671"/>
                      <a:pt x="624" y="673"/>
                    </a:cubicBezTo>
                    <a:cubicBezTo>
                      <a:pt x="621" y="676"/>
                      <a:pt x="622" y="682"/>
                      <a:pt x="618" y="685"/>
                    </a:cubicBezTo>
                    <a:cubicBezTo>
                      <a:pt x="614" y="688"/>
                      <a:pt x="605" y="693"/>
                      <a:pt x="601" y="694"/>
                    </a:cubicBezTo>
                    <a:cubicBezTo>
                      <a:pt x="596" y="695"/>
                      <a:pt x="587" y="695"/>
                      <a:pt x="585" y="692"/>
                    </a:cubicBezTo>
                    <a:cubicBezTo>
                      <a:pt x="583" y="689"/>
                      <a:pt x="588" y="682"/>
                      <a:pt x="589" y="677"/>
                    </a:cubicBezTo>
                    <a:cubicBezTo>
                      <a:pt x="590" y="672"/>
                      <a:pt x="590" y="668"/>
                      <a:pt x="589" y="664"/>
                    </a:cubicBezTo>
                    <a:cubicBezTo>
                      <a:pt x="575" y="665"/>
                      <a:pt x="581" y="657"/>
                      <a:pt x="580" y="653"/>
                    </a:cubicBezTo>
                    <a:cubicBezTo>
                      <a:pt x="579" y="649"/>
                      <a:pt x="582" y="644"/>
                      <a:pt x="582" y="638"/>
                    </a:cubicBezTo>
                    <a:cubicBezTo>
                      <a:pt x="582" y="632"/>
                      <a:pt x="582" y="624"/>
                      <a:pt x="580" y="619"/>
                    </a:cubicBezTo>
                    <a:cubicBezTo>
                      <a:pt x="578" y="614"/>
                      <a:pt x="571" y="612"/>
                      <a:pt x="568" y="610"/>
                    </a:cubicBezTo>
                    <a:cubicBezTo>
                      <a:pt x="565" y="608"/>
                      <a:pt x="561" y="610"/>
                      <a:pt x="558" y="608"/>
                    </a:cubicBezTo>
                    <a:cubicBezTo>
                      <a:pt x="555" y="606"/>
                      <a:pt x="556" y="602"/>
                      <a:pt x="553" y="598"/>
                    </a:cubicBezTo>
                    <a:cubicBezTo>
                      <a:pt x="550" y="594"/>
                      <a:pt x="545" y="586"/>
                      <a:pt x="540" y="581"/>
                    </a:cubicBezTo>
                    <a:cubicBezTo>
                      <a:pt x="535" y="576"/>
                      <a:pt x="529" y="573"/>
                      <a:pt x="525" y="569"/>
                    </a:cubicBezTo>
                    <a:cubicBezTo>
                      <a:pt x="521" y="565"/>
                      <a:pt x="516" y="559"/>
                      <a:pt x="513" y="554"/>
                    </a:cubicBezTo>
                    <a:cubicBezTo>
                      <a:pt x="510" y="549"/>
                      <a:pt x="510" y="539"/>
                      <a:pt x="508" y="536"/>
                    </a:cubicBezTo>
                    <a:cubicBezTo>
                      <a:pt x="500" y="510"/>
                      <a:pt x="503" y="538"/>
                      <a:pt x="499" y="538"/>
                    </a:cubicBezTo>
                    <a:cubicBezTo>
                      <a:pt x="496" y="539"/>
                      <a:pt x="492" y="541"/>
                      <a:pt x="489" y="542"/>
                    </a:cubicBezTo>
                    <a:cubicBezTo>
                      <a:pt x="486" y="543"/>
                      <a:pt x="484" y="542"/>
                      <a:pt x="481" y="544"/>
                    </a:cubicBezTo>
                    <a:cubicBezTo>
                      <a:pt x="478" y="546"/>
                      <a:pt x="473" y="555"/>
                      <a:pt x="469" y="557"/>
                    </a:cubicBezTo>
                    <a:cubicBezTo>
                      <a:pt x="465" y="559"/>
                      <a:pt x="460" y="557"/>
                      <a:pt x="453" y="557"/>
                    </a:cubicBezTo>
                    <a:cubicBezTo>
                      <a:pt x="446" y="557"/>
                      <a:pt x="432" y="560"/>
                      <a:pt x="426" y="559"/>
                    </a:cubicBezTo>
                    <a:cubicBezTo>
                      <a:pt x="411" y="555"/>
                      <a:pt x="421" y="551"/>
                      <a:pt x="417" y="548"/>
                    </a:cubicBezTo>
                    <a:cubicBezTo>
                      <a:pt x="413" y="545"/>
                      <a:pt x="408" y="539"/>
                      <a:pt x="403" y="538"/>
                    </a:cubicBezTo>
                    <a:cubicBezTo>
                      <a:pt x="398" y="537"/>
                      <a:pt x="392" y="540"/>
                      <a:pt x="387" y="541"/>
                    </a:cubicBezTo>
                    <a:cubicBezTo>
                      <a:pt x="382" y="542"/>
                      <a:pt x="376" y="544"/>
                      <a:pt x="372" y="544"/>
                    </a:cubicBezTo>
                    <a:cubicBezTo>
                      <a:pt x="368" y="544"/>
                      <a:pt x="364" y="543"/>
                      <a:pt x="360" y="544"/>
                    </a:cubicBezTo>
                    <a:cubicBezTo>
                      <a:pt x="356" y="545"/>
                      <a:pt x="351" y="552"/>
                      <a:pt x="346" y="553"/>
                    </a:cubicBezTo>
                    <a:cubicBezTo>
                      <a:pt x="341" y="554"/>
                      <a:pt x="334" y="550"/>
                      <a:pt x="328" y="550"/>
                    </a:cubicBezTo>
                    <a:cubicBezTo>
                      <a:pt x="317" y="551"/>
                      <a:pt x="316" y="555"/>
                      <a:pt x="310" y="554"/>
                    </a:cubicBezTo>
                    <a:cubicBezTo>
                      <a:pt x="304" y="554"/>
                      <a:pt x="299" y="550"/>
                      <a:pt x="294" y="551"/>
                    </a:cubicBezTo>
                    <a:cubicBezTo>
                      <a:pt x="289" y="552"/>
                      <a:pt x="284" y="559"/>
                      <a:pt x="277" y="560"/>
                    </a:cubicBezTo>
                    <a:cubicBezTo>
                      <a:pt x="270" y="561"/>
                      <a:pt x="260" y="561"/>
                      <a:pt x="253" y="559"/>
                    </a:cubicBezTo>
                    <a:cubicBezTo>
                      <a:pt x="246" y="557"/>
                      <a:pt x="243" y="552"/>
                      <a:pt x="237" y="548"/>
                    </a:cubicBezTo>
                    <a:cubicBezTo>
                      <a:pt x="221" y="547"/>
                      <a:pt x="224" y="537"/>
                      <a:pt x="219" y="533"/>
                    </a:cubicBezTo>
                    <a:cubicBezTo>
                      <a:pt x="214" y="529"/>
                      <a:pt x="208" y="525"/>
                      <a:pt x="205" y="521"/>
                    </a:cubicBezTo>
                    <a:cubicBezTo>
                      <a:pt x="202" y="517"/>
                      <a:pt x="201" y="515"/>
                      <a:pt x="199" y="511"/>
                    </a:cubicBezTo>
                    <a:cubicBezTo>
                      <a:pt x="194" y="507"/>
                      <a:pt x="196" y="502"/>
                      <a:pt x="193" y="499"/>
                    </a:cubicBezTo>
                    <a:cubicBezTo>
                      <a:pt x="190" y="496"/>
                      <a:pt x="186" y="498"/>
                      <a:pt x="181" y="496"/>
                    </a:cubicBezTo>
                    <a:cubicBezTo>
                      <a:pt x="176" y="494"/>
                      <a:pt x="168" y="489"/>
                      <a:pt x="165" y="484"/>
                    </a:cubicBezTo>
                    <a:cubicBezTo>
                      <a:pt x="162" y="479"/>
                      <a:pt x="164" y="472"/>
                      <a:pt x="162" y="467"/>
                    </a:cubicBezTo>
                    <a:cubicBezTo>
                      <a:pt x="160" y="462"/>
                      <a:pt x="157" y="456"/>
                      <a:pt x="153" y="451"/>
                    </a:cubicBezTo>
                    <a:cubicBezTo>
                      <a:pt x="149" y="446"/>
                      <a:pt x="140" y="443"/>
                      <a:pt x="136" y="439"/>
                    </a:cubicBezTo>
                    <a:cubicBezTo>
                      <a:pt x="132" y="435"/>
                      <a:pt x="129" y="430"/>
                      <a:pt x="130" y="427"/>
                    </a:cubicBezTo>
                    <a:cubicBezTo>
                      <a:pt x="131" y="424"/>
                      <a:pt x="141" y="422"/>
                      <a:pt x="144" y="418"/>
                    </a:cubicBezTo>
                    <a:cubicBezTo>
                      <a:pt x="147" y="414"/>
                      <a:pt x="147" y="409"/>
                      <a:pt x="147" y="404"/>
                    </a:cubicBezTo>
                    <a:cubicBezTo>
                      <a:pt x="147" y="399"/>
                      <a:pt x="145" y="392"/>
                      <a:pt x="147" y="388"/>
                    </a:cubicBezTo>
                    <a:cubicBezTo>
                      <a:pt x="144" y="373"/>
                      <a:pt x="155" y="379"/>
                      <a:pt x="160" y="376"/>
                    </a:cubicBezTo>
                    <a:cubicBezTo>
                      <a:pt x="165" y="373"/>
                      <a:pt x="175" y="374"/>
                      <a:pt x="177" y="368"/>
                    </a:cubicBezTo>
                    <a:cubicBezTo>
                      <a:pt x="171" y="358"/>
                      <a:pt x="174" y="341"/>
                      <a:pt x="174" y="341"/>
                    </a:cubicBezTo>
                    <a:cubicBezTo>
                      <a:pt x="178" y="333"/>
                      <a:pt x="165" y="334"/>
                      <a:pt x="163" y="331"/>
                    </a:cubicBezTo>
                    <a:cubicBezTo>
                      <a:pt x="161" y="328"/>
                      <a:pt x="163" y="323"/>
                      <a:pt x="163" y="320"/>
                    </a:cubicBezTo>
                    <a:cubicBezTo>
                      <a:pt x="163" y="317"/>
                      <a:pt x="164" y="315"/>
                      <a:pt x="162" y="313"/>
                    </a:cubicBezTo>
                    <a:cubicBezTo>
                      <a:pt x="160" y="311"/>
                      <a:pt x="158" y="305"/>
                      <a:pt x="153" y="304"/>
                    </a:cubicBezTo>
                    <a:cubicBezTo>
                      <a:pt x="148" y="303"/>
                      <a:pt x="138" y="304"/>
                      <a:pt x="132" y="304"/>
                    </a:cubicBezTo>
                    <a:cubicBezTo>
                      <a:pt x="126" y="304"/>
                      <a:pt x="120" y="306"/>
                      <a:pt x="115" y="305"/>
                    </a:cubicBezTo>
                    <a:cubicBezTo>
                      <a:pt x="110" y="304"/>
                      <a:pt x="101" y="302"/>
                      <a:pt x="99" y="299"/>
                    </a:cubicBezTo>
                    <a:cubicBezTo>
                      <a:pt x="97" y="296"/>
                      <a:pt x="97" y="287"/>
                      <a:pt x="100" y="284"/>
                    </a:cubicBezTo>
                    <a:cubicBezTo>
                      <a:pt x="103" y="281"/>
                      <a:pt x="115" y="283"/>
                      <a:pt x="120" y="280"/>
                    </a:cubicBezTo>
                    <a:cubicBezTo>
                      <a:pt x="125" y="277"/>
                      <a:pt x="126" y="270"/>
                      <a:pt x="130" y="268"/>
                    </a:cubicBezTo>
                    <a:cubicBezTo>
                      <a:pt x="134" y="266"/>
                      <a:pt x="143" y="267"/>
                      <a:pt x="147" y="266"/>
                    </a:cubicBezTo>
                    <a:cubicBezTo>
                      <a:pt x="151" y="265"/>
                      <a:pt x="154" y="262"/>
                      <a:pt x="156" y="259"/>
                    </a:cubicBezTo>
                    <a:cubicBezTo>
                      <a:pt x="152" y="240"/>
                      <a:pt x="158" y="250"/>
                      <a:pt x="157" y="248"/>
                    </a:cubicBezTo>
                    <a:cubicBezTo>
                      <a:pt x="156" y="246"/>
                      <a:pt x="150" y="247"/>
                      <a:pt x="147" y="247"/>
                    </a:cubicBezTo>
                    <a:cubicBezTo>
                      <a:pt x="144" y="247"/>
                      <a:pt x="141" y="245"/>
                      <a:pt x="138" y="245"/>
                    </a:cubicBezTo>
                    <a:cubicBezTo>
                      <a:pt x="135" y="245"/>
                      <a:pt x="131" y="249"/>
                      <a:pt x="129" y="247"/>
                    </a:cubicBezTo>
                    <a:cubicBezTo>
                      <a:pt x="127" y="245"/>
                      <a:pt x="129" y="235"/>
                      <a:pt x="126" y="233"/>
                    </a:cubicBezTo>
                    <a:cubicBezTo>
                      <a:pt x="123" y="231"/>
                      <a:pt x="118" y="235"/>
                      <a:pt x="114" y="235"/>
                    </a:cubicBezTo>
                    <a:cubicBezTo>
                      <a:pt x="110" y="235"/>
                      <a:pt x="107" y="233"/>
                      <a:pt x="103" y="233"/>
                    </a:cubicBezTo>
                    <a:cubicBezTo>
                      <a:pt x="99" y="233"/>
                      <a:pt x="94" y="236"/>
                      <a:pt x="90" y="236"/>
                    </a:cubicBezTo>
                    <a:cubicBezTo>
                      <a:pt x="86" y="236"/>
                      <a:pt x="79" y="232"/>
                      <a:pt x="76" y="230"/>
                    </a:cubicBezTo>
                    <a:cubicBezTo>
                      <a:pt x="73" y="228"/>
                      <a:pt x="71" y="223"/>
                      <a:pt x="69" y="221"/>
                    </a:cubicBezTo>
                    <a:cubicBezTo>
                      <a:pt x="67" y="219"/>
                      <a:pt x="66" y="217"/>
                      <a:pt x="66" y="214"/>
                    </a:cubicBezTo>
                    <a:cubicBezTo>
                      <a:pt x="66" y="211"/>
                      <a:pt x="71" y="206"/>
                      <a:pt x="70" y="203"/>
                    </a:cubicBezTo>
                    <a:cubicBezTo>
                      <a:pt x="69" y="200"/>
                      <a:pt x="62" y="196"/>
                      <a:pt x="60" y="197"/>
                    </a:cubicBezTo>
                    <a:cubicBezTo>
                      <a:pt x="63" y="196"/>
                      <a:pt x="61" y="220"/>
                      <a:pt x="57" y="212"/>
                    </a:cubicBezTo>
                    <a:cubicBezTo>
                      <a:pt x="51" y="213"/>
                      <a:pt x="44" y="209"/>
                      <a:pt x="45" y="212"/>
                    </a:cubicBezTo>
                    <a:cubicBezTo>
                      <a:pt x="46" y="215"/>
                      <a:pt x="58" y="224"/>
                      <a:pt x="61" y="229"/>
                    </a:cubicBezTo>
                    <a:cubicBezTo>
                      <a:pt x="64" y="234"/>
                      <a:pt x="67" y="241"/>
                      <a:pt x="66" y="245"/>
                    </a:cubicBezTo>
                    <a:cubicBezTo>
                      <a:pt x="65" y="249"/>
                      <a:pt x="58" y="251"/>
                      <a:pt x="54" y="254"/>
                    </a:cubicBezTo>
                    <a:cubicBezTo>
                      <a:pt x="50" y="257"/>
                      <a:pt x="46" y="264"/>
                      <a:pt x="42" y="266"/>
                    </a:cubicBezTo>
                    <a:cubicBezTo>
                      <a:pt x="38" y="268"/>
                      <a:pt x="30" y="269"/>
                      <a:pt x="27" y="266"/>
                    </a:cubicBezTo>
                    <a:cubicBezTo>
                      <a:pt x="24" y="263"/>
                      <a:pt x="26" y="250"/>
                      <a:pt x="25" y="245"/>
                    </a:cubicBezTo>
                    <a:cubicBezTo>
                      <a:pt x="24" y="240"/>
                      <a:pt x="22" y="237"/>
                      <a:pt x="18" y="235"/>
                    </a:cubicBezTo>
                    <a:cubicBezTo>
                      <a:pt x="14" y="233"/>
                      <a:pt x="5" y="232"/>
                      <a:pt x="3" y="230"/>
                    </a:cubicBezTo>
                    <a:cubicBezTo>
                      <a:pt x="1" y="228"/>
                      <a:pt x="0" y="223"/>
                      <a:pt x="4" y="220"/>
                    </a:cubicBezTo>
                    <a:cubicBezTo>
                      <a:pt x="8" y="217"/>
                      <a:pt x="21" y="214"/>
                      <a:pt x="25" y="209"/>
                    </a:cubicBezTo>
                    <a:cubicBezTo>
                      <a:pt x="29" y="204"/>
                      <a:pt x="29" y="197"/>
                      <a:pt x="31" y="191"/>
                    </a:cubicBezTo>
                    <a:cubicBezTo>
                      <a:pt x="33" y="185"/>
                      <a:pt x="37" y="180"/>
                      <a:pt x="40" y="175"/>
                    </a:cubicBezTo>
                    <a:cubicBezTo>
                      <a:pt x="43" y="170"/>
                      <a:pt x="45" y="162"/>
                      <a:pt x="49" y="158"/>
                    </a:cubicBezTo>
                    <a:cubicBezTo>
                      <a:pt x="53" y="154"/>
                      <a:pt x="61" y="152"/>
                      <a:pt x="67" y="148"/>
                    </a:cubicBezTo>
                    <a:cubicBezTo>
                      <a:pt x="68" y="142"/>
                      <a:pt x="85" y="139"/>
                      <a:pt x="85" y="13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eform 5"/>
              <p:cNvSpPr>
                <a:spLocks/>
              </p:cNvSpPr>
              <p:nvPr/>
            </p:nvSpPr>
            <p:spPr bwMode="auto">
              <a:xfrm>
                <a:off x="1421417" y="3245849"/>
                <a:ext cx="2714393" cy="1674723"/>
              </a:xfrm>
              <a:custGeom>
                <a:avLst/>
                <a:gdLst/>
                <a:ahLst/>
                <a:cxnLst>
                  <a:cxn ang="0">
                    <a:pos x="216" y="180"/>
                  </a:cxn>
                  <a:cxn ang="0">
                    <a:pos x="228" y="168"/>
                  </a:cxn>
                  <a:cxn ang="0">
                    <a:pos x="234" y="128"/>
                  </a:cxn>
                  <a:cxn ang="0">
                    <a:pos x="258" y="87"/>
                  </a:cxn>
                  <a:cxn ang="0">
                    <a:pos x="288" y="65"/>
                  </a:cxn>
                  <a:cxn ang="0">
                    <a:pos x="324" y="47"/>
                  </a:cxn>
                  <a:cxn ang="0">
                    <a:pos x="372" y="39"/>
                  </a:cxn>
                  <a:cxn ang="0">
                    <a:pos x="403" y="14"/>
                  </a:cxn>
                  <a:cxn ang="0">
                    <a:pos x="447" y="2"/>
                  </a:cxn>
                  <a:cxn ang="0">
                    <a:pos x="481" y="24"/>
                  </a:cxn>
                  <a:cxn ang="0">
                    <a:pos x="514" y="24"/>
                  </a:cxn>
                  <a:cxn ang="0">
                    <a:pos x="553" y="32"/>
                  </a:cxn>
                  <a:cxn ang="0">
                    <a:pos x="595" y="39"/>
                  </a:cxn>
                  <a:cxn ang="0">
                    <a:pos x="634" y="57"/>
                  </a:cxn>
                  <a:cxn ang="0">
                    <a:pos x="658" y="104"/>
                  </a:cxn>
                  <a:cxn ang="0">
                    <a:pos x="693" y="143"/>
                  </a:cxn>
                  <a:cxn ang="0">
                    <a:pos x="685" y="189"/>
                  </a:cxn>
                  <a:cxn ang="0">
                    <a:pos x="661" y="237"/>
                  </a:cxn>
                  <a:cxn ang="0">
                    <a:pos x="670" y="273"/>
                  </a:cxn>
                  <a:cxn ang="0">
                    <a:pos x="643" y="311"/>
                  </a:cxn>
                  <a:cxn ang="0">
                    <a:pos x="592" y="335"/>
                  </a:cxn>
                  <a:cxn ang="0">
                    <a:pos x="558" y="363"/>
                  </a:cxn>
                  <a:cxn ang="0">
                    <a:pos x="462" y="398"/>
                  </a:cxn>
                  <a:cxn ang="0">
                    <a:pos x="409" y="390"/>
                  </a:cxn>
                  <a:cxn ang="0">
                    <a:pos x="354" y="396"/>
                  </a:cxn>
                  <a:cxn ang="0">
                    <a:pos x="309" y="413"/>
                  </a:cxn>
                  <a:cxn ang="0">
                    <a:pos x="259" y="435"/>
                  </a:cxn>
                  <a:cxn ang="0">
                    <a:pos x="210" y="431"/>
                  </a:cxn>
                  <a:cxn ang="0">
                    <a:pos x="166" y="399"/>
                  </a:cxn>
                  <a:cxn ang="0">
                    <a:pos x="126" y="380"/>
                  </a:cxn>
                  <a:cxn ang="0">
                    <a:pos x="75" y="372"/>
                  </a:cxn>
                  <a:cxn ang="0">
                    <a:pos x="40" y="362"/>
                  </a:cxn>
                  <a:cxn ang="0">
                    <a:pos x="22" y="314"/>
                  </a:cxn>
                  <a:cxn ang="0">
                    <a:pos x="3" y="276"/>
                  </a:cxn>
                  <a:cxn ang="0">
                    <a:pos x="24" y="245"/>
                  </a:cxn>
                  <a:cxn ang="0">
                    <a:pos x="46" y="218"/>
                  </a:cxn>
                  <a:cxn ang="0">
                    <a:pos x="64" y="180"/>
                  </a:cxn>
                  <a:cxn ang="0">
                    <a:pos x="93" y="141"/>
                  </a:cxn>
                  <a:cxn ang="0">
                    <a:pos x="117" y="110"/>
                  </a:cxn>
                  <a:cxn ang="0">
                    <a:pos x="148" y="92"/>
                  </a:cxn>
                  <a:cxn ang="0">
                    <a:pos x="189" y="114"/>
                  </a:cxn>
                  <a:cxn ang="0">
                    <a:pos x="192" y="149"/>
                  </a:cxn>
                </a:cxnLst>
                <a:rect l="0" t="0" r="r" b="b"/>
                <a:pathLst>
                  <a:path w="702" h="438">
                    <a:moveTo>
                      <a:pt x="192" y="171"/>
                    </a:moveTo>
                    <a:cubicBezTo>
                      <a:pt x="197" y="177"/>
                      <a:pt x="193" y="174"/>
                      <a:pt x="201" y="177"/>
                    </a:cubicBezTo>
                    <a:cubicBezTo>
                      <a:pt x="216" y="188"/>
                      <a:pt x="198" y="177"/>
                      <a:pt x="216" y="180"/>
                    </a:cubicBezTo>
                    <a:cubicBezTo>
                      <a:pt x="226" y="181"/>
                      <a:pt x="216" y="171"/>
                      <a:pt x="216" y="171"/>
                    </a:cubicBezTo>
                    <a:cubicBezTo>
                      <a:pt x="223" y="170"/>
                      <a:pt x="221" y="172"/>
                      <a:pt x="228" y="170"/>
                    </a:cubicBezTo>
                    <a:cubicBezTo>
                      <a:pt x="230" y="169"/>
                      <a:pt x="228" y="171"/>
                      <a:pt x="228" y="168"/>
                    </a:cubicBezTo>
                    <a:cubicBezTo>
                      <a:pt x="228" y="165"/>
                      <a:pt x="226" y="157"/>
                      <a:pt x="228" y="153"/>
                    </a:cubicBezTo>
                    <a:cubicBezTo>
                      <a:pt x="230" y="149"/>
                      <a:pt x="236" y="150"/>
                      <a:pt x="237" y="146"/>
                    </a:cubicBezTo>
                    <a:cubicBezTo>
                      <a:pt x="238" y="142"/>
                      <a:pt x="234" y="135"/>
                      <a:pt x="234" y="128"/>
                    </a:cubicBezTo>
                    <a:cubicBezTo>
                      <a:pt x="234" y="119"/>
                      <a:pt x="233" y="107"/>
                      <a:pt x="235" y="102"/>
                    </a:cubicBezTo>
                    <a:cubicBezTo>
                      <a:pt x="237" y="97"/>
                      <a:pt x="243" y="100"/>
                      <a:pt x="247" y="98"/>
                    </a:cubicBezTo>
                    <a:cubicBezTo>
                      <a:pt x="251" y="96"/>
                      <a:pt x="253" y="89"/>
                      <a:pt x="258" y="87"/>
                    </a:cubicBezTo>
                    <a:cubicBezTo>
                      <a:pt x="263" y="85"/>
                      <a:pt x="276" y="89"/>
                      <a:pt x="280" y="87"/>
                    </a:cubicBezTo>
                    <a:cubicBezTo>
                      <a:pt x="284" y="85"/>
                      <a:pt x="281" y="79"/>
                      <a:pt x="282" y="75"/>
                    </a:cubicBezTo>
                    <a:cubicBezTo>
                      <a:pt x="289" y="72"/>
                      <a:pt x="281" y="68"/>
                      <a:pt x="288" y="65"/>
                    </a:cubicBezTo>
                    <a:cubicBezTo>
                      <a:pt x="294" y="63"/>
                      <a:pt x="301" y="60"/>
                      <a:pt x="301" y="60"/>
                    </a:cubicBezTo>
                    <a:cubicBezTo>
                      <a:pt x="302" y="51"/>
                      <a:pt x="306" y="58"/>
                      <a:pt x="310" y="56"/>
                    </a:cubicBezTo>
                    <a:cubicBezTo>
                      <a:pt x="314" y="54"/>
                      <a:pt x="319" y="48"/>
                      <a:pt x="324" y="47"/>
                    </a:cubicBezTo>
                    <a:cubicBezTo>
                      <a:pt x="329" y="46"/>
                      <a:pt x="334" y="50"/>
                      <a:pt x="339" y="50"/>
                    </a:cubicBezTo>
                    <a:cubicBezTo>
                      <a:pt x="344" y="50"/>
                      <a:pt x="352" y="46"/>
                      <a:pt x="357" y="44"/>
                    </a:cubicBezTo>
                    <a:cubicBezTo>
                      <a:pt x="361" y="32"/>
                      <a:pt x="368" y="42"/>
                      <a:pt x="372" y="39"/>
                    </a:cubicBezTo>
                    <a:cubicBezTo>
                      <a:pt x="376" y="36"/>
                      <a:pt x="375" y="30"/>
                      <a:pt x="379" y="27"/>
                    </a:cubicBezTo>
                    <a:cubicBezTo>
                      <a:pt x="376" y="0"/>
                      <a:pt x="392" y="23"/>
                      <a:pt x="396" y="21"/>
                    </a:cubicBezTo>
                    <a:cubicBezTo>
                      <a:pt x="400" y="19"/>
                      <a:pt x="400" y="17"/>
                      <a:pt x="403" y="14"/>
                    </a:cubicBezTo>
                    <a:cubicBezTo>
                      <a:pt x="406" y="11"/>
                      <a:pt x="410" y="6"/>
                      <a:pt x="415" y="5"/>
                    </a:cubicBezTo>
                    <a:cubicBezTo>
                      <a:pt x="420" y="4"/>
                      <a:pt x="427" y="9"/>
                      <a:pt x="432" y="8"/>
                    </a:cubicBezTo>
                    <a:cubicBezTo>
                      <a:pt x="437" y="7"/>
                      <a:pt x="443" y="1"/>
                      <a:pt x="447" y="2"/>
                    </a:cubicBezTo>
                    <a:cubicBezTo>
                      <a:pt x="451" y="3"/>
                      <a:pt x="450" y="9"/>
                      <a:pt x="454" y="11"/>
                    </a:cubicBezTo>
                    <a:cubicBezTo>
                      <a:pt x="482" y="12"/>
                      <a:pt x="448" y="11"/>
                      <a:pt x="471" y="14"/>
                    </a:cubicBezTo>
                    <a:cubicBezTo>
                      <a:pt x="478" y="20"/>
                      <a:pt x="472" y="21"/>
                      <a:pt x="481" y="24"/>
                    </a:cubicBezTo>
                    <a:cubicBezTo>
                      <a:pt x="486" y="30"/>
                      <a:pt x="478" y="39"/>
                      <a:pt x="495" y="35"/>
                    </a:cubicBezTo>
                    <a:cubicBezTo>
                      <a:pt x="490" y="25"/>
                      <a:pt x="502" y="31"/>
                      <a:pt x="505" y="29"/>
                    </a:cubicBezTo>
                    <a:cubicBezTo>
                      <a:pt x="508" y="27"/>
                      <a:pt x="512" y="25"/>
                      <a:pt x="514" y="24"/>
                    </a:cubicBezTo>
                    <a:cubicBezTo>
                      <a:pt x="515" y="26"/>
                      <a:pt x="518" y="24"/>
                      <a:pt x="519" y="26"/>
                    </a:cubicBezTo>
                    <a:cubicBezTo>
                      <a:pt x="519" y="26"/>
                      <a:pt x="531" y="29"/>
                      <a:pt x="532" y="33"/>
                    </a:cubicBezTo>
                    <a:cubicBezTo>
                      <a:pt x="532" y="27"/>
                      <a:pt x="548" y="30"/>
                      <a:pt x="553" y="32"/>
                    </a:cubicBezTo>
                    <a:cubicBezTo>
                      <a:pt x="558" y="34"/>
                      <a:pt x="558" y="43"/>
                      <a:pt x="562" y="45"/>
                    </a:cubicBezTo>
                    <a:cubicBezTo>
                      <a:pt x="566" y="47"/>
                      <a:pt x="571" y="48"/>
                      <a:pt x="576" y="47"/>
                    </a:cubicBezTo>
                    <a:cubicBezTo>
                      <a:pt x="581" y="46"/>
                      <a:pt x="590" y="38"/>
                      <a:pt x="595" y="39"/>
                    </a:cubicBezTo>
                    <a:cubicBezTo>
                      <a:pt x="600" y="40"/>
                      <a:pt x="603" y="50"/>
                      <a:pt x="607" y="51"/>
                    </a:cubicBezTo>
                    <a:cubicBezTo>
                      <a:pt x="611" y="52"/>
                      <a:pt x="614" y="44"/>
                      <a:pt x="618" y="45"/>
                    </a:cubicBezTo>
                    <a:cubicBezTo>
                      <a:pt x="622" y="46"/>
                      <a:pt x="629" y="53"/>
                      <a:pt x="634" y="57"/>
                    </a:cubicBezTo>
                    <a:cubicBezTo>
                      <a:pt x="639" y="61"/>
                      <a:pt x="644" y="67"/>
                      <a:pt x="646" y="72"/>
                    </a:cubicBezTo>
                    <a:cubicBezTo>
                      <a:pt x="631" y="90"/>
                      <a:pt x="646" y="81"/>
                      <a:pt x="649" y="86"/>
                    </a:cubicBezTo>
                    <a:cubicBezTo>
                      <a:pt x="672" y="74"/>
                      <a:pt x="655" y="100"/>
                      <a:pt x="658" y="104"/>
                    </a:cubicBezTo>
                    <a:cubicBezTo>
                      <a:pt x="661" y="108"/>
                      <a:pt x="663" y="110"/>
                      <a:pt x="667" y="113"/>
                    </a:cubicBezTo>
                    <a:cubicBezTo>
                      <a:pt x="681" y="116"/>
                      <a:pt x="681" y="118"/>
                      <a:pt x="685" y="123"/>
                    </a:cubicBezTo>
                    <a:cubicBezTo>
                      <a:pt x="689" y="128"/>
                      <a:pt x="690" y="138"/>
                      <a:pt x="693" y="143"/>
                    </a:cubicBezTo>
                    <a:cubicBezTo>
                      <a:pt x="696" y="148"/>
                      <a:pt x="702" y="151"/>
                      <a:pt x="702" y="156"/>
                    </a:cubicBezTo>
                    <a:cubicBezTo>
                      <a:pt x="702" y="161"/>
                      <a:pt x="694" y="166"/>
                      <a:pt x="691" y="171"/>
                    </a:cubicBezTo>
                    <a:cubicBezTo>
                      <a:pt x="697" y="178"/>
                      <a:pt x="687" y="183"/>
                      <a:pt x="685" y="189"/>
                    </a:cubicBezTo>
                    <a:cubicBezTo>
                      <a:pt x="683" y="195"/>
                      <a:pt x="681" y="202"/>
                      <a:pt x="679" y="207"/>
                    </a:cubicBezTo>
                    <a:cubicBezTo>
                      <a:pt x="677" y="212"/>
                      <a:pt x="675" y="217"/>
                      <a:pt x="672" y="222"/>
                    </a:cubicBezTo>
                    <a:cubicBezTo>
                      <a:pt x="669" y="227"/>
                      <a:pt x="667" y="234"/>
                      <a:pt x="661" y="237"/>
                    </a:cubicBezTo>
                    <a:cubicBezTo>
                      <a:pt x="670" y="249"/>
                      <a:pt x="660" y="250"/>
                      <a:pt x="660" y="254"/>
                    </a:cubicBezTo>
                    <a:cubicBezTo>
                      <a:pt x="660" y="258"/>
                      <a:pt x="661" y="261"/>
                      <a:pt x="663" y="264"/>
                    </a:cubicBezTo>
                    <a:cubicBezTo>
                      <a:pt x="665" y="267"/>
                      <a:pt x="670" y="270"/>
                      <a:pt x="670" y="273"/>
                    </a:cubicBezTo>
                    <a:cubicBezTo>
                      <a:pt x="670" y="276"/>
                      <a:pt x="665" y="279"/>
                      <a:pt x="663" y="284"/>
                    </a:cubicBezTo>
                    <a:cubicBezTo>
                      <a:pt x="661" y="289"/>
                      <a:pt x="660" y="301"/>
                      <a:pt x="657" y="305"/>
                    </a:cubicBezTo>
                    <a:cubicBezTo>
                      <a:pt x="654" y="309"/>
                      <a:pt x="648" y="309"/>
                      <a:pt x="643" y="311"/>
                    </a:cubicBezTo>
                    <a:cubicBezTo>
                      <a:pt x="638" y="313"/>
                      <a:pt x="636" y="313"/>
                      <a:pt x="628" y="315"/>
                    </a:cubicBezTo>
                    <a:cubicBezTo>
                      <a:pt x="620" y="317"/>
                      <a:pt x="601" y="317"/>
                      <a:pt x="595" y="320"/>
                    </a:cubicBezTo>
                    <a:cubicBezTo>
                      <a:pt x="590" y="330"/>
                      <a:pt x="594" y="331"/>
                      <a:pt x="592" y="335"/>
                    </a:cubicBezTo>
                    <a:cubicBezTo>
                      <a:pt x="590" y="339"/>
                      <a:pt x="588" y="339"/>
                      <a:pt x="585" y="342"/>
                    </a:cubicBezTo>
                    <a:cubicBezTo>
                      <a:pt x="583" y="348"/>
                      <a:pt x="577" y="348"/>
                      <a:pt x="573" y="351"/>
                    </a:cubicBezTo>
                    <a:cubicBezTo>
                      <a:pt x="569" y="354"/>
                      <a:pt x="564" y="361"/>
                      <a:pt x="558" y="363"/>
                    </a:cubicBezTo>
                    <a:cubicBezTo>
                      <a:pt x="552" y="365"/>
                      <a:pt x="548" y="356"/>
                      <a:pt x="538" y="363"/>
                    </a:cubicBezTo>
                    <a:cubicBezTo>
                      <a:pt x="529" y="367"/>
                      <a:pt x="508" y="399"/>
                      <a:pt x="495" y="405"/>
                    </a:cubicBezTo>
                    <a:cubicBezTo>
                      <a:pt x="482" y="411"/>
                      <a:pt x="471" y="398"/>
                      <a:pt x="462" y="398"/>
                    </a:cubicBezTo>
                    <a:cubicBezTo>
                      <a:pt x="453" y="398"/>
                      <a:pt x="444" y="404"/>
                      <a:pt x="438" y="404"/>
                    </a:cubicBezTo>
                    <a:cubicBezTo>
                      <a:pt x="432" y="404"/>
                      <a:pt x="428" y="397"/>
                      <a:pt x="423" y="395"/>
                    </a:cubicBezTo>
                    <a:cubicBezTo>
                      <a:pt x="418" y="393"/>
                      <a:pt x="414" y="391"/>
                      <a:pt x="409" y="390"/>
                    </a:cubicBezTo>
                    <a:cubicBezTo>
                      <a:pt x="404" y="389"/>
                      <a:pt x="399" y="386"/>
                      <a:pt x="393" y="386"/>
                    </a:cubicBezTo>
                    <a:cubicBezTo>
                      <a:pt x="376" y="389"/>
                      <a:pt x="376" y="390"/>
                      <a:pt x="370" y="392"/>
                    </a:cubicBezTo>
                    <a:cubicBezTo>
                      <a:pt x="364" y="394"/>
                      <a:pt x="359" y="395"/>
                      <a:pt x="354" y="396"/>
                    </a:cubicBezTo>
                    <a:cubicBezTo>
                      <a:pt x="349" y="397"/>
                      <a:pt x="344" y="397"/>
                      <a:pt x="339" y="399"/>
                    </a:cubicBezTo>
                    <a:cubicBezTo>
                      <a:pt x="334" y="401"/>
                      <a:pt x="327" y="406"/>
                      <a:pt x="322" y="408"/>
                    </a:cubicBezTo>
                    <a:cubicBezTo>
                      <a:pt x="317" y="410"/>
                      <a:pt x="314" y="412"/>
                      <a:pt x="309" y="413"/>
                    </a:cubicBezTo>
                    <a:cubicBezTo>
                      <a:pt x="294" y="423"/>
                      <a:pt x="298" y="411"/>
                      <a:pt x="294" y="413"/>
                    </a:cubicBezTo>
                    <a:cubicBezTo>
                      <a:pt x="290" y="415"/>
                      <a:pt x="288" y="421"/>
                      <a:pt x="282" y="425"/>
                    </a:cubicBezTo>
                    <a:cubicBezTo>
                      <a:pt x="276" y="429"/>
                      <a:pt x="266" y="433"/>
                      <a:pt x="259" y="435"/>
                    </a:cubicBezTo>
                    <a:cubicBezTo>
                      <a:pt x="252" y="437"/>
                      <a:pt x="247" y="438"/>
                      <a:pt x="241" y="437"/>
                    </a:cubicBezTo>
                    <a:cubicBezTo>
                      <a:pt x="235" y="436"/>
                      <a:pt x="228" y="427"/>
                      <a:pt x="223" y="426"/>
                    </a:cubicBezTo>
                    <a:cubicBezTo>
                      <a:pt x="218" y="425"/>
                      <a:pt x="215" y="432"/>
                      <a:pt x="210" y="431"/>
                    </a:cubicBezTo>
                    <a:cubicBezTo>
                      <a:pt x="205" y="430"/>
                      <a:pt x="197" y="421"/>
                      <a:pt x="192" y="417"/>
                    </a:cubicBezTo>
                    <a:cubicBezTo>
                      <a:pt x="173" y="410"/>
                      <a:pt x="198" y="415"/>
                      <a:pt x="178" y="408"/>
                    </a:cubicBezTo>
                    <a:cubicBezTo>
                      <a:pt x="172" y="404"/>
                      <a:pt x="173" y="402"/>
                      <a:pt x="166" y="399"/>
                    </a:cubicBezTo>
                    <a:cubicBezTo>
                      <a:pt x="160" y="392"/>
                      <a:pt x="161" y="397"/>
                      <a:pt x="154" y="392"/>
                    </a:cubicBezTo>
                    <a:cubicBezTo>
                      <a:pt x="150" y="385"/>
                      <a:pt x="150" y="392"/>
                      <a:pt x="142" y="389"/>
                    </a:cubicBezTo>
                    <a:cubicBezTo>
                      <a:pt x="138" y="385"/>
                      <a:pt x="131" y="382"/>
                      <a:pt x="126" y="380"/>
                    </a:cubicBezTo>
                    <a:cubicBezTo>
                      <a:pt x="121" y="378"/>
                      <a:pt x="117" y="377"/>
                      <a:pt x="111" y="377"/>
                    </a:cubicBezTo>
                    <a:cubicBezTo>
                      <a:pt x="105" y="377"/>
                      <a:pt x="96" y="387"/>
                      <a:pt x="91" y="378"/>
                    </a:cubicBezTo>
                    <a:cubicBezTo>
                      <a:pt x="85" y="377"/>
                      <a:pt x="81" y="373"/>
                      <a:pt x="75" y="372"/>
                    </a:cubicBezTo>
                    <a:cubicBezTo>
                      <a:pt x="69" y="371"/>
                      <a:pt x="60" y="369"/>
                      <a:pt x="55" y="369"/>
                    </a:cubicBezTo>
                    <a:cubicBezTo>
                      <a:pt x="50" y="368"/>
                      <a:pt x="45" y="370"/>
                      <a:pt x="43" y="369"/>
                    </a:cubicBezTo>
                    <a:cubicBezTo>
                      <a:pt x="41" y="368"/>
                      <a:pt x="42" y="364"/>
                      <a:pt x="40" y="362"/>
                    </a:cubicBezTo>
                    <a:cubicBezTo>
                      <a:pt x="38" y="360"/>
                      <a:pt x="35" y="359"/>
                      <a:pt x="33" y="354"/>
                    </a:cubicBezTo>
                    <a:cubicBezTo>
                      <a:pt x="31" y="349"/>
                      <a:pt x="32" y="336"/>
                      <a:pt x="30" y="329"/>
                    </a:cubicBezTo>
                    <a:cubicBezTo>
                      <a:pt x="28" y="322"/>
                      <a:pt x="23" y="319"/>
                      <a:pt x="22" y="314"/>
                    </a:cubicBezTo>
                    <a:cubicBezTo>
                      <a:pt x="10" y="308"/>
                      <a:pt x="23" y="305"/>
                      <a:pt x="22" y="300"/>
                    </a:cubicBezTo>
                    <a:cubicBezTo>
                      <a:pt x="21" y="295"/>
                      <a:pt x="18" y="289"/>
                      <a:pt x="15" y="285"/>
                    </a:cubicBezTo>
                    <a:cubicBezTo>
                      <a:pt x="0" y="285"/>
                      <a:pt x="5" y="280"/>
                      <a:pt x="3" y="276"/>
                    </a:cubicBezTo>
                    <a:cubicBezTo>
                      <a:pt x="1" y="272"/>
                      <a:pt x="2" y="267"/>
                      <a:pt x="3" y="263"/>
                    </a:cubicBezTo>
                    <a:cubicBezTo>
                      <a:pt x="4" y="259"/>
                      <a:pt x="8" y="257"/>
                      <a:pt x="12" y="254"/>
                    </a:cubicBezTo>
                    <a:cubicBezTo>
                      <a:pt x="16" y="251"/>
                      <a:pt x="19" y="247"/>
                      <a:pt x="24" y="245"/>
                    </a:cubicBezTo>
                    <a:cubicBezTo>
                      <a:pt x="20" y="240"/>
                      <a:pt x="37" y="243"/>
                      <a:pt x="40" y="240"/>
                    </a:cubicBezTo>
                    <a:cubicBezTo>
                      <a:pt x="43" y="237"/>
                      <a:pt x="42" y="232"/>
                      <a:pt x="43" y="228"/>
                    </a:cubicBezTo>
                    <a:cubicBezTo>
                      <a:pt x="44" y="224"/>
                      <a:pt x="44" y="222"/>
                      <a:pt x="46" y="218"/>
                    </a:cubicBezTo>
                    <a:cubicBezTo>
                      <a:pt x="48" y="214"/>
                      <a:pt x="52" y="208"/>
                      <a:pt x="54" y="204"/>
                    </a:cubicBezTo>
                    <a:cubicBezTo>
                      <a:pt x="56" y="200"/>
                      <a:pt x="59" y="195"/>
                      <a:pt x="61" y="191"/>
                    </a:cubicBezTo>
                    <a:cubicBezTo>
                      <a:pt x="62" y="182"/>
                      <a:pt x="63" y="184"/>
                      <a:pt x="64" y="180"/>
                    </a:cubicBezTo>
                    <a:cubicBezTo>
                      <a:pt x="65" y="176"/>
                      <a:pt x="67" y="171"/>
                      <a:pt x="69" y="167"/>
                    </a:cubicBezTo>
                    <a:cubicBezTo>
                      <a:pt x="71" y="163"/>
                      <a:pt x="74" y="157"/>
                      <a:pt x="78" y="153"/>
                    </a:cubicBezTo>
                    <a:cubicBezTo>
                      <a:pt x="82" y="149"/>
                      <a:pt x="90" y="146"/>
                      <a:pt x="93" y="141"/>
                    </a:cubicBezTo>
                    <a:cubicBezTo>
                      <a:pt x="96" y="136"/>
                      <a:pt x="91" y="128"/>
                      <a:pt x="93" y="123"/>
                    </a:cubicBezTo>
                    <a:cubicBezTo>
                      <a:pt x="95" y="122"/>
                      <a:pt x="100" y="105"/>
                      <a:pt x="106" y="111"/>
                    </a:cubicBezTo>
                    <a:cubicBezTo>
                      <a:pt x="110" y="109"/>
                      <a:pt x="114" y="113"/>
                      <a:pt x="117" y="110"/>
                    </a:cubicBezTo>
                    <a:cubicBezTo>
                      <a:pt x="120" y="107"/>
                      <a:pt x="119" y="98"/>
                      <a:pt x="123" y="95"/>
                    </a:cubicBezTo>
                    <a:cubicBezTo>
                      <a:pt x="127" y="92"/>
                      <a:pt x="135" y="89"/>
                      <a:pt x="139" y="89"/>
                    </a:cubicBezTo>
                    <a:cubicBezTo>
                      <a:pt x="143" y="89"/>
                      <a:pt x="145" y="90"/>
                      <a:pt x="148" y="92"/>
                    </a:cubicBezTo>
                    <a:cubicBezTo>
                      <a:pt x="152" y="94"/>
                      <a:pt x="162" y="96"/>
                      <a:pt x="166" y="99"/>
                    </a:cubicBezTo>
                    <a:cubicBezTo>
                      <a:pt x="167" y="104"/>
                      <a:pt x="176" y="98"/>
                      <a:pt x="172" y="110"/>
                    </a:cubicBezTo>
                    <a:cubicBezTo>
                      <a:pt x="176" y="112"/>
                      <a:pt x="184" y="111"/>
                      <a:pt x="189" y="114"/>
                    </a:cubicBezTo>
                    <a:cubicBezTo>
                      <a:pt x="194" y="117"/>
                      <a:pt x="197" y="122"/>
                      <a:pt x="199" y="126"/>
                    </a:cubicBezTo>
                    <a:cubicBezTo>
                      <a:pt x="201" y="130"/>
                      <a:pt x="187" y="127"/>
                      <a:pt x="199" y="137"/>
                    </a:cubicBezTo>
                    <a:cubicBezTo>
                      <a:pt x="198" y="141"/>
                      <a:pt x="192" y="145"/>
                      <a:pt x="192" y="149"/>
                    </a:cubicBezTo>
                    <a:cubicBezTo>
                      <a:pt x="192" y="153"/>
                      <a:pt x="198" y="158"/>
                      <a:pt x="198" y="162"/>
                    </a:cubicBezTo>
                    <a:cubicBezTo>
                      <a:pt x="198" y="166"/>
                      <a:pt x="204" y="169"/>
                      <a:pt x="192" y="17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Freeform 6"/>
              <p:cNvSpPr>
                <a:spLocks/>
              </p:cNvSpPr>
              <p:nvPr/>
            </p:nvSpPr>
            <p:spPr bwMode="auto">
              <a:xfrm>
                <a:off x="2094453" y="5885502"/>
                <a:ext cx="2319471" cy="2456478"/>
              </a:xfrm>
              <a:custGeom>
                <a:avLst/>
                <a:gdLst/>
                <a:ahLst/>
                <a:cxnLst>
                  <a:cxn ang="0">
                    <a:pos x="255" y="82"/>
                  </a:cxn>
                  <a:cxn ang="0">
                    <a:pos x="253" y="101"/>
                  </a:cxn>
                  <a:cxn ang="0">
                    <a:pos x="219" y="71"/>
                  </a:cxn>
                  <a:cxn ang="0">
                    <a:pos x="183" y="67"/>
                  </a:cxn>
                  <a:cxn ang="0">
                    <a:pos x="132" y="64"/>
                  </a:cxn>
                  <a:cxn ang="0">
                    <a:pos x="102" y="91"/>
                  </a:cxn>
                  <a:cxn ang="0">
                    <a:pos x="76" y="112"/>
                  </a:cxn>
                  <a:cxn ang="0">
                    <a:pos x="87" y="152"/>
                  </a:cxn>
                  <a:cxn ang="0">
                    <a:pos x="40" y="137"/>
                  </a:cxn>
                  <a:cxn ang="0">
                    <a:pos x="18" y="140"/>
                  </a:cxn>
                  <a:cxn ang="0">
                    <a:pos x="0" y="169"/>
                  </a:cxn>
                  <a:cxn ang="0">
                    <a:pos x="27" y="202"/>
                  </a:cxn>
                  <a:cxn ang="0">
                    <a:pos x="46" y="238"/>
                  </a:cxn>
                  <a:cxn ang="0">
                    <a:pos x="48" y="284"/>
                  </a:cxn>
                  <a:cxn ang="0">
                    <a:pos x="61" y="319"/>
                  </a:cxn>
                  <a:cxn ang="0">
                    <a:pos x="70" y="349"/>
                  </a:cxn>
                  <a:cxn ang="0">
                    <a:pos x="88" y="368"/>
                  </a:cxn>
                  <a:cxn ang="0">
                    <a:pos x="109" y="392"/>
                  </a:cxn>
                  <a:cxn ang="0">
                    <a:pos x="142" y="401"/>
                  </a:cxn>
                  <a:cxn ang="0">
                    <a:pos x="162" y="431"/>
                  </a:cxn>
                  <a:cxn ang="0">
                    <a:pos x="142" y="461"/>
                  </a:cxn>
                  <a:cxn ang="0">
                    <a:pos x="127" y="499"/>
                  </a:cxn>
                  <a:cxn ang="0">
                    <a:pos x="147" y="529"/>
                  </a:cxn>
                  <a:cxn ang="0">
                    <a:pos x="196" y="500"/>
                  </a:cxn>
                  <a:cxn ang="0">
                    <a:pos x="234" y="485"/>
                  </a:cxn>
                  <a:cxn ang="0">
                    <a:pos x="255" y="487"/>
                  </a:cxn>
                  <a:cxn ang="0">
                    <a:pos x="283" y="481"/>
                  </a:cxn>
                  <a:cxn ang="0">
                    <a:pos x="324" y="494"/>
                  </a:cxn>
                  <a:cxn ang="0">
                    <a:pos x="346" y="523"/>
                  </a:cxn>
                  <a:cxn ang="0">
                    <a:pos x="358" y="562"/>
                  </a:cxn>
                  <a:cxn ang="0">
                    <a:pos x="387" y="592"/>
                  </a:cxn>
                  <a:cxn ang="0">
                    <a:pos x="405" y="625"/>
                  </a:cxn>
                  <a:cxn ang="0">
                    <a:pos x="438" y="641"/>
                  </a:cxn>
                  <a:cxn ang="0">
                    <a:pos x="465" y="599"/>
                  </a:cxn>
                  <a:cxn ang="0">
                    <a:pos x="474" y="562"/>
                  </a:cxn>
                  <a:cxn ang="0">
                    <a:pos x="477" y="521"/>
                  </a:cxn>
                  <a:cxn ang="0">
                    <a:pos x="487" y="493"/>
                  </a:cxn>
                  <a:cxn ang="0">
                    <a:pos x="487" y="470"/>
                  </a:cxn>
                  <a:cxn ang="0">
                    <a:pos x="502" y="439"/>
                  </a:cxn>
                  <a:cxn ang="0">
                    <a:pos x="498" y="394"/>
                  </a:cxn>
                  <a:cxn ang="0">
                    <a:pos x="513" y="361"/>
                  </a:cxn>
                  <a:cxn ang="0">
                    <a:pos x="505" y="307"/>
                  </a:cxn>
                  <a:cxn ang="0">
                    <a:pos x="513" y="284"/>
                  </a:cxn>
                  <a:cxn ang="0">
                    <a:pos x="525" y="250"/>
                  </a:cxn>
                  <a:cxn ang="0">
                    <a:pos x="531" y="212"/>
                  </a:cxn>
                  <a:cxn ang="0">
                    <a:pos x="562" y="182"/>
                  </a:cxn>
                  <a:cxn ang="0">
                    <a:pos x="597" y="160"/>
                  </a:cxn>
                  <a:cxn ang="0">
                    <a:pos x="588" y="104"/>
                  </a:cxn>
                  <a:cxn ang="0">
                    <a:pos x="576" y="55"/>
                  </a:cxn>
                  <a:cxn ang="0">
                    <a:pos x="547" y="38"/>
                  </a:cxn>
                  <a:cxn ang="0">
                    <a:pos x="505" y="1"/>
                  </a:cxn>
                  <a:cxn ang="0">
                    <a:pos x="468" y="17"/>
                  </a:cxn>
                  <a:cxn ang="0">
                    <a:pos x="375" y="19"/>
                  </a:cxn>
                  <a:cxn ang="0">
                    <a:pos x="343" y="34"/>
                  </a:cxn>
                  <a:cxn ang="0">
                    <a:pos x="292" y="49"/>
                  </a:cxn>
                  <a:cxn ang="0">
                    <a:pos x="256" y="52"/>
                  </a:cxn>
                </a:cxnLst>
                <a:rect l="0" t="0" r="r" b="b"/>
                <a:pathLst>
                  <a:path w="600" h="644">
                    <a:moveTo>
                      <a:pt x="244" y="61"/>
                    </a:moveTo>
                    <a:cubicBezTo>
                      <a:pt x="219" y="62"/>
                      <a:pt x="282" y="70"/>
                      <a:pt x="259" y="71"/>
                    </a:cubicBezTo>
                    <a:cubicBezTo>
                      <a:pt x="248" y="73"/>
                      <a:pt x="266" y="80"/>
                      <a:pt x="255" y="82"/>
                    </a:cubicBezTo>
                    <a:cubicBezTo>
                      <a:pt x="249" y="83"/>
                      <a:pt x="268" y="92"/>
                      <a:pt x="268" y="92"/>
                    </a:cubicBezTo>
                    <a:cubicBezTo>
                      <a:pt x="259" y="97"/>
                      <a:pt x="274" y="98"/>
                      <a:pt x="265" y="103"/>
                    </a:cubicBezTo>
                    <a:cubicBezTo>
                      <a:pt x="260" y="105"/>
                      <a:pt x="253" y="101"/>
                      <a:pt x="253" y="101"/>
                    </a:cubicBezTo>
                    <a:cubicBezTo>
                      <a:pt x="249" y="98"/>
                      <a:pt x="250" y="85"/>
                      <a:pt x="247" y="80"/>
                    </a:cubicBezTo>
                    <a:cubicBezTo>
                      <a:pt x="244" y="75"/>
                      <a:pt x="237" y="72"/>
                      <a:pt x="232" y="71"/>
                    </a:cubicBezTo>
                    <a:cubicBezTo>
                      <a:pt x="226" y="66"/>
                      <a:pt x="224" y="71"/>
                      <a:pt x="219" y="71"/>
                    </a:cubicBezTo>
                    <a:cubicBezTo>
                      <a:pt x="214" y="71"/>
                      <a:pt x="208" y="69"/>
                      <a:pt x="204" y="70"/>
                    </a:cubicBezTo>
                    <a:cubicBezTo>
                      <a:pt x="200" y="71"/>
                      <a:pt x="199" y="76"/>
                      <a:pt x="196" y="76"/>
                    </a:cubicBezTo>
                    <a:cubicBezTo>
                      <a:pt x="193" y="76"/>
                      <a:pt x="188" y="69"/>
                      <a:pt x="183" y="67"/>
                    </a:cubicBezTo>
                    <a:cubicBezTo>
                      <a:pt x="178" y="65"/>
                      <a:pt x="170" y="64"/>
                      <a:pt x="165" y="62"/>
                    </a:cubicBezTo>
                    <a:cubicBezTo>
                      <a:pt x="150" y="59"/>
                      <a:pt x="164" y="57"/>
                      <a:pt x="150" y="55"/>
                    </a:cubicBezTo>
                    <a:cubicBezTo>
                      <a:pt x="148" y="60"/>
                      <a:pt x="130" y="44"/>
                      <a:pt x="132" y="64"/>
                    </a:cubicBezTo>
                    <a:cubicBezTo>
                      <a:pt x="126" y="67"/>
                      <a:pt x="118" y="72"/>
                      <a:pt x="114" y="74"/>
                    </a:cubicBezTo>
                    <a:cubicBezTo>
                      <a:pt x="110" y="76"/>
                      <a:pt x="107" y="74"/>
                      <a:pt x="105" y="77"/>
                    </a:cubicBezTo>
                    <a:cubicBezTo>
                      <a:pt x="103" y="80"/>
                      <a:pt x="105" y="88"/>
                      <a:pt x="102" y="91"/>
                    </a:cubicBezTo>
                    <a:cubicBezTo>
                      <a:pt x="99" y="94"/>
                      <a:pt x="89" y="93"/>
                      <a:pt x="85" y="95"/>
                    </a:cubicBezTo>
                    <a:cubicBezTo>
                      <a:pt x="81" y="97"/>
                      <a:pt x="80" y="100"/>
                      <a:pt x="79" y="103"/>
                    </a:cubicBezTo>
                    <a:cubicBezTo>
                      <a:pt x="78" y="106"/>
                      <a:pt x="75" y="108"/>
                      <a:pt x="76" y="112"/>
                    </a:cubicBezTo>
                    <a:cubicBezTo>
                      <a:pt x="80" y="118"/>
                      <a:pt x="70" y="117"/>
                      <a:pt x="84" y="128"/>
                    </a:cubicBezTo>
                    <a:cubicBezTo>
                      <a:pt x="85" y="132"/>
                      <a:pt x="84" y="135"/>
                      <a:pt x="85" y="139"/>
                    </a:cubicBezTo>
                    <a:cubicBezTo>
                      <a:pt x="82" y="145"/>
                      <a:pt x="90" y="146"/>
                      <a:pt x="87" y="152"/>
                    </a:cubicBezTo>
                    <a:cubicBezTo>
                      <a:pt x="88" y="161"/>
                      <a:pt x="71" y="133"/>
                      <a:pt x="73" y="142"/>
                    </a:cubicBezTo>
                    <a:cubicBezTo>
                      <a:pt x="74" y="144"/>
                      <a:pt x="60" y="140"/>
                      <a:pt x="55" y="139"/>
                    </a:cubicBezTo>
                    <a:cubicBezTo>
                      <a:pt x="50" y="138"/>
                      <a:pt x="44" y="139"/>
                      <a:pt x="40" y="137"/>
                    </a:cubicBezTo>
                    <a:cubicBezTo>
                      <a:pt x="35" y="136"/>
                      <a:pt x="34" y="128"/>
                      <a:pt x="30" y="127"/>
                    </a:cubicBezTo>
                    <a:cubicBezTo>
                      <a:pt x="26" y="126"/>
                      <a:pt x="15" y="126"/>
                      <a:pt x="13" y="128"/>
                    </a:cubicBezTo>
                    <a:cubicBezTo>
                      <a:pt x="11" y="130"/>
                      <a:pt x="18" y="137"/>
                      <a:pt x="18" y="140"/>
                    </a:cubicBezTo>
                    <a:cubicBezTo>
                      <a:pt x="18" y="143"/>
                      <a:pt x="15" y="146"/>
                      <a:pt x="12" y="148"/>
                    </a:cubicBezTo>
                    <a:cubicBezTo>
                      <a:pt x="9" y="150"/>
                      <a:pt x="3" y="152"/>
                      <a:pt x="1" y="155"/>
                    </a:cubicBezTo>
                    <a:lnTo>
                      <a:pt x="0" y="169"/>
                    </a:lnTo>
                    <a:cubicBezTo>
                      <a:pt x="1" y="173"/>
                      <a:pt x="4" y="175"/>
                      <a:pt x="7" y="179"/>
                    </a:cubicBezTo>
                    <a:cubicBezTo>
                      <a:pt x="1" y="195"/>
                      <a:pt x="12" y="188"/>
                      <a:pt x="18" y="193"/>
                    </a:cubicBezTo>
                    <a:cubicBezTo>
                      <a:pt x="21" y="197"/>
                      <a:pt x="23" y="200"/>
                      <a:pt x="27" y="202"/>
                    </a:cubicBezTo>
                    <a:cubicBezTo>
                      <a:pt x="31" y="204"/>
                      <a:pt x="40" y="200"/>
                      <a:pt x="43" y="203"/>
                    </a:cubicBezTo>
                    <a:cubicBezTo>
                      <a:pt x="46" y="206"/>
                      <a:pt x="45" y="211"/>
                      <a:pt x="45" y="217"/>
                    </a:cubicBezTo>
                    <a:lnTo>
                      <a:pt x="46" y="238"/>
                    </a:lnTo>
                    <a:lnTo>
                      <a:pt x="55" y="242"/>
                    </a:lnTo>
                    <a:lnTo>
                      <a:pt x="48" y="262"/>
                    </a:lnTo>
                    <a:lnTo>
                      <a:pt x="48" y="284"/>
                    </a:lnTo>
                    <a:lnTo>
                      <a:pt x="52" y="301"/>
                    </a:lnTo>
                    <a:cubicBezTo>
                      <a:pt x="52" y="305"/>
                      <a:pt x="46" y="308"/>
                      <a:pt x="48" y="311"/>
                    </a:cubicBezTo>
                    <a:cubicBezTo>
                      <a:pt x="50" y="314"/>
                      <a:pt x="57" y="317"/>
                      <a:pt x="61" y="319"/>
                    </a:cubicBezTo>
                    <a:cubicBezTo>
                      <a:pt x="65" y="321"/>
                      <a:pt x="69" y="323"/>
                      <a:pt x="70" y="326"/>
                    </a:cubicBezTo>
                    <a:cubicBezTo>
                      <a:pt x="71" y="329"/>
                      <a:pt x="66" y="334"/>
                      <a:pt x="66" y="338"/>
                    </a:cubicBezTo>
                    <a:cubicBezTo>
                      <a:pt x="66" y="342"/>
                      <a:pt x="68" y="347"/>
                      <a:pt x="70" y="349"/>
                    </a:cubicBezTo>
                    <a:cubicBezTo>
                      <a:pt x="72" y="351"/>
                      <a:pt x="75" y="347"/>
                      <a:pt x="76" y="349"/>
                    </a:cubicBezTo>
                    <a:cubicBezTo>
                      <a:pt x="77" y="351"/>
                      <a:pt x="76" y="356"/>
                      <a:pt x="78" y="359"/>
                    </a:cubicBezTo>
                    <a:cubicBezTo>
                      <a:pt x="80" y="362"/>
                      <a:pt x="83" y="365"/>
                      <a:pt x="88" y="368"/>
                    </a:cubicBezTo>
                    <a:cubicBezTo>
                      <a:pt x="93" y="371"/>
                      <a:pt x="102" y="377"/>
                      <a:pt x="106" y="379"/>
                    </a:cubicBezTo>
                    <a:cubicBezTo>
                      <a:pt x="110" y="381"/>
                      <a:pt x="115" y="377"/>
                      <a:pt x="115" y="379"/>
                    </a:cubicBezTo>
                    <a:cubicBezTo>
                      <a:pt x="115" y="381"/>
                      <a:pt x="107" y="390"/>
                      <a:pt x="109" y="392"/>
                    </a:cubicBezTo>
                    <a:cubicBezTo>
                      <a:pt x="111" y="394"/>
                      <a:pt x="123" y="389"/>
                      <a:pt x="126" y="391"/>
                    </a:cubicBezTo>
                    <a:cubicBezTo>
                      <a:pt x="129" y="393"/>
                      <a:pt x="128" y="401"/>
                      <a:pt x="130" y="403"/>
                    </a:cubicBezTo>
                    <a:cubicBezTo>
                      <a:pt x="132" y="405"/>
                      <a:pt x="138" y="401"/>
                      <a:pt x="142" y="401"/>
                    </a:cubicBezTo>
                    <a:cubicBezTo>
                      <a:pt x="146" y="401"/>
                      <a:pt x="154" y="401"/>
                      <a:pt x="156" y="403"/>
                    </a:cubicBezTo>
                    <a:cubicBezTo>
                      <a:pt x="158" y="405"/>
                      <a:pt x="153" y="410"/>
                      <a:pt x="154" y="415"/>
                    </a:cubicBezTo>
                    <a:cubicBezTo>
                      <a:pt x="155" y="420"/>
                      <a:pt x="162" y="427"/>
                      <a:pt x="162" y="431"/>
                    </a:cubicBezTo>
                    <a:cubicBezTo>
                      <a:pt x="162" y="435"/>
                      <a:pt x="156" y="439"/>
                      <a:pt x="153" y="442"/>
                    </a:cubicBezTo>
                    <a:cubicBezTo>
                      <a:pt x="150" y="445"/>
                      <a:pt x="144" y="446"/>
                      <a:pt x="142" y="449"/>
                    </a:cubicBezTo>
                    <a:cubicBezTo>
                      <a:pt x="140" y="452"/>
                      <a:pt x="144" y="458"/>
                      <a:pt x="142" y="461"/>
                    </a:cubicBezTo>
                    <a:cubicBezTo>
                      <a:pt x="140" y="464"/>
                      <a:pt x="131" y="465"/>
                      <a:pt x="129" y="469"/>
                    </a:cubicBezTo>
                    <a:cubicBezTo>
                      <a:pt x="127" y="473"/>
                      <a:pt x="132" y="483"/>
                      <a:pt x="132" y="488"/>
                    </a:cubicBezTo>
                    <a:cubicBezTo>
                      <a:pt x="132" y="493"/>
                      <a:pt x="125" y="497"/>
                      <a:pt x="127" y="499"/>
                    </a:cubicBezTo>
                    <a:cubicBezTo>
                      <a:pt x="129" y="501"/>
                      <a:pt x="143" y="497"/>
                      <a:pt x="145" y="500"/>
                    </a:cubicBezTo>
                    <a:cubicBezTo>
                      <a:pt x="147" y="503"/>
                      <a:pt x="141" y="510"/>
                      <a:pt x="141" y="515"/>
                    </a:cubicBezTo>
                    <a:cubicBezTo>
                      <a:pt x="141" y="520"/>
                      <a:pt x="143" y="528"/>
                      <a:pt x="147" y="529"/>
                    </a:cubicBezTo>
                    <a:cubicBezTo>
                      <a:pt x="151" y="530"/>
                      <a:pt x="159" y="523"/>
                      <a:pt x="165" y="521"/>
                    </a:cubicBezTo>
                    <a:cubicBezTo>
                      <a:pt x="171" y="519"/>
                      <a:pt x="178" y="518"/>
                      <a:pt x="183" y="514"/>
                    </a:cubicBezTo>
                    <a:cubicBezTo>
                      <a:pt x="188" y="510"/>
                      <a:pt x="191" y="503"/>
                      <a:pt x="196" y="500"/>
                    </a:cubicBezTo>
                    <a:cubicBezTo>
                      <a:pt x="201" y="497"/>
                      <a:pt x="206" y="495"/>
                      <a:pt x="211" y="494"/>
                    </a:cubicBezTo>
                    <a:cubicBezTo>
                      <a:pt x="215" y="485"/>
                      <a:pt x="221" y="496"/>
                      <a:pt x="225" y="494"/>
                    </a:cubicBezTo>
                    <a:cubicBezTo>
                      <a:pt x="229" y="492"/>
                      <a:pt x="230" y="484"/>
                      <a:pt x="234" y="485"/>
                    </a:cubicBezTo>
                    <a:cubicBezTo>
                      <a:pt x="235" y="495"/>
                      <a:pt x="244" y="493"/>
                      <a:pt x="247" y="503"/>
                    </a:cubicBezTo>
                    <a:cubicBezTo>
                      <a:pt x="251" y="510"/>
                      <a:pt x="254" y="502"/>
                      <a:pt x="255" y="497"/>
                    </a:cubicBezTo>
                    <a:cubicBezTo>
                      <a:pt x="256" y="494"/>
                      <a:pt x="253" y="488"/>
                      <a:pt x="255" y="487"/>
                    </a:cubicBezTo>
                    <a:cubicBezTo>
                      <a:pt x="258" y="482"/>
                      <a:pt x="261" y="490"/>
                      <a:pt x="267" y="488"/>
                    </a:cubicBezTo>
                    <a:cubicBezTo>
                      <a:pt x="271" y="488"/>
                      <a:pt x="277" y="491"/>
                      <a:pt x="280" y="490"/>
                    </a:cubicBezTo>
                    <a:cubicBezTo>
                      <a:pt x="283" y="489"/>
                      <a:pt x="281" y="481"/>
                      <a:pt x="283" y="481"/>
                    </a:cubicBezTo>
                    <a:cubicBezTo>
                      <a:pt x="288" y="481"/>
                      <a:pt x="290" y="486"/>
                      <a:pt x="295" y="487"/>
                    </a:cubicBezTo>
                    <a:cubicBezTo>
                      <a:pt x="300" y="488"/>
                      <a:pt x="310" y="487"/>
                      <a:pt x="315" y="488"/>
                    </a:cubicBezTo>
                    <a:cubicBezTo>
                      <a:pt x="320" y="489"/>
                      <a:pt x="322" y="491"/>
                      <a:pt x="324" y="494"/>
                    </a:cubicBezTo>
                    <a:cubicBezTo>
                      <a:pt x="326" y="497"/>
                      <a:pt x="323" y="504"/>
                      <a:pt x="325" y="508"/>
                    </a:cubicBezTo>
                    <a:cubicBezTo>
                      <a:pt x="331" y="508"/>
                      <a:pt x="326" y="521"/>
                      <a:pt x="337" y="517"/>
                    </a:cubicBezTo>
                    <a:cubicBezTo>
                      <a:pt x="340" y="519"/>
                      <a:pt x="345" y="519"/>
                      <a:pt x="346" y="523"/>
                    </a:cubicBezTo>
                    <a:cubicBezTo>
                      <a:pt x="347" y="527"/>
                      <a:pt x="344" y="539"/>
                      <a:pt x="345" y="542"/>
                    </a:cubicBezTo>
                    <a:cubicBezTo>
                      <a:pt x="346" y="545"/>
                      <a:pt x="352" y="538"/>
                      <a:pt x="354" y="541"/>
                    </a:cubicBezTo>
                    <a:cubicBezTo>
                      <a:pt x="356" y="544"/>
                      <a:pt x="355" y="558"/>
                      <a:pt x="358" y="562"/>
                    </a:cubicBezTo>
                    <a:cubicBezTo>
                      <a:pt x="361" y="566"/>
                      <a:pt x="369" y="565"/>
                      <a:pt x="372" y="568"/>
                    </a:cubicBezTo>
                    <a:cubicBezTo>
                      <a:pt x="375" y="571"/>
                      <a:pt x="374" y="577"/>
                      <a:pt x="376" y="581"/>
                    </a:cubicBezTo>
                    <a:cubicBezTo>
                      <a:pt x="381" y="583"/>
                      <a:pt x="371" y="592"/>
                      <a:pt x="387" y="592"/>
                    </a:cubicBezTo>
                    <a:cubicBezTo>
                      <a:pt x="388" y="597"/>
                      <a:pt x="384" y="605"/>
                      <a:pt x="385" y="610"/>
                    </a:cubicBezTo>
                    <a:cubicBezTo>
                      <a:pt x="386" y="615"/>
                      <a:pt x="393" y="620"/>
                      <a:pt x="396" y="622"/>
                    </a:cubicBezTo>
                    <a:cubicBezTo>
                      <a:pt x="399" y="624"/>
                      <a:pt x="402" y="623"/>
                      <a:pt x="405" y="625"/>
                    </a:cubicBezTo>
                    <a:cubicBezTo>
                      <a:pt x="408" y="627"/>
                      <a:pt x="408" y="631"/>
                      <a:pt x="411" y="634"/>
                    </a:cubicBezTo>
                    <a:cubicBezTo>
                      <a:pt x="414" y="637"/>
                      <a:pt x="422" y="642"/>
                      <a:pt x="426" y="643"/>
                    </a:cubicBezTo>
                    <a:cubicBezTo>
                      <a:pt x="430" y="644"/>
                      <a:pt x="435" y="644"/>
                      <a:pt x="438" y="641"/>
                    </a:cubicBezTo>
                    <a:cubicBezTo>
                      <a:pt x="441" y="638"/>
                      <a:pt x="441" y="627"/>
                      <a:pt x="445" y="623"/>
                    </a:cubicBezTo>
                    <a:cubicBezTo>
                      <a:pt x="449" y="619"/>
                      <a:pt x="459" y="621"/>
                      <a:pt x="462" y="617"/>
                    </a:cubicBezTo>
                    <a:cubicBezTo>
                      <a:pt x="465" y="613"/>
                      <a:pt x="463" y="604"/>
                      <a:pt x="465" y="599"/>
                    </a:cubicBezTo>
                    <a:cubicBezTo>
                      <a:pt x="467" y="594"/>
                      <a:pt x="471" y="588"/>
                      <a:pt x="472" y="584"/>
                    </a:cubicBezTo>
                    <a:cubicBezTo>
                      <a:pt x="473" y="580"/>
                      <a:pt x="471" y="576"/>
                      <a:pt x="471" y="572"/>
                    </a:cubicBezTo>
                    <a:cubicBezTo>
                      <a:pt x="469" y="565"/>
                      <a:pt x="474" y="562"/>
                      <a:pt x="474" y="562"/>
                    </a:cubicBezTo>
                    <a:cubicBezTo>
                      <a:pt x="489" y="579"/>
                      <a:pt x="477" y="552"/>
                      <a:pt x="478" y="548"/>
                    </a:cubicBezTo>
                    <a:cubicBezTo>
                      <a:pt x="479" y="544"/>
                      <a:pt x="483" y="542"/>
                      <a:pt x="483" y="538"/>
                    </a:cubicBezTo>
                    <a:cubicBezTo>
                      <a:pt x="483" y="534"/>
                      <a:pt x="478" y="526"/>
                      <a:pt x="477" y="521"/>
                    </a:cubicBezTo>
                    <a:cubicBezTo>
                      <a:pt x="476" y="516"/>
                      <a:pt x="473" y="508"/>
                      <a:pt x="474" y="505"/>
                    </a:cubicBezTo>
                    <a:cubicBezTo>
                      <a:pt x="475" y="502"/>
                      <a:pt x="482" y="502"/>
                      <a:pt x="484" y="500"/>
                    </a:cubicBezTo>
                    <a:cubicBezTo>
                      <a:pt x="486" y="498"/>
                      <a:pt x="485" y="495"/>
                      <a:pt x="487" y="493"/>
                    </a:cubicBezTo>
                    <a:cubicBezTo>
                      <a:pt x="489" y="491"/>
                      <a:pt x="494" y="493"/>
                      <a:pt x="496" y="490"/>
                    </a:cubicBezTo>
                    <a:cubicBezTo>
                      <a:pt x="498" y="487"/>
                      <a:pt x="500" y="479"/>
                      <a:pt x="498" y="476"/>
                    </a:cubicBezTo>
                    <a:cubicBezTo>
                      <a:pt x="496" y="473"/>
                      <a:pt x="487" y="472"/>
                      <a:pt x="487" y="470"/>
                    </a:cubicBezTo>
                    <a:cubicBezTo>
                      <a:pt x="487" y="468"/>
                      <a:pt x="494" y="466"/>
                      <a:pt x="495" y="463"/>
                    </a:cubicBezTo>
                    <a:cubicBezTo>
                      <a:pt x="496" y="460"/>
                      <a:pt x="492" y="455"/>
                      <a:pt x="493" y="451"/>
                    </a:cubicBezTo>
                    <a:cubicBezTo>
                      <a:pt x="494" y="447"/>
                      <a:pt x="501" y="444"/>
                      <a:pt x="502" y="439"/>
                    </a:cubicBezTo>
                    <a:cubicBezTo>
                      <a:pt x="503" y="434"/>
                      <a:pt x="501" y="424"/>
                      <a:pt x="499" y="418"/>
                    </a:cubicBezTo>
                    <a:cubicBezTo>
                      <a:pt x="497" y="412"/>
                      <a:pt x="490" y="408"/>
                      <a:pt x="490" y="404"/>
                    </a:cubicBezTo>
                    <a:cubicBezTo>
                      <a:pt x="490" y="400"/>
                      <a:pt x="496" y="398"/>
                      <a:pt x="498" y="394"/>
                    </a:cubicBezTo>
                    <a:cubicBezTo>
                      <a:pt x="500" y="390"/>
                      <a:pt x="504" y="386"/>
                      <a:pt x="505" y="382"/>
                    </a:cubicBezTo>
                    <a:cubicBezTo>
                      <a:pt x="506" y="378"/>
                      <a:pt x="504" y="374"/>
                      <a:pt x="505" y="371"/>
                    </a:cubicBezTo>
                    <a:cubicBezTo>
                      <a:pt x="506" y="368"/>
                      <a:pt x="512" y="365"/>
                      <a:pt x="513" y="361"/>
                    </a:cubicBezTo>
                    <a:cubicBezTo>
                      <a:pt x="523" y="358"/>
                      <a:pt x="500" y="348"/>
                      <a:pt x="511" y="346"/>
                    </a:cubicBezTo>
                    <a:cubicBezTo>
                      <a:pt x="522" y="353"/>
                      <a:pt x="514" y="328"/>
                      <a:pt x="513" y="322"/>
                    </a:cubicBezTo>
                    <a:cubicBezTo>
                      <a:pt x="512" y="316"/>
                      <a:pt x="504" y="310"/>
                      <a:pt x="505" y="307"/>
                    </a:cubicBezTo>
                    <a:cubicBezTo>
                      <a:pt x="506" y="304"/>
                      <a:pt x="515" y="308"/>
                      <a:pt x="517" y="305"/>
                    </a:cubicBezTo>
                    <a:cubicBezTo>
                      <a:pt x="527" y="311"/>
                      <a:pt x="518" y="296"/>
                      <a:pt x="517" y="292"/>
                    </a:cubicBezTo>
                    <a:cubicBezTo>
                      <a:pt x="516" y="289"/>
                      <a:pt x="512" y="287"/>
                      <a:pt x="513" y="284"/>
                    </a:cubicBezTo>
                    <a:cubicBezTo>
                      <a:pt x="514" y="281"/>
                      <a:pt x="518" y="278"/>
                      <a:pt x="520" y="274"/>
                    </a:cubicBezTo>
                    <a:cubicBezTo>
                      <a:pt x="522" y="270"/>
                      <a:pt x="525" y="266"/>
                      <a:pt x="526" y="262"/>
                    </a:cubicBezTo>
                    <a:cubicBezTo>
                      <a:pt x="527" y="258"/>
                      <a:pt x="526" y="255"/>
                      <a:pt x="525" y="250"/>
                    </a:cubicBezTo>
                    <a:cubicBezTo>
                      <a:pt x="524" y="245"/>
                      <a:pt x="518" y="236"/>
                      <a:pt x="519" y="232"/>
                    </a:cubicBezTo>
                    <a:cubicBezTo>
                      <a:pt x="526" y="232"/>
                      <a:pt x="530" y="230"/>
                      <a:pt x="532" y="227"/>
                    </a:cubicBezTo>
                    <a:cubicBezTo>
                      <a:pt x="534" y="224"/>
                      <a:pt x="530" y="217"/>
                      <a:pt x="531" y="212"/>
                    </a:cubicBezTo>
                    <a:cubicBezTo>
                      <a:pt x="532" y="207"/>
                      <a:pt x="537" y="201"/>
                      <a:pt x="540" y="196"/>
                    </a:cubicBezTo>
                    <a:cubicBezTo>
                      <a:pt x="543" y="191"/>
                      <a:pt x="543" y="181"/>
                      <a:pt x="547" y="179"/>
                    </a:cubicBezTo>
                    <a:cubicBezTo>
                      <a:pt x="551" y="177"/>
                      <a:pt x="556" y="182"/>
                      <a:pt x="562" y="182"/>
                    </a:cubicBezTo>
                    <a:cubicBezTo>
                      <a:pt x="568" y="182"/>
                      <a:pt x="577" y="183"/>
                      <a:pt x="583" y="182"/>
                    </a:cubicBezTo>
                    <a:cubicBezTo>
                      <a:pt x="589" y="181"/>
                      <a:pt x="595" y="179"/>
                      <a:pt x="597" y="175"/>
                    </a:cubicBezTo>
                    <a:cubicBezTo>
                      <a:pt x="599" y="171"/>
                      <a:pt x="597" y="167"/>
                      <a:pt x="597" y="160"/>
                    </a:cubicBezTo>
                    <a:cubicBezTo>
                      <a:pt x="597" y="153"/>
                      <a:pt x="600" y="139"/>
                      <a:pt x="598" y="134"/>
                    </a:cubicBezTo>
                    <a:cubicBezTo>
                      <a:pt x="596" y="129"/>
                      <a:pt x="587" y="132"/>
                      <a:pt x="585" y="127"/>
                    </a:cubicBezTo>
                    <a:cubicBezTo>
                      <a:pt x="583" y="122"/>
                      <a:pt x="589" y="109"/>
                      <a:pt x="588" y="104"/>
                    </a:cubicBezTo>
                    <a:cubicBezTo>
                      <a:pt x="587" y="99"/>
                      <a:pt x="580" y="98"/>
                      <a:pt x="579" y="95"/>
                    </a:cubicBezTo>
                    <a:cubicBezTo>
                      <a:pt x="578" y="92"/>
                      <a:pt x="580" y="92"/>
                      <a:pt x="580" y="85"/>
                    </a:cubicBezTo>
                    <a:cubicBezTo>
                      <a:pt x="580" y="78"/>
                      <a:pt x="579" y="59"/>
                      <a:pt x="576" y="55"/>
                    </a:cubicBezTo>
                    <a:cubicBezTo>
                      <a:pt x="573" y="51"/>
                      <a:pt x="564" y="62"/>
                      <a:pt x="561" y="61"/>
                    </a:cubicBezTo>
                    <a:cubicBezTo>
                      <a:pt x="558" y="60"/>
                      <a:pt x="558" y="54"/>
                      <a:pt x="556" y="50"/>
                    </a:cubicBezTo>
                    <a:cubicBezTo>
                      <a:pt x="554" y="46"/>
                      <a:pt x="551" y="42"/>
                      <a:pt x="547" y="38"/>
                    </a:cubicBezTo>
                    <a:cubicBezTo>
                      <a:pt x="543" y="34"/>
                      <a:pt x="536" y="32"/>
                      <a:pt x="531" y="28"/>
                    </a:cubicBezTo>
                    <a:cubicBezTo>
                      <a:pt x="526" y="24"/>
                      <a:pt x="523" y="18"/>
                      <a:pt x="519" y="14"/>
                    </a:cubicBezTo>
                    <a:cubicBezTo>
                      <a:pt x="515" y="10"/>
                      <a:pt x="509" y="2"/>
                      <a:pt x="505" y="1"/>
                    </a:cubicBezTo>
                    <a:cubicBezTo>
                      <a:pt x="501" y="0"/>
                      <a:pt x="497" y="10"/>
                      <a:pt x="493" y="11"/>
                    </a:cubicBezTo>
                    <a:cubicBezTo>
                      <a:pt x="489" y="12"/>
                      <a:pt x="485" y="7"/>
                      <a:pt x="481" y="8"/>
                    </a:cubicBezTo>
                    <a:cubicBezTo>
                      <a:pt x="477" y="9"/>
                      <a:pt x="473" y="17"/>
                      <a:pt x="468" y="17"/>
                    </a:cubicBezTo>
                    <a:cubicBezTo>
                      <a:pt x="463" y="17"/>
                      <a:pt x="466" y="11"/>
                      <a:pt x="453" y="10"/>
                    </a:cubicBezTo>
                    <a:cubicBezTo>
                      <a:pt x="440" y="9"/>
                      <a:pt x="400" y="6"/>
                      <a:pt x="387" y="8"/>
                    </a:cubicBezTo>
                    <a:cubicBezTo>
                      <a:pt x="374" y="10"/>
                      <a:pt x="380" y="17"/>
                      <a:pt x="375" y="19"/>
                    </a:cubicBezTo>
                    <a:cubicBezTo>
                      <a:pt x="370" y="21"/>
                      <a:pt x="358" y="18"/>
                      <a:pt x="354" y="19"/>
                    </a:cubicBezTo>
                    <a:cubicBezTo>
                      <a:pt x="350" y="20"/>
                      <a:pt x="353" y="26"/>
                      <a:pt x="351" y="28"/>
                    </a:cubicBezTo>
                    <a:cubicBezTo>
                      <a:pt x="349" y="30"/>
                      <a:pt x="346" y="33"/>
                      <a:pt x="343" y="34"/>
                    </a:cubicBezTo>
                    <a:cubicBezTo>
                      <a:pt x="340" y="35"/>
                      <a:pt x="337" y="31"/>
                      <a:pt x="333" y="32"/>
                    </a:cubicBezTo>
                    <a:cubicBezTo>
                      <a:pt x="326" y="25"/>
                      <a:pt x="325" y="40"/>
                      <a:pt x="318" y="43"/>
                    </a:cubicBezTo>
                    <a:cubicBezTo>
                      <a:pt x="311" y="46"/>
                      <a:pt x="299" y="49"/>
                      <a:pt x="292" y="49"/>
                    </a:cubicBezTo>
                    <a:cubicBezTo>
                      <a:pt x="288" y="56"/>
                      <a:pt x="279" y="45"/>
                      <a:pt x="274" y="44"/>
                    </a:cubicBezTo>
                    <a:cubicBezTo>
                      <a:pt x="269" y="43"/>
                      <a:pt x="262" y="40"/>
                      <a:pt x="259" y="41"/>
                    </a:cubicBezTo>
                    <a:cubicBezTo>
                      <a:pt x="256" y="42"/>
                      <a:pt x="258" y="49"/>
                      <a:pt x="256" y="52"/>
                    </a:cubicBezTo>
                    <a:cubicBezTo>
                      <a:pt x="254" y="55"/>
                      <a:pt x="245" y="59"/>
                      <a:pt x="244" y="6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7"/>
              <p:cNvSpPr>
                <a:spLocks/>
              </p:cNvSpPr>
              <p:nvPr/>
            </p:nvSpPr>
            <p:spPr bwMode="auto">
              <a:xfrm>
                <a:off x="1429761" y="4547685"/>
                <a:ext cx="2875700" cy="1573325"/>
              </a:xfrm>
              <a:custGeom>
                <a:avLst/>
                <a:gdLst/>
                <a:ahLst/>
                <a:cxnLst>
                  <a:cxn ang="0">
                    <a:pos x="67" y="19"/>
                  </a:cxn>
                  <a:cxn ang="0">
                    <a:pos x="115" y="21"/>
                  </a:cxn>
                  <a:cxn ang="0">
                    <a:pos x="148" y="33"/>
                  </a:cxn>
                  <a:cxn ang="0">
                    <a:pos x="185" y="61"/>
                  </a:cxn>
                  <a:cxn ang="0">
                    <a:pos x="221" y="70"/>
                  </a:cxn>
                  <a:cxn ang="0">
                    <a:pos x="265" y="79"/>
                  </a:cxn>
                  <a:cxn ang="0">
                    <a:pos x="311" y="61"/>
                  </a:cxn>
                  <a:cxn ang="0">
                    <a:pos x="361" y="39"/>
                  </a:cxn>
                  <a:cxn ang="0">
                    <a:pos x="409" y="37"/>
                  </a:cxn>
                  <a:cxn ang="0">
                    <a:pos x="448" y="46"/>
                  </a:cxn>
                  <a:cxn ang="0">
                    <a:pos x="503" y="45"/>
                  </a:cxn>
                  <a:cxn ang="0">
                    <a:pos x="541" y="7"/>
                  </a:cxn>
                  <a:cxn ang="0">
                    <a:pos x="584" y="4"/>
                  </a:cxn>
                  <a:cxn ang="0">
                    <a:pos x="611" y="30"/>
                  </a:cxn>
                  <a:cxn ang="0">
                    <a:pos x="640" y="66"/>
                  </a:cxn>
                  <a:cxn ang="0">
                    <a:pos x="659" y="108"/>
                  </a:cxn>
                  <a:cxn ang="0">
                    <a:pos x="665" y="175"/>
                  </a:cxn>
                  <a:cxn ang="0">
                    <a:pos x="658" y="211"/>
                  </a:cxn>
                  <a:cxn ang="0">
                    <a:pos x="653" y="261"/>
                  </a:cxn>
                  <a:cxn ang="0">
                    <a:pos x="667" y="298"/>
                  </a:cxn>
                  <a:cxn ang="0">
                    <a:pos x="698" y="337"/>
                  </a:cxn>
                  <a:cxn ang="0">
                    <a:pos x="739" y="360"/>
                  </a:cxn>
                  <a:cxn ang="0">
                    <a:pos x="743" y="399"/>
                  </a:cxn>
                  <a:cxn ang="0">
                    <a:pos x="703" y="378"/>
                  </a:cxn>
                  <a:cxn ang="0">
                    <a:pos x="664" y="360"/>
                  </a:cxn>
                  <a:cxn ang="0">
                    <a:pos x="631" y="363"/>
                  </a:cxn>
                  <a:cxn ang="0">
                    <a:pos x="578" y="360"/>
                  </a:cxn>
                  <a:cxn ang="0">
                    <a:pos x="527" y="373"/>
                  </a:cxn>
                  <a:cxn ang="0">
                    <a:pos x="496" y="390"/>
                  </a:cxn>
                  <a:cxn ang="0">
                    <a:pos x="452" y="397"/>
                  </a:cxn>
                  <a:cxn ang="0">
                    <a:pos x="449" y="348"/>
                  </a:cxn>
                  <a:cxn ang="0">
                    <a:pos x="455" y="267"/>
                  </a:cxn>
                  <a:cxn ang="0">
                    <a:pos x="380" y="235"/>
                  </a:cxn>
                  <a:cxn ang="0">
                    <a:pos x="253" y="232"/>
                  </a:cxn>
                  <a:cxn ang="0">
                    <a:pos x="218" y="250"/>
                  </a:cxn>
                  <a:cxn ang="0">
                    <a:pos x="169" y="252"/>
                  </a:cxn>
                  <a:cxn ang="0">
                    <a:pos x="104" y="244"/>
                  </a:cxn>
                  <a:cxn ang="0">
                    <a:pos x="125" y="166"/>
                  </a:cxn>
                  <a:cxn ang="0">
                    <a:pos x="97" y="100"/>
                  </a:cxn>
                  <a:cxn ang="0">
                    <a:pos x="43" y="73"/>
                  </a:cxn>
                  <a:cxn ang="0">
                    <a:pos x="11" y="73"/>
                  </a:cxn>
                  <a:cxn ang="0">
                    <a:pos x="13" y="21"/>
                  </a:cxn>
                </a:cxnLst>
                <a:rect l="0" t="0" r="r" b="b"/>
                <a:pathLst>
                  <a:path w="744" h="412">
                    <a:moveTo>
                      <a:pt x="34" y="9"/>
                    </a:moveTo>
                    <a:cubicBezTo>
                      <a:pt x="36" y="10"/>
                      <a:pt x="48" y="11"/>
                      <a:pt x="53" y="13"/>
                    </a:cubicBezTo>
                    <a:cubicBezTo>
                      <a:pt x="58" y="15"/>
                      <a:pt x="63" y="18"/>
                      <a:pt x="67" y="19"/>
                    </a:cubicBezTo>
                    <a:cubicBezTo>
                      <a:pt x="72" y="22"/>
                      <a:pt x="74" y="20"/>
                      <a:pt x="80" y="21"/>
                    </a:cubicBezTo>
                    <a:cubicBezTo>
                      <a:pt x="88" y="20"/>
                      <a:pt x="90" y="24"/>
                      <a:pt x="97" y="27"/>
                    </a:cubicBezTo>
                    <a:cubicBezTo>
                      <a:pt x="102" y="27"/>
                      <a:pt x="109" y="20"/>
                      <a:pt x="115" y="21"/>
                    </a:cubicBezTo>
                    <a:cubicBezTo>
                      <a:pt x="121" y="22"/>
                      <a:pt x="127" y="27"/>
                      <a:pt x="131" y="30"/>
                    </a:cubicBezTo>
                    <a:cubicBezTo>
                      <a:pt x="135" y="33"/>
                      <a:pt x="137" y="36"/>
                      <a:pt x="140" y="36"/>
                    </a:cubicBezTo>
                    <a:cubicBezTo>
                      <a:pt x="147" y="38"/>
                      <a:pt x="145" y="32"/>
                      <a:pt x="148" y="33"/>
                    </a:cubicBezTo>
                    <a:cubicBezTo>
                      <a:pt x="151" y="34"/>
                      <a:pt x="153" y="39"/>
                      <a:pt x="157" y="42"/>
                    </a:cubicBezTo>
                    <a:cubicBezTo>
                      <a:pt x="164" y="44"/>
                      <a:pt x="167" y="48"/>
                      <a:pt x="172" y="51"/>
                    </a:cubicBezTo>
                    <a:cubicBezTo>
                      <a:pt x="177" y="54"/>
                      <a:pt x="181" y="58"/>
                      <a:pt x="185" y="61"/>
                    </a:cubicBezTo>
                    <a:cubicBezTo>
                      <a:pt x="191" y="67"/>
                      <a:pt x="195" y="66"/>
                      <a:pt x="199" y="69"/>
                    </a:cubicBezTo>
                    <a:cubicBezTo>
                      <a:pt x="203" y="72"/>
                      <a:pt x="205" y="76"/>
                      <a:pt x="209" y="76"/>
                    </a:cubicBezTo>
                    <a:cubicBezTo>
                      <a:pt x="215" y="77"/>
                      <a:pt x="218" y="70"/>
                      <a:pt x="221" y="70"/>
                    </a:cubicBezTo>
                    <a:cubicBezTo>
                      <a:pt x="224" y="70"/>
                      <a:pt x="226" y="74"/>
                      <a:pt x="230" y="76"/>
                    </a:cubicBezTo>
                    <a:cubicBezTo>
                      <a:pt x="235" y="80"/>
                      <a:pt x="238" y="84"/>
                      <a:pt x="244" y="85"/>
                    </a:cubicBezTo>
                    <a:cubicBezTo>
                      <a:pt x="250" y="84"/>
                      <a:pt x="258" y="82"/>
                      <a:pt x="265" y="79"/>
                    </a:cubicBezTo>
                    <a:cubicBezTo>
                      <a:pt x="272" y="76"/>
                      <a:pt x="280" y="72"/>
                      <a:pt x="286" y="67"/>
                    </a:cubicBezTo>
                    <a:cubicBezTo>
                      <a:pt x="292" y="62"/>
                      <a:pt x="295" y="53"/>
                      <a:pt x="299" y="52"/>
                    </a:cubicBezTo>
                    <a:cubicBezTo>
                      <a:pt x="301" y="40"/>
                      <a:pt x="291" y="66"/>
                      <a:pt x="311" y="61"/>
                    </a:cubicBezTo>
                    <a:cubicBezTo>
                      <a:pt x="317" y="58"/>
                      <a:pt x="321" y="54"/>
                      <a:pt x="326" y="51"/>
                    </a:cubicBezTo>
                    <a:cubicBezTo>
                      <a:pt x="331" y="48"/>
                      <a:pt x="337" y="44"/>
                      <a:pt x="343" y="42"/>
                    </a:cubicBezTo>
                    <a:cubicBezTo>
                      <a:pt x="349" y="40"/>
                      <a:pt x="355" y="40"/>
                      <a:pt x="361" y="39"/>
                    </a:cubicBezTo>
                    <a:cubicBezTo>
                      <a:pt x="367" y="38"/>
                      <a:pt x="371" y="35"/>
                      <a:pt x="377" y="34"/>
                    </a:cubicBezTo>
                    <a:cubicBezTo>
                      <a:pt x="391" y="30"/>
                      <a:pt x="390" y="30"/>
                      <a:pt x="395" y="30"/>
                    </a:cubicBezTo>
                    <a:cubicBezTo>
                      <a:pt x="400" y="30"/>
                      <a:pt x="404" y="34"/>
                      <a:pt x="409" y="37"/>
                    </a:cubicBezTo>
                    <a:cubicBezTo>
                      <a:pt x="414" y="40"/>
                      <a:pt x="421" y="43"/>
                      <a:pt x="425" y="45"/>
                    </a:cubicBezTo>
                    <a:cubicBezTo>
                      <a:pt x="434" y="46"/>
                      <a:pt x="432" y="52"/>
                      <a:pt x="436" y="52"/>
                    </a:cubicBezTo>
                    <a:cubicBezTo>
                      <a:pt x="440" y="52"/>
                      <a:pt x="443" y="47"/>
                      <a:pt x="448" y="46"/>
                    </a:cubicBezTo>
                    <a:cubicBezTo>
                      <a:pt x="453" y="45"/>
                      <a:pt x="463" y="45"/>
                      <a:pt x="469" y="46"/>
                    </a:cubicBezTo>
                    <a:cubicBezTo>
                      <a:pt x="475" y="47"/>
                      <a:pt x="478" y="52"/>
                      <a:pt x="484" y="52"/>
                    </a:cubicBezTo>
                    <a:cubicBezTo>
                      <a:pt x="494" y="51"/>
                      <a:pt x="494" y="48"/>
                      <a:pt x="503" y="45"/>
                    </a:cubicBezTo>
                    <a:cubicBezTo>
                      <a:pt x="497" y="39"/>
                      <a:pt x="508" y="34"/>
                      <a:pt x="511" y="30"/>
                    </a:cubicBezTo>
                    <a:cubicBezTo>
                      <a:pt x="514" y="26"/>
                      <a:pt x="519" y="25"/>
                      <a:pt x="524" y="21"/>
                    </a:cubicBezTo>
                    <a:cubicBezTo>
                      <a:pt x="530" y="16"/>
                      <a:pt x="536" y="8"/>
                      <a:pt x="541" y="7"/>
                    </a:cubicBezTo>
                    <a:cubicBezTo>
                      <a:pt x="546" y="5"/>
                      <a:pt x="552" y="8"/>
                      <a:pt x="557" y="7"/>
                    </a:cubicBezTo>
                    <a:cubicBezTo>
                      <a:pt x="564" y="5"/>
                      <a:pt x="567" y="0"/>
                      <a:pt x="571" y="0"/>
                    </a:cubicBezTo>
                    <a:cubicBezTo>
                      <a:pt x="575" y="0"/>
                      <a:pt x="579" y="3"/>
                      <a:pt x="584" y="4"/>
                    </a:cubicBezTo>
                    <a:cubicBezTo>
                      <a:pt x="589" y="5"/>
                      <a:pt x="598" y="2"/>
                      <a:pt x="602" y="4"/>
                    </a:cubicBezTo>
                    <a:cubicBezTo>
                      <a:pt x="609" y="5"/>
                      <a:pt x="606" y="14"/>
                      <a:pt x="607" y="18"/>
                    </a:cubicBezTo>
                    <a:cubicBezTo>
                      <a:pt x="608" y="22"/>
                      <a:pt x="610" y="25"/>
                      <a:pt x="611" y="30"/>
                    </a:cubicBezTo>
                    <a:cubicBezTo>
                      <a:pt x="613" y="36"/>
                      <a:pt x="614" y="44"/>
                      <a:pt x="616" y="49"/>
                    </a:cubicBezTo>
                    <a:cubicBezTo>
                      <a:pt x="618" y="54"/>
                      <a:pt x="621" y="60"/>
                      <a:pt x="625" y="63"/>
                    </a:cubicBezTo>
                    <a:cubicBezTo>
                      <a:pt x="626" y="64"/>
                      <a:pt x="639" y="66"/>
                      <a:pt x="640" y="66"/>
                    </a:cubicBezTo>
                    <a:cubicBezTo>
                      <a:pt x="647" y="67"/>
                      <a:pt x="647" y="64"/>
                      <a:pt x="653" y="66"/>
                    </a:cubicBezTo>
                    <a:cubicBezTo>
                      <a:pt x="653" y="66"/>
                      <a:pt x="658" y="76"/>
                      <a:pt x="659" y="78"/>
                    </a:cubicBezTo>
                    <a:cubicBezTo>
                      <a:pt x="658" y="88"/>
                      <a:pt x="665" y="88"/>
                      <a:pt x="659" y="108"/>
                    </a:cubicBezTo>
                    <a:cubicBezTo>
                      <a:pt x="659" y="118"/>
                      <a:pt x="659" y="127"/>
                      <a:pt x="659" y="136"/>
                    </a:cubicBezTo>
                    <a:cubicBezTo>
                      <a:pt x="659" y="145"/>
                      <a:pt x="658" y="154"/>
                      <a:pt x="659" y="160"/>
                    </a:cubicBezTo>
                    <a:cubicBezTo>
                      <a:pt x="660" y="166"/>
                      <a:pt x="664" y="170"/>
                      <a:pt x="665" y="175"/>
                    </a:cubicBezTo>
                    <a:cubicBezTo>
                      <a:pt x="666" y="180"/>
                      <a:pt x="664" y="186"/>
                      <a:pt x="664" y="190"/>
                    </a:cubicBezTo>
                    <a:cubicBezTo>
                      <a:pt x="664" y="194"/>
                      <a:pt x="665" y="198"/>
                      <a:pt x="664" y="202"/>
                    </a:cubicBezTo>
                    <a:cubicBezTo>
                      <a:pt x="663" y="206"/>
                      <a:pt x="662" y="213"/>
                      <a:pt x="658" y="211"/>
                    </a:cubicBezTo>
                    <a:cubicBezTo>
                      <a:pt x="655" y="216"/>
                      <a:pt x="663" y="219"/>
                      <a:pt x="656" y="226"/>
                    </a:cubicBezTo>
                    <a:cubicBezTo>
                      <a:pt x="655" y="231"/>
                      <a:pt x="653" y="237"/>
                      <a:pt x="653" y="243"/>
                    </a:cubicBezTo>
                    <a:cubicBezTo>
                      <a:pt x="653" y="249"/>
                      <a:pt x="653" y="256"/>
                      <a:pt x="653" y="261"/>
                    </a:cubicBezTo>
                    <a:cubicBezTo>
                      <a:pt x="649" y="276"/>
                      <a:pt x="651" y="270"/>
                      <a:pt x="653" y="273"/>
                    </a:cubicBezTo>
                    <a:cubicBezTo>
                      <a:pt x="655" y="276"/>
                      <a:pt x="663" y="278"/>
                      <a:pt x="665" y="282"/>
                    </a:cubicBezTo>
                    <a:cubicBezTo>
                      <a:pt x="667" y="286"/>
                      <a:pt x="666" y="293"/>
                      <a:pt x="667" y="298"/>
                    </a:cubicBezTo>
                    <a:cubicBezTo>
                      <a:pt x="668" y="303"/>
                      <a:pt x="667" y="308"/>
                      <a:pt x="670" y="312"/>
                    </a:cubicBezTo>
                    <a:cubicBezTo>
                      <a:pt x="673" y="316"/>
                      <a:pt x="678" y="320"/>
                      <a:pt x="683" y="324"/>
                    </a:cubicBezTo>
                    <a:cubicBezTo>
                      <a:pt x="688" y="332"/>
                      <a:pt x="689" y="335"/>
                      <a:pt x="698" y="337"/>
                    </a:cubicBezTo>
                    <a:cubicBezTo>
                      <a:pt x="702" y="340"/>
                      <a:pt x="707" y="337"/>
                      <a:pt x="710" y="340"/>
                    </a:cubicBezTo>
                    <a:cubicBezTo>
                      <a:pt x="714" y="341"/>
                      <a:pt x="717" y="343"/>
                      <a:pt x="722" y="346"/>
                    </a:cubicBezTo>
                    <a:cubicBezTo>
                      <a:pt x="726" y="350"/>
                      <a:pt x="737" y="356"/>
                      <a:pt x="739" y="360"/>
                    </a:cubicBezTo>
                    <a:cubicBezTo>
                      <a:pt x="742" y="364"/>
                      <a:pt x="742" y="369"/>
                      <a:pt x="742" y="373"/>
                    </a:cubicBezTo>
                    <a:cubicBezTo>
                      <a:pt x="743" y="379"/>
                      <a:pt x="740" y="379"/>
                      <a:pt x="742" y="385"/>
                    </a:cubicBezTo>
                    <a:cubicBezTo>
                      <a:pt x="742" y="389"/>
                      <a:pt x="744" y="395"/>
                      <a:pt x="743" y="399"/>
                    </a:cubicBezTo>
                    <a:cubicBezTo>
                      <a:pt x="741" y="403"/>
                      <a:pt x="735" y="412"/>
                      <a:pt x="731" y="411"/>
                    </a:cubicBezTo>
                    <a:cubicBezTo>
                      <a:pt x="724" y="406"/>
                      <a:pt x="730" y="394"/>
                      <a:pt x="721" y="391"/>
                    </a:cubicBezTo>
                    <a:cubicBezTo>
                      <a:pt x="715" y="384"/>
                      <a:pt x="710" y="384"/>
                      <a:pt x="703" y="378"/>
                    </a:cubicBezTo>
                    <a:cubicBezTo>
                      <a:pt x="699" y="372"/>
                      <a:pt x="698" y="369"/>
                      <a:pt x="691" y="366"/>
                    </a:cubicBezTo>
                    <a:cubicBezTo>
                      <a:pt x="687" y="360"/>
                      <a:pt x="686" y="356"/>
                      <a:pt x="680" y="352"/>
                    </a:cubicBezTo>
                    <a:cubicBezTo>
                      <a:pt x="667" y="355"/>
                      <a:pt x="673" y="353"/>
                      <a:pt x="664" y="360"/>
                    </a:cubicBezTo>
                    <a:cubicBezTo>
                      <a:pt x="658" y="356"/>
                      <a:pt x="657" y="360"/>
                      <a:pt x="649" y="361"/>
                    </a:cubicBezTo>
                    <a:cubicBezTo>
                      <a:pt x="643" y="373"/>
                      <a:pt x="650" y="371"/>
                      <a:pt x="640" y="366"/>
                    </a:cubicBezTo>
                    <a:cubicBezTo>
                      <a:pt x="637" y="364"/>
                      <a:pt x="635" y="364"/>
                      <a:pt x="631" y="363"/>
                    </a:cubicBezTo>
                    <a:cubicBezTo>
                      <a:pt x="627" y="362"/>
                      <a:pt x="619" y="360"/>
                      <a:pt x="614" y="360"/>
                    </a:cubicBezTo>
                    <a:cubicBezTo>
                      <a:pt x="608" y="360"/>
                      <a:pt x="604" y="360"/>
                      <a:pt x="598" y="360"/>
                    </a:cubicBezTo>
                    <a:cubicBezTo>
                      <a:pt x="592" y="360"/>
                      <a:pt x="584" y="360"/>
                      <a:pt x="578" y="360"/>
                    </a:cubicBezTo>
                    <a:cubicBezTo>
                      <a:pt x="572" y="360"/>
                      <a:pt x="564" y="355"/>
                      <a:pt x="559" y="357"/>
                    </a:cubicBezTo>
                    <a:cubicBezTo>
                      <a:pt x="548" y="360"/>
                      <a:pt x="552" y="369"/>
                      <a:pt x="547" y="372"/>
                    </a:cubicBezTo>
                    <a:cubicBezTo>
                      <a:pt x="542" y="375"/>
                      <a:pt x="532" y="371"/>
                      <a:pt x="527" y="373"/>
                    </a:cubicBezTo>
                    <a:cubicBezTo>
                      <a:pt x="521" y="378"/>
                      <a:pt x="521" y="383"/>
                      <a:pt x="518" y="384"/>
                    </a:cubicBezTo>
                    <a:cubicBezTo>
                      <a:pt x="515" y="385"/>
                      <a:pt x="510" y="380"/>
                      <a:pt x="506" y="381"/>
                    </a:cubicBezTo>
                    <a:cubicBezTo>
                      <a:pt x="500" y="383"/>
                      <a:pt x="501" y="388"/>
                      <a:pt x="496" y="390"/>
                    </a:cubicBezTo>
                    <a:cubicBezTo>
                      <a:pt x="491" y="392"/>
                      <a:pt x="483" y="394"/>
                      <a:pt x="478" y="396"/>
                    </a:cubicBezTo>
                    <a:cubicBezTo>
                      <a:pt x="472" y="399"/>
                      <a:pt x="468" y="402"/>
                      <a:pt x="464" y="402"/>
                    </a:cubicBezTo>
                    <a:cubicBezTo>
                      <a:pt x="460" y="402"/>
                      <a:pt x="456" y="399"/>
                      <a:pt x="452" y="397"/>
                    </a:cubicBezTo>
                    <a:cubicBezTo>
                      <a:pt x="448" y="395"/>
                      <a:pt x="441" y="393"/>
                      <a:pt x="442" y="388"/>
                    </a:cubicBezTo>
                    <a:cubicBezTo>
                      <a:pt x="443" y="378"/>
                      <a:pt x="451" y="376"/>
                      <a:pt x="457" y="369"/>
                    </a:cubicBezTo>
                    <a:cubicBezTo>
                      <a:pt x="459" y="361"/>
                      <a:pt x="454" y="355"/>
                      <a:pt x="449" y="348"/>
                    </a:cubicBezTo>
                    <a:cubicBezTo>
                      <a:pt x="453" y="337"/>
                      <a:pt x="452" y="330"/>
                      <a:pt x="463" y="324"/>
                    </a:cubicBezTo>
                    <a:cubicBezTo>
                      <a:pt x="470" y="311"/>
                      <a:pt x="465" y="315"/>
                      <a:pt x="473" y="309"/>
                    </a:cubicBezTo>
                    <a:cubicBezTo>
                      <a:pt x="480" y="297"/>
                      <a:pt x="467" y="273"/>
                      <a:pt x="455" y="267"/>
                    </a:cubicBezTo>
                    <a:cubicBezTo>
                      <a:pt x="450" y="257"/>
                      <a:pt x="444" y="253"/>
                      <a:pt x="434" y="247"/>
                    </a:cubicBezTo>
                    <a:cubicBezTo>
                      <a:pt x="427" y="249"/>
                      <a:pt x="420" y="250"/>
                      <a:pt x="413" y="252"/>
                    </a:cubicBezTo>
                    <a:cubicBezTo>
                      <a:pt x="400" y="248"/>
                      <a:pt x="389" y="244"/>
                      <a:pt x="380" y="235"/>
                    </a:cubicBezTo>
                    <a:cubicBezTo>
                      <a:pt x="376" y="237"/>
                      <a:pt x="371" y="238"/>
                      <a:pt x="367" y="240"/>
                    </a:cubicBezTo>
                    <a:cubicBezTo>
                      <a:pt x="357" y="234"/>
                      <a:pt x="357" y="230"/>
                      <a:pt x="344" y="226"/>
                    </a:cubicBezTo>
                    <a:cubicBezTo>
                      <a:pt x="313" y="227"/>
                      <a:pt x="283" y="228"/>
                      <a:pt x="253" y="232"/>
                    </a:cubicBezTo>
                    <a:cubicBezTo>
                      <a:pt x="248" y="234"/>
                      <a:pt x="244" y="233"/>
                      <a:pt x="239" y="235"/>
                    </a:cubicBezTo>
                    <a:cubicBezTo>
                      <a:pt x="235" y="236"/>
                      <a:pt x="229" y="240"/>
                      <a:pt x="229" y="240"/>
                    </a:cubicBezTo>
                    <a:cubicBezTo>
                      <a:pt x="225" y="245"/>
                      <a:pt x="225" y="249"/>
                      <a:pt x="218" y="250"/>
                    </a:cubicBezTo>
                    <a:cubicBezTo>
                      <a:pt x="212" y="255"/>
                      <a:pt x="206" y="258"/>
                      <a:pt x="199" y="261"/>
                    </a:cubicBezTo>
                    <a:cubicBezTo>
                      <a:pt x="197" y="262"/>
                      <a:pt x="193" y="264"/>
                      <a:pt x="193" y="264"/>
                    </a:cubicBezTo>
                    <a:cubicBezTo>
                      <a:pt x="184" y="261"/>
                      <a:pt x="177" y="256"/>
                      <a:pt x="169" y="252"/>
                    </a:cubicBezTo>
                    <a:cubicBezTo>
                      <a:pt x="160" y="253"/>
                      <a:pt x="154" y="254"/>
                      <a:pt x="146" y="256"/>
                    </a:cubicBezTo>
                    <a:cubicBezTo>
                      <a:pt x="141" y="259"/>
                      <a:pt x="136" y="262"/>
                      <a:pt x="131" y="264"/>
                    </a:cubicBezTo>
                    <a:cubicBezTo>
                      <a:pt x="123" y="260"/>
                      <a:pt x="114" y="250"/>
                      <a:pt x="104" y="244"/>
                    </a:cubicBezTo>
                    <a:cubicBezTo>
                      <a:pt x="100" y="238"/>
                      <a:pt x="90" y="217"/>
                      <a:pt x="86" y="208"/>
                    </a:cubicBezTo>
                    <a:cubicBezTo>
                      <a:pt x="89" y="188"/>
                      <a:pt x="95" y="182"/>
                      <a:pt x="115" y="178"/>
                    </a:cubicBezTo>
                    <a:cubicBezTo>
                      <a:pt x="121" y="174"/>
                      <a:pt x="124" y="174"/>
                      <a:pt x="125" y="166"/>
                    </a:cubicBezTo>
                    <a:cubicBezTo>
                      <a:pt x="115" y="159"/>
                      <a:pt x="117" y="148"/>
                      <a:pt x="127" y="142"/>
                    </a:cubicBezTo>
                    <a:cubicBezTo>
                      <a:pt x="128" y="133"/>
                      <a:pt x="123" y="128"/>
                      <a:pt x="115" y="124"/>
                    </a:cubicBezTo>
                    <a:cubicBezTo>
                      <a:pt x="111" y="115"/>
                      <a:pt x="106" y="104"/>
                      <a:pt x="97" y="100"/>
                    </a:cubicBezTo>
                    <a:cubicBezTo>
                      <a:pt x="86" y="102"/>
                      <a:pt x="84" y="102"/>
                      <a:pt x="86" y="91"/>
                    </a:cubicBezTo>
                    <a:cubicBezTo>
                      <a:pt x="77" y="82"/>
                      <a:pt x="74" y="72"/>
                      <a:pt x="64" y="64"/>
                    </a:cubicBezTo>
                    <a:cubicBezTo>
                      <a:pt x="56" y="67"/>
                      <a:pt x="52" y="71"/>
                      <a:pt x="43" y="73"/>
                    </a:cubicBezTo>
                    <a:cubicBezTo>
                      <a:pt x="38" y="75"/>
                      <a:pt x="34" y="72"/>
                      <a:pt x="31" y="73"/>
                    </a:cubicBezTo>
                    <a:cubicBezTo>
                      <a:pt x="28" y="74"/>
                      <a:pt x="25" y="82"/>
                      <a:pt x="22" y="82"/>
                    </a:cubicBezTo>
                    <a:cubicBezTo>
                      <a:pt x="19" y="82"/>
                      <a:pt x="13" y="76"/>
                      <a:pt x="11" y="73"/>
                    </a:cubicBezTo>
                    <a:cubicBezTo>
                      <a:pt x="9" y="70"/>
                      <a:pt x="8" y="69"/>
                      <a:pt x="7" y="63"/>
                    </a:cubicBezTo>
                    <a:cubicBezTo>
                      <a:pt x="1" y="53"/>
                      <a:pt x="0" y="48"/>
                      <a:pt x="7" y="37"/>
                    </a:cubicBezTo>
                    <a:cubicBezTo>
                      <a:pt x="8" y="31"/>
                      <a:pt x="13" y="21"/>
                      <a:pt x="13" y="21"/>
                    </a:cubicBezTo>
                    <a:cubicBezTo>
                      <a:pt x="15" y="0"/>
                      <a:pt x="18" y="8"/>
                      <a:pt x="35" y="10"/>
                    </a:cubicBezTo>
                    <a:cubicBezTo>
                      <a:pt x="42" y="13"/>
                      <a:pt x="41" y="8"/>
                      <a:pt x="34" y="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8"/>
              <p:cNvSpPr>
                <a:spLocks/>
              </p:cNvSpPr>
              <p:nvPr/>
            </p:nvSpPr>
            <p:spPr bwMode="auto">
              <a:xfrm>
                <a:off x="3637987" y="3752846"/>
                <a:ext cx="3245590" cy="2816282"/>
              </a:xfrm>
              <a:custGeom>
                <a:avLst/>
                <a:gdLst/>
                <a:ahLst/>
                <a:cxnLst>
                  <a:cxn ang="0">
                    <a:pos x="116" y="47"/>
                  </a:cxn>
                  <a:cxn ang="0">
                    <a:pos x="93" y="107"/>
                  </a:cxn>
                  <a:cxn ang="0">
                    <a:pos x="93" y="142"/>
                  </a:cxn>
                  <a:cxn ang="0">
                    <a:pos x="48" y="178"/>
                  </a:cxn>
                  <a:cxn ang="0">
                    <a:pos x="12" y="203"/>
                  </a:cxn>
                  <a:cxn ang="0">
                    <a:pos x="33" y="218"/>
                  </a:cxn>
                  <a:cxn ang="0">
                    <a:pos x="56" y="277"/>
                  </a:cxn>
                  <a:cxn ang="0">
                    <a:pos x="90" y="305"/>
                  </a:cxn>
                  <a:cxn ang="0">
                    <a:pos x="90" y="361"/>
                  </a:cxn>
                  <a:cxn ang="0">
                    <a:pos x="95" y="421"/>
                  </a:cxn>
                  <a:cxn ang="0">
                    <a:pos x="84" y="466"/>
                  </a:cxn>
                  <a:cxn ang="0">
                    <a:pos x="101" y="518"/>
                  </a:cxn>
                  <a:cxn ang="0">
                    <a:pos x="139" y="556"/>
                  </a:cxn>
                  <a:cxn ang="0">
                    <a:pos x="172" y="584"/>
                  </a:cxn>
                  <a:cxn ang="0">
                    <a:pos x="185" y="626"/>
                  </a:cxn>
                  <a:cxn ang="0">
                    <a:pos x="188" y="662"/>
                  </a:cxn>
                  <a:cxn ang="0">
                    <a:pos x="197" y="694"/>
                  </a:cxn>
                  <a:cxn ang="0">
                    <a:pos x="202" y="737"/>
                  </a:cxn>
                  <a:cxn ang="0">
                    <a:pos x="256" y="722"/>
                  </a:cxn>
                  <a:cxn ang="0">
                    <a:pos x="313" y="715"/>
                  </a:cxn>
                  <a:cxn ang="0">
                    <a:pos x="376" y="691"/>
                  </a:cxn>
                  <a:cxn ang="0">
                    <a:pos x="400" y="646"/>
                  </a:cxn>
                  <a:cxn ang="0">
                    <a:pos x="433" y="610"/>
                  </a:cxn>
                  <a:cxn ang="0">
                    <a:pos x="473" y="563"/>
                  </a:cxn>
                  <a:cxn ang="0">
                    <a:pos x="523" y="532"/>
                  </a:cxn>
                  <a:cxn ang="0">
                    <a:pos x="565" y="509"/>
                  </a:cxn>
                  <a:cxn ang="0">
                    <a:pos x="604" y="457"/>
                  </a:cxn>
                  <a:cxn ang="0">
                    <a:pos x="686" y="473"/>
                  </a:cxn>
                  <a:cxn ang="0">
                    <a:pos x="709" y="505"/>
                  </a:cxn>
                  <a:cxn ang="0">
                    <a:pos x="734" y="520"/>
                  </a:cxn>
                  <a:cxn ang="0">
                    <a:pos x="775" y="497"/>
                  </a:cxn>
                  <a:cxn ang="0">
                    <a:pos x="808" y="470"/>
                  </a:cxn>
                  <a:cxn ang="0">
                    <a:pos x="838" y="439"/>
                  </a:cxn>
                  <a:cxn ang="0">
                    <a:pos x="797" y="383"/>
                  </a:cxn>
                  <a:cxn ang="0">
                    <a:pos x="763" y="340"/>
                  </a:cxn>
                  <a:cxn ang="0">
                    <a:pos x="701" y="317"/>
                  </a:cxn>
                  <a:cxn ang="0">
                    <a:pos x="700" y="238"/>
                  </a:cxn>
                  <a:cxn ang="0">
                    <a:pos x="721" y="172"/>
                  </a:cxn>
                  <a:cxn ang="0">
                    <a:pos x="710" y="118"/>
                  </a:cxn>
                  <a:cxn ang="0">
                    <a:pos x="680" y="61"/>
                  </a:cxn>
                  <a:cxn ang="0">
                    <a:pos x="638" y="61"/>
                  </a:cxn>
                  <a:cxn ang="0">
                    <a:pos x="595" y="92"/>
                  </a:cxn>
                  <a:cxn ang="0">
                    <a:pos x="539" y="67"/>
                  </a:cxn>
                  <a:cxn ang="0">
                    <a:pos x="486" y="88"/>
                  </a:cxn>
                  <a:cxn ang="0">
                    <a:pos x="448" y="52"/>
                  </a:cxn>
                  <a:cxn ang="0">
                    <a:pos x="423" y="28"/>
                  </a:cxn>
                  <a:cxn ang="0">
                    <a:pos x="390" y="35"/>
                  </a:cxn>
                  <a:cxn ang="0">
                    <a:pos x="333" y="17"/>
                  </a:cxn>
                  <a:cxn ang="0">
                    <a:pos x="281" y="19"/>
                  </a:cxn>
                  <a:cxn ang="0">
                    <a:pos x="215" y="31"/>
                  </a:cxn>
                  <a:cxn ang="0">
                    <a:pos x="179" y="35"/>
                  </a:cxn>
                  <a:cxn ang="0">
                    <a:pos x="137" y="1"/>
                  </a:cxn>
                </a:cxnLst>
                <a:rect l="0" t="0" r="r" b="b"/>
                <a:pathLst>
                  <a:path w="839" h="738">
                    <a:moveTo>
                      <a:pt x="131" y="20"/>
                    </a:moveTo>
                    <a:cubicBezTo>
                      <a:pt x="131" y="29"/>
                      <a:pt x="120" y="24"/>
                      <a:pt x="119" y="28"/>
                    </a:cubicBezTo>
                    <a:cubicBezTo>
                      <a:pt x="118" y="31"/>
                      <a:pt x="122" y="38"/>
                      <a:pt x="122" y="41"/>
                    </a:cubicBezTo>
                    <a:cubicBezTo>
                      <a:pt x="122" y="44"/>
                      <a:pt x="118" y="43"/>
                      <a:pt x="116" y="47"/>
                    </a:cubicBezTo>
                    <a:cubicBezTo>
                      <a:pt x="114" y="51"/>
                      <a:pt x="110" y="59"/>
                      <a:pt x="108" y="64"/>
                    </a:cubicBezTo>
                    <a:cubicBezTo>
                      <a:pt x="106" y="69"/>
                      <a:pt x="105" y="74"/>
                      <a:pt x="102" y="79"/>
                    </a:cubicBezTo>
                    <a:cubicBezTo>
                      <a:pt x="99" y="84"/>
                      <a:pt x="91" y="89"/>
                      <a:pt x="90" y="94"/>
                    </a:cubicBezTo>
                    <a:cubicBezTo>
                      <a:pt x="89" y="99"/>
                      <a:pt x="93" y="103"/>
                      <a:pt x="93" y="107"/>
                    </a:cubicBezTo>
                    <a:cubicBezTo>
                      <a:pt x="93" y="111"/>
                      <a:pt x="89" y="113"/>
                      <a:pt x="89" y="116"/>
                    </a:cubicBezTo>
                    <a:cubicBezTo>
                      <a:pt x="89" y="119"/>
                      <a:pt x="91" y="121"/>
                      <a:pt x="93" y="124"/>
                    </a:cubicBezTo>
                    <a:cubicBezTo>
                      <a:pt x="95" y="127"/>
                      <a:pt x="99" y="130"/>
                      <a:pt x="99" y="133"/>
                    </a:cubicBezTo>
                    <a:cubicBezTo>
                      <a:pt x="98" y="140"/>
                      <a:pt x="96" y="136"/>
                      <a:pt x="93" y="142"/>
                    </a:cubicBezTo>
                    <a:cubicBezTo>
                      <a:pt x="92" y="149"/>
                      <a:pt x="87" y="152"/>
                      <a:pt x="84" y="157"/>
                    </a:cubicBezTo>
                    <a:cubicBezTo>
                      <a:pt x="81" y="162"/>
                      <a:pt x="80" y="166"/>
                      <a:pt x="77" y="169"/>
                    </a:cubicBezTo>
                    <a:cubicBezTo>
                      <a:pt x="74" y="172"/>
                      <a:pt x="70" y="174"/>
                      <a:pt x="65" y="175"/>
                    </a:cubicBezTo>
                    <a:cubicBezTo>
                      <a:pt x="64" y="180"/>
                      <a:pt x="45" y="165"/>
                      <a:pt x="48" y="178"/>
                    </a:cubicBezTo>
                    <a:cubicBezTo>
                      <a:pt x="43" y="178"/>
                      <a:pt x="40" y="175"/>
                      <a:pt x="36" y="176"/>
                    </a:cubicBezTo>
                    <a:cubicBezTo>
                      <a:pt x="32" y="177"/>
                      <a:pt x="25" y="179"/>
                      <a:pt x="23" y="182"/>
                    </a:cubicBezTo>
                    <a:cubicBezTo>
                      <a:pt x="21" y="185"/>
                      <a:pt x="25" y="191"/>
                      <a:pt x="23" y="194"/>
                    </a:cubicBezTo>
                    <a:cubicBezTo>
                      <a:pt x="21" y="197"/>
                      <a:pt x="16" y="200"/>
                      <a:pt x="12" y="203"/>
                    </a:cubicBezTo>
                    <a:cubicBezTo>
                      <a:pt x="8" y="206"/>
                      <a:pt x="0" y="209"/>
                      <a:pt x="0" y="211"/>
                    </a:cubicBezTo>
                    <a:cubicBezTo>
                      <a:pt x="0" y="213"/>
                      <a:pt x="5" y="217"/>
                      <a:pt x="9" y="218"/>
                    </a:cubicBezTo>
                    <a:cubicBezTo>
                      <a:pt x="13" y="219"/>
                      <a:pt x="19" y="218"/>
                      <a:pt x="23" y="218"/>
                    </a:cubicBezTo>
                    <a:cubicBezTo>
                      <a:pt x="27" y="218"/>
                      <a:pt x="31" y="216"/>
                      <a:pt x="33" y="218"/>
                    </a:cubicBezTo>
                    <a:cubicBezTo>
                      <a:pt x="35" y="220"/>
                      <a:pt x="37" y="228"/>
                      <a:pt x="38" y="232"/>
                    </a:cubicBezTo>
                    <a:cubicBezTo>
                      <a:pt x="39" y="236"/>
                      <a:pt x="39" y="240"/>
                      <a:pt x="41" y="245"/>
                    </a:cubicBezTo>
                    <a:cubicBezTo>
                      <a:pt x="43" y="250"/>
                      <a:pt x="46" y="255"/>
                      <a:pt x="48" y="260"/>
                    </a:cubicBezTo>
                    <a:cubicBezTo>
                      <a:pt x="50" y="265"/>
                      <a:pt x="52" y="274"/>
                      <a:pt x="56" y="277"/>
                    </a:cubicBezTo>
                    <a:cubicBezTo>
                      <a:pt x="60" y="280"/>
                      <a:pt x="66" y="280"/>
                      <a:pt x="71" y="280"/>
                    </a:cubicBezTo>
                    <a:cubicBezTo>
                      <a:pt x="73" y="290"/>
                      <a:pt x="76" y="274"/>
                      <a:pt x="84" y="280"/>
                    </a:cubicBezTo>
                    <a:cubicBezTo>
                      <a:pt x="87" y="286"/>
                      <a:pt x="84" y="287"/>
                      <a:pt x="89" y="292"/>
                    </a:cubicBezTo>
                    <a:cubicBezTo>
                      <a:pt x="92" y="295"/>
                      <a:pt x="86" y="303"/>
                      <a:pt x="90" y="305"/>
                    </a:cubicBezTo>
                    <a:cubicBezTo>
                      <a:pt x="91" y="309"/>
                      <a:pt x="93" y="314"/>
                      <a:pt x="93" y="319"/>
                    </a:cubicBezTo>
                    <a:cubicBezTo>
                      <a:pt x="93" y="324"/>
                      <a:pt x="89" y="329"/>
                      <a:pt x="89" y="334"/>
                    </a:cubicBezTo>
                    <a:cubicBezTo>
                      <a:pt x="89" y="339"/>
                      <a:pt x="90" y="348"/>
                      <a:pt x="90" y="352"/>
                    </a:cubicBezTo>
                    <a:cubicBezTo>
                      <a:pt x="90" y="356"/>
                      <a:pt x="90" y="357"/>
                      <a:pt x="90" y="361"/>
                    </a:cubicBezTo>
                    <a:cubicBezTo>
                      <a:pt x="90" y="365"/>
                      <a:pt x="89" y="371"/>
                      <a:pt x="90" y="376"/>
                    </a:cubicBezTo>
                    <a:cubicBezTo>
                      <a:pt x="91" y="381"/>
                      <a:pt x="97" y="384"/>
                      <a:pt x="98" y="389"/>
                    </a:cubicBezTo>
                    <a:cubicBezTo>
                      <a:pt x="99" y="394"/>
                      <a:pt x="97" y="399"/>
                      <a:pt x="96" y="404"/>
                    </a:cubicBezTo>
                    <a:cubicBezTo>
                      <a:pt x="97" y="405"/>
                      <a:pt x="94" y="420"/>
                      <a:pt x="95" y="421"/>
                    </a:cubicBezTo>
                    <a:cubicBezTo>
                      <a:pt x="98" y="424"/>
                      <a:pt x="89" y="412"/>
                      <a:pt x="86" y="427"/>
                    </a:cubicBezTo>
                    <a:cubicBezTo>
                      <a:pt x="79" y="433"/>
                      <a:pt x="94" y="408"/>
                      <a:pt x="89" y="439"/>
                    </a:cubicBezTo>
                    <a:cubicBezTo>
                      <a:pt x="92" y="445"/>
                      <a:pt x="79" y="449"/>
                      <a:pt x="84" y="455"/>
                    </a:cubicBezTo>
                    <a:cubicBezTo>
                      <a:pt x="83" y="459"/>
                      <a:pt x="84" y="461"/>
                      <a:pt x="84" y="466"/>
                    </a:cubicBezTo>
                    <a:cubicBezTo>
                      <a:pt x="86" y="472"/>
                      <a:pt x="67" y="469"/>
                      <a:pt x="81" y="484"/>
                    </a:cubicBezTo>
                    <a:cubicBezTo>
                      <a:pt x="83" y="488"/>
                      <a:pt x="92" y="488"/>
                      <a:pt x="95" y="491"/>
                    </a:cubicBezTo>
                    <a:cubicBezTo>
                      <a:pt x="98" y="494"/>
                      <a:pt x="99" y="501"/>
                      <a:pt x="100" y="505"/>
                    </a:cubicBezTo>
                    <a:cubicBezTo>
                      <a:pt x="101" y="509"/>
                      <a:pt x="100" y="514"/>
                      <a:pt x="101" y="518"/>
                    </a:cubicBezTo>
                    <a:cubicBezTo>
                      <a:pt x="102" y="522"/>
                      <a:pt x="104" y="526"/>
                      <a:pt x="106" y="529"/>
                    </a:cubicBezTo>
                    <a:cubicBezTo>
                      <a:pt x="108" y="532"/>
                      <a:pt x="110" y="535"/>
                      <a:pt x="113" y="538"/>
                    </a:cubicBezTo>
                    <a:cubicBezTo>
                      <a:pt x="116" y="541"/>
                      <a:pt x="118" y="544"/>
                      <a:pt x="122" y="547"/>
                    </a:cubicBezTo>
                    <a:cubicBezTo>
                      <a:pt x="126" y="550"/>
                      <a:pt x="134" y="554"/>
                      <a:pt x="139" y="556"/>
                    </a:cubicBezTo>
                    <a:cubicBezTo>
                      <a:pt x="144" y="558"/>
                      <a:pt x="147" y="557"/>
                      <a:pt x="151" y="559"/>
                    </a:cubicBezTo>
                    <a:cubicBezTo>
                      <a:pt x="155" y="561"/>
                      <a:pt x="160" y="564"/>
                      <a:pt x="163" y="566"/>
                    </a:cubicBezTo>
                    <a:cubicBezTo>
                      <a:pt x="167" y="567"/>
                      <a:pt x="168" y="567"/>
                      <a:pt x="170" y="569"/>
                    </a:cubicBezTo>
                    <a:cubicBezTo>
                      <a:pt x="171" y="572"/>
                      <a:pt x="171" y="580"/>
                      <a:pt x="172" y="584"/>
                    </a:cubicBezTo>
                    <a:cubicBezTo>
                      <a:pt x="177" y="587"/>
                      <a:pt x="168" y="592"/>
                      <a:pt x="173" y="595"/>
                    </a:cubicBezTo>
                    <a:cubicBezTo>
                      <a:pt x="176" y="598"/>
                      <a:pt x="175" y="604"/>
                      <a:pt x="175" y="608"/>
                    </a:cubicBezTo>
                    <a:cubicBezTo>
                      <a:pt x="175" y="612"/>
                      <a:pt x="173" y="617"/>
                      <a:pt x="175" y="620"/>
                    </a:cubicBezTo>
                    <a:cubicBezTo>
                      <a:pt x="178" y="623"/>
                      <a:pt x="183" y="624"/>
                      <a:pt x="185" y="626"/>
                    </a:cubicBezTo>
                    <a:cubicBezTo>
                      <a:pt x="186" y="628"/>
                      <a:pt x="184" y="632"/>
                      <a:pt x="184" y="635"/>
                    </a:cubicBezTo>
                    <a:cubicBezTo>
                      <a:pt x="184" y="638"/>
                      <a:pt x="185" y="639"/>
                      <a:pt x="185" y="643"/>
                    </a:cubicBezTo>
                    <a:cubicBezTo>
                      <a:pt x="185" y="647"/>
                      <a:pt x="181" y="656"/>
                      <a:pt x="181" y="659"/>
                    </a:cubicBezTo>
                    <a:cubicBezTo>
                      <a:pt x="181" y="662"/>
                      <a:pt x="186" y="660"/>
                      <a:pt x="188" y="662"/>
                    </a:cubicBezTo>
                    <a:cubicBezTo>
                      <a:pt x="190" y="664"/>
                      <a:pt x="191" y="668"/>
                      <a:pt x="191" y="671"/>
                    </a:cubicBezTo>
                    <a:cubicBezTo>
                      <a:pt x="191" y="674"/>
                      <a:pt x="191" y="676"/>
                      <a:pt x="191" y="679"/>
                    </a:cubicBezTo>
                    <a:cubicBezTo>
                      <a:pt x="191" y="682"/>
                      <a:pt x="189" y="690"/>
                      <a:pt x="190" y="692"/>
                    </a:cubicBezTo>
                    <a:cubicBezTo>
                      <a:pt x="191" y="694"/>
                      <a:pt x="194" y="693"/>
                      <a:pt x="197" y="694"/>
                    </a:cubicBezTo>
                    <a:cubicBezTo>
                      <a:pt x="200" y="695"/>
                      <a:pt x="205" y="695"/>
                      <a:pt x="206" y="698"/>
                    </a:cubicBezTo>
                    <a:cubicBezTo>
                      <a:pt x="207" y="701"/>
                      <a:pt x="201" y="706"/>
                      <a:pt x="200" y="710"/>
                    </a:cubicBezTo>
                    <a:cubicBezTo>
                      <a:pt x="199" y="714"/>
                      <a:pt x="199" y="718"/>
                      <a:pt x="199" y="722"/>
                    </a:cubicBezTo>
                    <a:cubicBezTo>
                      <a:pt x="199" y="726"/>
                      <a:pt x="199" y="736"/>
                      <a:pt x="202" y="737"/>
                    </a:cubicBezTo>
                    <a:cubicBezTo>
                      <a:pt x="205" y="738"/>
                      <a:pt x="212" y="729"/>
                      <a:pt x="217" y="727"/>
                    </a:cubicBezTo>
                    <a:cubicBezTo>
                      <a:pt x="222" y="725"/>
                      <a:pt x="226" y="726"/>
                      <a:pt x="230" y="725"/>
                    </a:cubicBezTo>
                    <a:cubicBezTo>
                      <a:pt x="234" y="724"/>
                      <a:pt x="238" y="718"/>
                      <a:pt x="242" y="718"/>
                    </a:cubicBezTo>
                    <a:cubicBezTo>
                      <a:pt x="244" y="729"/>
                      <a:pt x="246" y="721"/>
                      <a:pt x="256" y="722"/>
                    </a:cubicBezTo>
                    <a:cubicBezTo>
                      <a:pt x="266" y="726"/>
                      <a:pt x="257" y="720"/>
                      <a:pt x="274" y="713"/>
                    </a:cubicBezTo>
                    <a:cubicBezTo>
                      <a:pt x="278" y="711"/>
                      <a:pt x="287" y="718"/>
                      <a:pt x="287" y="718"/>
                    </a:cubicBezTo>
                    <a:cubicBezTo>
                      <a:pt x="292" y="715"/>
                      <a:pt x="279" y="726"/>
                      <a:pt x="298" y="712"/>
                    </a:cubicBezTo>
                    <a:cubicBezTo>
                      <a:pt x="302" y="712"/>
                      <a:pt x="309" y="716"/>
                      <a:pt x="313" y="715"/>
                    </a:cubicBezTo>
                    <a:cubicBezTo>
                      <a:pt x="317" y="714"/>
                      <a:pt x="318" y="706"/>
                      <a:pt x="323" y="703"/>
                    </a:cubicBezTo>
                    <a:cubicBezTo>
                      <a:pt x="328" y="700"/>
                      <a:pt x="338" y="698"/>
                      <a:pt x="344" y="698"/>
                    </a:cubicBezTo>
                    <a:cubicBezTo>
                      <a:pt x="350" y="698"/>
                      <a:pt x="356" y="701"/>
                      <a:pt x="361" y="700"/>
                    </a:cubicBezTo>
                    <a:cubicBezTo>
                      <a:pt x="366" y="699"/>
                      <a:pt x="375" y="694"/>
                      <a:pt x="376" y="691"/>
                    </a:cubicBezTo>
                    <a:cubicBezTo>
                      <a:pt x="377" y="688"/>
                      <a:pt x="366" y="684"/>
                      <a:pt x="367" y="680"/>
                    </a:cubicBezTo>
                    <a:cubicBezTo>
                      <a:pt x="368" y="676"/>
                      <a:pt x="376" y="671"/>
                      <a:pt x="380" y="667"/>
                    </a:cubicBezTo>
                    <a:cubicBezTo>
                      <a:pt x="384" y="663"/>
                      <a:pt x="391" y="661"/>
                      <a:pt x="394" y="658"/>
                    </a:cubicBezTo>
                    <a:cubicBezTo>
                      <a:pt x="397" y="655"/>
                      <a:pt x="398" y="649"/>
                      <a:pt x="400" y="646"/>
                    </a:cubicBezTo>
                    <a:cubicBezTo>
                      <a:pt x="402" y="643"/>
                      <a:pt x="402" y="640"/>
                      <a:pt x="404" y="638"/>
                    </a:cubicBezTo>
                    <a:cubicBezTo>
                      <a:pt x="406" y="636"/>
                      <a:pt x="409" y="637"/>
                      <a:pt x="413" y="635"/>
                    </a:cubicBezTo>
                    <a:cubicBezTo>
                      <a:pt x="417" y="633"/>
                      <a:pt x="425" y="630"/>
                      <a:pt x="428" y="626"/>
                    </a:cubicBezTo>
                    <a:cubicBezTo>
                      <a:pt x="431" y="622"/>
                      <a:pt x="430" y="616"/>
                      <a:pt x="433" y="610"/>
                    </a:cubicBezTo>
                    <a:cubicBezTo>
                      <a:pt x="439" y="604"/>
                      <a:pt x="446" y="602"/>
                      <a:pt x="446" y="590"/>
                    </a:cubicBezTo>
                    <a:cubicBezTo>
                      <a:pt x="447" y="580"/>
                      <a:pt x="448" y="590"/>
                      <a:pt x="452" y="577"/>
                    </a:cubicBezTo>
                    <a:cubicBezTo>
                      <a:pt x="455" y="574"/>
                      <a:pt x="460" y="576"/>
                      <a:pt x="464" y="574"/>
                    </a:cubicBezTo>
                    <a:cubicBezTo>
                      <a:pt x="468" y="572"/>
                      <a:pt x="469" y="566"/>
                      <a:pt x="473" y="563"/>
                    </a:cubicBezTo>
                    <a:cubicBezTo>
                      <a:pt x="477" y="560"/>
                      <a:pt x="485" y="556"/>
                      <a:pt x="490" y="554"/>
                    </a:cubicBezTo>
                    <a:cubicBezTo>
                      <a:pt x="495" y="552"/>
                      <a:pt x="501" y="553"/>
                      <a:pt x="505" y="551"/>
                    </a:cubicBezTo>
                    <a:cubicBezTo>
                      <a:pt x="509" y="549"/>
                      <a:pt x="511" y="544"/>
                      <a:pt x="514" y="541"/>
                    </a:cubicBezTo>
                    <a:cubicBezTo>
                      <a:pt x="517" y="538"/>
                      <a:pt x="521" y="535"/>
                      <a:pt x="523" y="532"/>
                    </a:cubicBezTo>
                    <a:cubicBezTo>
                      <a:pt x="525" y="529"/>
                      <a:pt x="523" y="527"/>
                      <a:pt x="526" y="526"/>
                    </a:cubicBezTo>
                    <a:cubicBezTo>
                      <a:pt x="529" y="525"/>
                      <a:pt x="537" y="525"/>
                      <a:pt x="541" y="524"/>
                    </a:cubicBezTo>
                    <a:cubicBezTo>
                      <a:pt x="543" y="511"/>
                      <a:pt x="539" y="526"/>
                      <a:pt x="553" y="518"/>
                    </a:cubicBezTo>
                    <a:cubicBezTo>
                      <a:pt x="557" y="512"/>
                      <a:pt x="558" y="510"/>
                      <a:pt x="565" y="509"/>
                    </a:cubicBezTo>
                    <a:cubicBezTo>
                      <a:pt x="571" y="504"/>
                      <a:pt x="571" y="499"/>
                      <a:pt x="578" y="496"/>
                    </a:cubicBezTo>
                    <a:cubicBezTo>
                      <a:pt x="585" y="489"/>
                      <a:pt x="574" y="488"/>
                      <a:pt x="583" y="484"/>
                    </a:cubicBezTo>
                    <a:cubicBezTo>
                      <a:pt x="584" y="477"/>
                      <a:pt x="589" y="476"/>
                      <a:pt x="596" y="475"/>
                    </a:cubicBezTo>
                    <a:cubicBezTo>
                      <a:pt x="601" y="468"/>
                      <a:pt x="601" y="462"/>
                      <a:pt x="604" y="457"/>
                    </a:cubicBezTo>
                    <a:cubicBezTo>
                      <a:pt x="607" y="452"/>
                      <a:pt x="611" y="447"/>
                      <a:pt x="616" y="443"/>
                    </a:cubicBezTo>
                    <a:cubicBezTo>
                      <a:pt x="621" y="439"/>
                      <a:pt x="627" y="433"/>
                      <a:pt x="632" y="431"/>
                    </a:cubicBezTo>
                    <a:cubicBezTo>
                      <a:pt x="637" y="429"/>
                      <a:pt x="637" y="424"/>
                      <a:pt x="646" y="431"/>
                    </a:cubicBezTo>
                    <a:cubicBezTo>
                      <a:pt x="662" y="434"/>
                      <a:pt x="675" y="476"/>
                      <a:pt x="686" y="473"/>
                    </a:cubicBezTo>
                    <a:cubicBezTo>
                      <a:pt x="694" y="480"/>
                      <a:pt x="695" y="473"/>
                      <a:pt x="697" y="476"/>
                    </a:cubicBezTo>
                    <a:cubicBezTo>
                      <a:pt x="698" y="479"/>
                      <a:pt x="691" y="487"/>
                      <a:pt x="692" y="491"/>
                    </a:cubicBezTo>
                    <a:cubicBezTo>
                      <a:pt x="695" y="489"/>
                      <a:pt x="698" y="500"/>
                      <a:pt x="701" y="502"/>
                    </a:cubicBezTo>
                    <a:cubicBezTo>
                      <a:pt x="704" y="504"/>
                      <a:pt x="707" y="502"/>
                      <a:pt x="709" y="505"/>
                    </a:cubicBezTo>
                    <a:cubicBezTo>
                      <a:pt x="711" y="508"/>
                      <a:pt x="713" y="517"/>
                      <a:pt x="715" y="517"/>
                    </a:cubicBezTo>
                    <a:cubicBezTo>
                      <a:pt x="717" y="517"/>
                      <a:pt x="722" y="509"/>
                      <a:pt x="724" y="508"/>
                    </a:cubicBezTo>
                    <a:cubicBezTo>
                      <a:pt x="726" y="507"/>
                      <a:pt x="726" y="509"/>
                      <a:pt x="728" y="511"/>
                    </a:cubicBezTo>
                    <a:cubicBezTo>
                      <a:pt x="730" y="513"/>
                      <a:pt x="733" y="516"/>
                      <a:pt x="734" y="520"/>
                    </a:cubicBezTo>
                    <a:cubicBezTo>
                      <a:pt x="735" y="524"/>
                      <a:pt x="732" y="535"/>
                      <a:pt x="734" y="536"/>
                    </a:cubicBezTo>
                    <a:cubicBezTo>
                      <a:pt x="736" y="537"/>
                      <a:pt x="741" y="529"/>
                      <a:pt x="746" y="526"/>
                    </a:cubicBezTo>
                    <a:cubicBezTo>
                      <a:pt x="751" y="523"/>
                      <a:pt x="758" y="520"/>
                      <a:pt x="763" y="515"/>
                    </a:cubicBezTo>
                    <a:cubicBezTo>
                      <a:pt x="768" y="510"/>
                      <a:pt x="771" y="501"/>
                      <a:pt x="775" y="497"/>
                    </a:cubicBezTo>
                    <a:cubicBezTo>
                      <a:pt x="779" y="493"/>
                      <a:pt x="784" y="489"/>
                      <a:pt x="788" y="488"/>
                    </a:cubicBezTo>
                    <a:cubicBezTo>
                      <a:pt x="792" y="487"/>
                      <a:pt x="798" y="493"/>
                      <a:pt x="800" y="491"/>
                    </a:cubicBezTo>
                    <a:cubicBezTo>
                      <a:pt x="802" y="489"/>
                      <a:pt x="798" y="481"/>
                      <a:pt x="799" y="478"/>
                    </a:cubicBezTo>
                    <a:cubicBezTo>
                      <a:pt x="800" y="475"/>
                      <a:pt x="806" y="473"/>
                      <a:pt x="808" y="470"/>
                    </a:cubicBezTo>
                    <a:cubicBezTo>
                      <a:pt x="810" y="467"/>
                      <a:pt x="810" y="464"/>
                      <a:pt x="811" y="460"/>
                    </a:cubicBezTo>
                    <a:cubicBezTo>
                      <a:pt x="812" y="456"/>
                      <a:pt x="812" y="451"/>
                      <a:pt x="815" y="448"/>
                    </a:cubicBezTo>
                    <a:cubicBezTo>
                      <a:pt x="814" y="440"/>
                      <a:pt x="834" y="448"/>
                      <a:pt x="827" y="443"/>
                    </a:cubicBezTo>
                    <a:cubicBezTo>
                      <a:pt x="831" y="442"/>
                      <a:pt x="837" y="443"/>
                      <a:pt x="838" y="439"/>
                    </a:cubicBezTo>
                    <a:cubicBezTo>
                      <a:pt x="839" y="435"/>
                      <a:pt x="835" y="424"/>
                      <a:pt x="833" y="419"/>
                    </a:cubicBezTo>
                    <a:cubicBezTo>
                      <a:pt x="831" y="414"/>
                      <a:pt x="829" y="411"/>
                      <a:pt x="826" y="407"/>
                    </a:cubicBezTo>
                    <a:cubicBezTo>
                      <a:pt x="823" y="403"/>
                      <a:pt x="817" y="398"/>
                      <a:pt x="812" y="394"/>
                    </a:cubicBezTo>
                    <a:cubicBezTo>
                      <a:pt x="807" y="390"/>
                      <a:pt x="801" y="387"/>
                      <a:pt x="797" y="383"/>
                    </a:cubicBezTo>
                    <a:cubicBezTo>
                      <a:pt x="793" y="379"/>
                      <a:pt x="790" y="375"/>
                      <a:pt x="787" y="371"/>
                    </a:cubicBezTo>
                    <a:cubicBezTo>
                      <a:pt x="784" y="367"/>
                      <a:pt x="781" y="363"/>
                      <a:pt x="778" y="361"/>
                    </a:cubicBezTo>
                    <a:cubicBezTo>
                      <a:pt x="775" y="359"/>
                      <a:pt x="769" y="359"/>
                      <a:pt x="767" y="356"/>
                    </a:cubicBezTo>
                    <a:cubicBezTo>
                      <a:pt x="765" y="353"/>
                      <a:pt x="767" y="343"/>
                      <a:pt x="763" y="340"/>
                    </a:cubicBezTo>
                    <a:cubicBezTo>
                      <a:pt x="759" y="337"/>
                      <a:pt x="751" y="340"/>
                      <a:pt x="746" y="337"/>
                    </a:cubicBezTo>
                    <a:cubicBezTo>
                      <a:pt x="741" y="334"/>
                      <a:pt x="739" y="325"/>
                      <a:pt x="734" y="320"/>
                    </a:cubicBezTo>
                    <a:cubicBezTo>
                      <a:pt x="729" y="315"/>
                      <a:pt x="724" y="308"/>
                      <a:pt x="719" y="308"/>
                    </a:cubicBezTo>
                    <a:cubicBezTo>
                      <a:pt x="714" y="308"/>
                      <a:pt x="704" y="318"/>
                      <a:pt x="701" y="317"/>
                    </a:cubicBezTo>
                    <a:cubicBezTo>
                      <a:pt x="698" y="316"/>
                      <a:pt x="701" y="306"/>
                      <a:pt x="700" y="302"/>
                    </a:cubicBezTo>
                    <a:cubicBezTo>
                      <a:pt x="699" y="298"/>
                      <a:pt x="694" y="298"/>
                      <a:pt x="694" y="293"/>
                    </a:cubicBezTo>
                    <a:cubicBezTo>
                      <a:pt x="685" y="285"/>
                      <a:pt x="707" y="275"/>
                      <a:pt x="697" y="269"/>
                    </a:cubicBezTo>
                    <a:cubicBezTo>
                      <a:pt x="688" y="254"/>
                      <a:pt x="704" y="255"/>
                      <a:pt x="700" y="238"/>
                    </a:cubicBezTo>
                    <a:cubicBezTo>
                      <a:pt x="701" y="219"/>
                      <a:pt x="695" y="233"/>
                      <a:pt x="703" y="217"/>
                    </a:cubicBezTo>
                    <a:cubicBezTo>
                      <a:pt x="705" y="208"/>
                      <a:pt x="702" y="210"/>
                      <a:pt x="707" y="202"/>
                    </a:cubicBezTo>
                    <a:cubicBezTo>
                      <a:pt x="708" y="191"/>
                      <a:pt x="710" y="194"/>
                      <a:pt x="715" y="185"/>
                    </a:cubicBezTo>
                    <a:cubicBezTo>
                      <a:pt x="720" y="176"/>
                      <a:pt x="719" y="177"/>
                      <a:pt x="721" y="172"/>
                    </a:cubicBezTo>
                    <a:cubicBezTo>
                      <a:pt x="723" y="167"/>
                      <a:pt x="725" y="160"/>
                      <a:pt x="725" y="155"/>
                    </a:cubicBezTo>
                    <a:cubicBezTo>
                      <a:pt x="728" y="145"/>
                      <a:pt x="716" y="152"/>
                      <a:pt x="722" y="143"/>
                    </a:cubicBezTo>
                    <a:cubicBezTo>
                      <a:pt x="718" y="127"/>
                      <a:pt x="732" y="135"/>
                      <a:pt x="718" y="127"/>
                    </a:cubicBezTo>
                    <a:cubicBezTo>
                      <a:pt x="717" y="121"/>
                      <a:pt x="712" y="121"/>
                      <a:pt x="710" y="118"/>
                    </a:cubicBezTo>
                    <a:cubicBezTo>
                      <a:pt x="709" y="114"/>
                      <a:pt x="713" y="107"/>
                      <a:pt x="712" y="103"/>
                    </a:cubicBezTo>
                    <a:cubicBezTo>
                      <a:pt x="711" y="99"/>
                      <a:pt x="706" y="98"/>
                      <a:pt x="704" y="92"/>
                    </a:cubicBezTo>
                    <a:cubicBezTo>
                      <a:pt x="702" y="86"/>
                      <a:pt x="701" y="73"/>
                      <a:pt x="697" y="68"/>
                    </a:cubicBezTo>
                    <a:cubicBezTo>
                      <a:pt x="693" y="63"/>
                      <a:pt x="685" y="65"/>
                      <a:pt x="680" y="61"/>
                    </a:cubicBezTo>
                    <a:cubicBezTo>
                      <a:pt x="675" y="57"/>
                      <a:pt x="673" y="48"/>
                      <a:pt x="668" y="46"/>
                    </a:cubicBezTo>
                    <a:cubicBezTo>
                      <a:pt x="663" y="44"/>
                      <a:pt x="655" y="44"/>
                      <a:pt x="652" y="46"/>
                    </a:cubicBezTo>
                    <a:cubicBezTo>
                      <a:pt x="649" y="48"/>
                      <a:pt x="652" y="58"/>
                      <a:pt x="650" y="61"/>
                    </a:cubicBezTo>
                    <a:cubicBezTo>
                      <a:pt x="648" y="64"/>
                      <a:pt x="641" y="59"/>
                      <a:pt x="638" y="61"/>
                    </a:cubicBezTo>
                    <a:cubicBezTo>
                      <a:pt x="635" y="63"/>
                      <a:pt x="635" y="71"/>
                      <a:pt x="632" y="73"/>
                    </a:cubicBezTo>
                    <a:cubicBezTo>
                      <a:pt x="629" y="75"/>
                      <a:pt x="623" y="74"/>
                      <a:pt x="619" y="76"/>
                    </a:cubicBezTo>
                    <a:cubicBezTo>
                      <a:pt x="616" y="80"/>
                      <a:pt x="613" y="84"/>
                      <a:pt x="608" y="85"/>
                    </a:cubicBezTo>
                    <a:cubicBezTo>
                      <a:pt x="600" y="84"/>
                      <a:pt x="601" y="92"/>
                      <a:pt x="595" y="92"/>
                    </a:cubicBezTo>
                    <a:cubicBezTo>
                      <a:pt x="589" y="92"/>
                      <a:pt x="579" y="90"/>
                      <a:pt x="574" y="88"/>
                    </a:cubicBezTo>
                    <a:cubicBezTo>
                      <a:pt x="569" y="86"/>
                      <a:pt x="570" y="81"/>
                      <a:pt x="566" y="79"/>
                    </a:cubicBezTo>
                    <a:cubicBezTo>
                      <a:pt x="562" y="77"/>
                      <a:pt x="552" y="78"/>
                      <a:pt x="548" y="76"/>
                    </a:cubicBezTo>
                    <a:cubicBezTo>
                      <a:pt x="544" y="74"/>
                      <a:pt x="543" y="68"/>
                      <a:pt x="539" y="67"/>
                    </a:cubicBezTo>
                    <a:cubicBezTo>
                      <a:pt x="535" y="66"/>
                      <a:pt x="528" y="68"/>
                      <a:pt x="524" y="70"/>
                    </a:cubicBezTo>
                    <a:cubicBezTo>
                      <a:pt x="513" y="71"/>
                      <a:pt x="528" y="78"/>
                      <a:pt x="515" y="80"/>
                    </a:cubicBezTo>
                    <a:cubicBezTo>
                      <a:pt x="488" y="93"/>
                      <a:pt x="531" y="94"/>
                      <a:pt x="503" y="88"/>
                    </a:cubicBezTo>
                    <a:cubicBezTo>
                      <a:pt x="490" y="82"/>
                      <a:pt x="491" y="91"/>
                      <a:pt x="486" y="88"/>
                    </a:cubicBezTo>
                    <a:cubicBezTo>
                      <a:pt x="481" y="85"/>
                      <a:pt x="477" y="75"/>
                      <a:pt x="473" y="71"/>
                    </a:cubicBezTo>
                    <a:cubicBezTo>
                      <a:pt x="469" y="67"/>
                      <a:pt x="462" y="64"/>
                      <a:pt x="459" y="61"/>
                    </a:cubicBezTo>
                    <a:cubicBezTo>
                      <a:pt x="456" y="58"/>
                      <a:pt x="459" y="53"/>
                      <a:pt x="457" y="52"/>
                    </a:cubicBezTo>
                    <a:cubicBezTo>
                      <a:pt x="455" y="51"/>
                      <a:pt x="450" y="53"/>
                      <a:pt x="448" y="52"/>
                    </a:cubicBezTo>
                    <a:cubicBezTo>
                      <a:pt x="446" y="51"/>
                      <a:pt x="444" y="49"/>
                      <a:pt x="443" y="46"/>
                    </a:cubicBezTo>
                    <a:cubicBezTo>
                      <a:pt x="442" y="43"/>
                      <a:pt x="444" y="36"/>
                      <a:pt x="442" y="34"/>
                    </a:cubicBezTo>
                    <a:cubicBezTo>
                      <a:pt x="440" y="32"/>
                      <a:pt x="432" y="36"/>
                      <a:pt x="429" y="35"/>
                    </a:cubicBezTo>
                    <a:cubicBezTo>
                      <a:pt x="426" y="34"/>
                      <a:pt x="426" y="28"/>
                      <a:pt x="423" y="28"/>
                    </a:cubicBezTo>
                    <a:cubicBezTo>
                      <a:pt x="420" y="28"/>
                      <a:pt x="416" y="32"/>
                      <a:pt x="413" y="32"/>
                    </a:cubicBezTo>
                    <a:cubicBezTo>
                      <a:pt x="410" y="32"/>
                      <a:pt x="407" y="26"/>
                      <a:pt x="404" y="25"/>
                    </a:cubicBezTo>
                    <a:cubicBezTo>
                      <a:pt x="401" y="24"/>
                      <a:pt x="397" y="24"/>
                      <a:pt x="395" y="26"/>
                    </a:cubicBezTo>
                    <a:cubicBezTo>
                      <a:pt x="393" y="28"/>
                      <a:pt x="392" y="36"/>
                      <a:pt x="390" y="35"/>
                    </a:cubicBezTo>
                    <a:cubicBezTo>
                      <a:pt x="388" y="34"/>
                      <a:pt x="389" y="25"/>
                      <a:pt x="383" y="23"/>
                    </a:cubicBezTo>
                    <a:cubicBezTo>
                      <a:pt x="377" y="24"/>
                      <a:pt x="364" y="17"/>
                      <a:pt x="351" y="25"/>
                    </a:cubicBezTo>
                    <a:cubicBezTo>
                      <a:pt x="344" y="26"/>
                      <a:pt x="341" y="29"/>
                      <a:pt x="338" y="28"/>
                    </a:cubicBezTo>
                    <a:cubicBezTo>
                      <a:pt x="335" y="27"/>
                      <a:pt x="337" y="18"/>
                      <a:pt x="333" y="17"/>
                    </a:cubicBezTo>
                    <a:cubicBezTo>
                      <a:pt x="329" y="16"/>
                      <a:pt x="317" y="20"/>
                      <a:pt x="312" y="19"/>
                    </a:cubicBezTo>
                    <a:cubicBezTo>
                      <a:pt x="307" y="18"/>
                      <a:pt x="306" y="13"/>
                      <a:pt x="302" y="11"/>
                    </a:cubicBezTo>
                    <a:cubicBezTo>
                      <a:pt x="298" y="9"/>
                      <a:pt x="288" y="6"/>
                      <a:pt x="285" y="7"/>
                    </a:cubicBezTo>
                    <a:cubicBezTo>
                      <a:pt x="282" y="8"/>
                      <a:pt x="287" y="17"/>
                      <a:pt x="281" y="19"/>
                    </a:cubicBezTo>
                    <a:cubicBezTo>
                      <a:pt x="275" y="21"/>
                      <a:pt x="255" y="16"/>
                      <a:pt x="248" y="17"/>
                    </a:cubicBezTo>
                    <a:cubicBezTo>
                      <a:pt x="245" y="20"/>
                      <a:pt x="230" y="15"/>
                      <a:pt x="237" y="23"/>
                    </a:cubicBezTo>
                    <a:cubicBezTo>
                      <a:pt x="234" y="25"/>
                      <a:pt x="231" y="27"/>
                      <a:pt x="227" y="28"/>
                    </a:cubicBezTo>
                    <a:cubicBezTo>
                      <a:pt x="223" y="29"/>
                      <a:pt x="218" y="29"/>
                      <a:pt x="215" y="31"/>
                    </a:cubicBezTo>
                    <a:cubicBezTo>
                      <a:pt x="213" y="33"/>
                      <a:pt x="208" y="37"/>
                      <a:pt x="206" y="40"/>
                    </a:cubicBezTo>
                    <a:cubicBezTo>
                      <a:pt x="204" y="43"/>
                      <a:pt x="205" y="52"/>
                      <a:pt x="203" y="52"/>
                    </a:cubicBezTo>
                    <a:cubicBezTo>
                      <a:pt x="179" y="57"/>
                      <a:pt x="196" y="41"/>
                      <a:pt x="192" y="41"/>
                    </a:cubicBezTo>
                    <a:cubicBezTo>
                      <a:pt x="188" y="41"/>
                      <a:pt x="183" y="39"/>
                      <a:pt x="179" y="35"/>
                    </a:cubicBezTo>
                    <a:cubicBezTo>
                      <a:pt x="175" y="31"/>
                      <a:pt x="174" y="21"/>
                      <a:pt x="170" y="17"/>
                    </a:cubicBezTo>
                    <a:cubicBezTo>
                      <a:pt x="166" y="16"/>
                      <a:pt x="161" y="6"/>
                      <a:pt x="156" y="11"/>
                    </a:cubicBezTo>
                    <a:cubicBezTo>
                      <a:pt x="152" y="10"/>
                      <a:pt x="149" y="12"/>
                      <a:pt x="146" y="10"/>
                    </a:cubicBezTo>
                    <a:cubicBezTo>
                      <a:pt x="143" y="8"/>
                      <a:pt x="140" y="2"/>
                      <a:pt x="137" y="1"/>
                    </a:cubicBezTo>
                    <a:cubicBezTo>
                      <a:pt x="134" y="0"/>
                      <a:pt x="127" y="2"/>
                      <a:pt x="126" y="5"/>
                    </a:cubicBezTo>
                    <a:cubicBezTo>
                      <a:pt x="125" y="8"/>
                      <a:pt x="131" y="11"/>
                      <a:pt x="131" y="2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4" name="Freeform 9"/>
              <p:cNvSpPr>
                <a:spLocks/>
              </p:cNvSpPr>
              <p:nvPr/>
            </p:nvSpPr>
            <p:spPr bwMode="auto">
              <a:xfrm>
                <a:off x="5748872" y="2372508"/>
                <a:ext cx="2305567" cy="2976559"/>
              </a:xfrm>
              <a:custGeom>
                <a:avLst/>
                <a:gdLst/>
                <a:ahLst/>
                <a:cxnLst>
                  <a:cxn ang="0">
                    <a:pos x="219" y="706"/>
                  </a:cxn>
                  <a:cxn ang="0">
                    <a:pos x="176" y="667"/>
                  </a:cxn>
                  <a:cxn ang="0">
                    <a:pos x="152" y="637"/>
                  </a:cxn>
                  <a:cxn ang="0">
                    <a:pos x="156" y="598"/>
                  </a:cxn>
                  <a:cxn ang="0">
                    <a:pos x="162" y="555"/>
                  </a:cxn>
                  <a:cxn ang="0">
                    <a:pos x="180" y="510"/>
                  </a:cxn>
                  <a:cxn ang="0">
                    <a:pos x="168" y="462"/>
                  </a:cxn>
                  <a:cxn ang="0">
                    <a:pos x="135" y="417"/>
                  </a:cxn>
                  <a:cxn ang="0">
                    <a:pos x="99" y="391"/>
                  </a:cxn>
                  <a:cxn ang="0">
                    <a:pos x="54" y="367"/>
                  </a:cxn>
                  <a:cxn ang="0">
                    <a:pos x="17" y="334"/>
                  </a:cxn>
                  <a:cxn ang="0">
                    <a:pos x="11" y="298"/>
                  </a:cxn>
                  <a:cxn ang="0">
                    <a:pos x="50" y="276"/>
                  </a:cxn>
                  <a:cxn ang="0">
                    <a:pos x="60" y="247"/>
                  </a:cxn>
                  <a:cxn ang="0">
                    <a:pos x="60" y="201"/>
                  </a:cxn>
                  <a:cxn ang="0">
                    <a:pos x="120" y="187"/>
                  </a:cxn>
                  <a:cxn ang="0">
                    <a:pos x="110" y="165"/>
                  </a:cxn>
                  <a:cxn ang="0">
                    <a:pos x="90" y="124"/>
                  </a:cxn>
                  <a:cxn ang="0">
                    <a:pos x="89" y="69"/>
                  </a:cxn>
                  <a:cxn ang="0">
                    <a:pos x="138" y="66"/>
                  </a:cxn>
                  <a:cxn ang="0">
                    <a:pos x="179" y="67"/>
                  </a:cxn>
                  <a:cxn ang="0">
                    <a:pos x="233" y="67"/>
                  </a:cxn>
                  <a:cxn ang="0">
                    <a:pos x="288" y="43"/>
                  </a:cxn>
                  <a:cxn ang="0">
                    <a:pos x="344" y="40"/>
                  </a:cxn>
                  <a:cxn ang="0">
                    <a:pos x="389" y="7"/>
                  </a:cxn>
                  <a:cxn ang="0">
                    <a:pos x="417" y="25"/>
                  </a:cxn>
                  <a:cxn ang="0">
                    <a:pos x="434" y="87"/>
                  </a:cxn>
                  <a:cxn ang="0">
                    <a:pos x="446" y="129"/>
                  </a:cxn>
                  <a:cxn ang="0">
                    <a:pos x="459" y="183"/>
                  </a:cxn>
                  <a:cxn ang="0">
                    <a:pos x="438" y="223"/>
                  </a:cxn>
                  <a:cxn ang="0">
                    <a:pos x="422" y="259"/>
                  </a:cxn>
                  <a:cxn ang="0">
                    <a:pos x="411" y="303"/>
                  </a:cxn>
                  <a:cxn ang="0">
                    <a:pos x="378" y="354"/>
                  </a:cxn>
                  <a:cxn ang="0">
                    <a:pos x="365" y="394"/>
                  </a:cxn>
                  <a:cxn ang="0">
                    <a:pos x="392" y="448"/>
                  </a:cxn>
                  <a:cxn ang="0">
                    <a:pos x="456" y="450"/>
                  </a:cxn>
                  <a:cxn ang="0">
                    <a:pos x="498" y="454"/>
                  </a:cxn>
                  <a:cxn ang="0">
                    <a:pos x="533" y="498"/>
                  </a:cxn>
                  <a:cxn ang="0">
                    <a:pos x="594" y="480"/>
                  </a:cxn>
                  <a:cxn ang="0">
                    <a:pos x="555" y="534"/>
                  </a:cxn>
                  <a:cxn ang="0">
                    <a:pos x="534" y="579"/>
                  </a:cxn>
                  <a:cxn ang="0">
                    <a:pos x="504" y="621"/>
                  </a:cxn>
                  <a:cxn ang="0">
                    <a:pos x="456" y="646"/>
                  </a:cxn>
                  <a:cxn ang="0">
                    <a:pos x="407" y="672"/>
                  </a:cxn>
                  <a:cxn ang="0">
                    <a:pos x="354" y="690"/>
                  </a:cxn>
                  <a:cxn ang="0">
                    <a:pos x="317" y="727"/>
                  </a:cxn>
                  <a:cxn ang="0">
                    <a:pos x="288" y="774"/>
                  </a:cxn>
                  <a:cxn ang="0">
                    <a:pos x="248" y="735"/>
                  </a:cxn>
                </a:cxnLst>
                <a:rect l="0" t="0" r="r" b="b"/>
                <a:pathLst>
                  <a:path w="596" h="780">
                    <a:moveTo>
                      <a:pt x="248" y="735"/>
                    </a:moveTo>
                    <a:cubicBezTo>
                      <a:pt x="240" y="737"/>
                      <a:pt x="243" y="727"/>
                      <a:pt x="240" y="724"/>
                    </a:cubicBezTo>
                    <a:cubicBezTo>
                      <a:pt x="237" y="721"/>
                      <a:pt x="232" y="717"/>
                      <a:pt x="228" y="714"/>
                    </a:cubicBezTo>
                    <a:cubicBezTo>
                      <a:pt x="224" y="711"/>
                      <a:pt x="221" y="709"/>
                      <a:pt x="219" y="706"/>
                    </a:cubicBezTo>
                    <a:cubicBezTo>
                      <a:pt x="217" y="703"/>
                      <a:pt x="222" y="698"/>
                      <a:pt x="218" y="696"/>
                    </a:cubicBezTo>
                    <a:cubicBezTo>
                      <a:pt x="214" y="694"/>
                      <a:pt x="200" y="696"/>
                      <a:pt x="195" y="693"/>
                    </a:cubicBezTo>
                    <a:cubicBezTo>
                      <a:pt x="185" y="683"/>
                      <a:pt x="191" y="679"/>
                      <a:pt x="188" y="675"/>
                    </a:cubicBezTo>
                    <a:cubicBezTo>
                      <a:pt x="185" y="671"/>
                      <a:pt x="181" y="667"/>
                      <a:pt x="176" y="667"/>
                    </a:cubicBezTo>
                    <a:cubicBezTo>
                      <a:pt x="171" y="667"/>
                      <a:pt x="159" y="676"/>
                      <a:pt x="156" y="675"/>
                    </a:cubicBezTo>
                    <a:cubicBezTo>
                      <a:pt x="153" y="674"/>
                      <a:pt x="156" y="668"/>
                      <a:pt x="155" y="663"/>
                    </a:cubicBezTo>
                    <a:cubicBezTo>
                      <a:pt x="154" y="658"/>
                      <a:pt x="148" y="649"/>
                      <a:pt x="147" y="645"/>
                    </a:cubicBezTo>
                    <a:cubicBezTo>
                      <a:pt x="146" y="641"/>
                      <a:pt x="152" y="640"/>
                      <a:pt x="152" y="637"/>
                    </a:cubicBezTo>
                    <a:cubicBezTo>
                      <a:pt x="152" y="634"/>
                      <a:pt x="151" y="628"/>
                      <a:pt x="150" y="625"/>
                    </a:cubicBezTo>
                    <a:cubicBezTo>
                      <a:pt x="149" y="622"/>
                      <a:pt x="146" y="622"/>
                      <a:pt x="146" y="619"/>
                    </a:cubicBezTo>
                    <a:cubicBezTo>
                      <a:pt x="146" y="616"/>
                      <a:pt x="150" y="612"/>
                      <a:pt x="152" y="609"/>
                    </a:cubicBezTo>
                    <a:cubicBezTo>
                      <a:pt x="154" y="606"/>
                      <a:pt x="156" y="602"/>
                      <a:pt x="156" y="598"/>
                    </a:cubicBezTo>
                    <a:cubicBezTo>
                      <a:pt x="156" y="594"/>
                      <a:pt x="152" y="589"/>
                      <a:pt x="152" y="586"/>
                    </a:cubicBezTo>
                    <a:cubicBezTo>
                      <a:pt x="152" y="583"/>
                      <a:pt x="154" y="582"/>
                      <a:pt x="155" y="579"/>
                    </a:cubicBezTo>
                    <a:cubicBezTo>
                      <a:pt x="156" y="576"/>
                      <a:pt x="158" y="571"/>
                      <a:pt x="159" y="567"/>
                    </a:cubicBezTo>
                    <a:cubicBezTo>
                      <a:pt x="160" y="563"/>
                      <a:pt x="162" y="558"/>
                      <a:pt x="162" y="555"/>
                    </a:cubicBezTo>
                    <a:cubicBezTo>
                      <a:pt x="162" y="552"/>
                      <a:pt x="160" y="548"/>
                      <a:pt x="161" y="546"/>
                    </a:cubicBezTo>
                    <a:cubicBezTo>
                      <a:pt x="162" y="544"/>
                      <a:pt x="168" y="544"/>
                      <a:pt x="170" y="540"/>
                    </a:cubicBezTo>
                    <a:cubicBezTo>
                      <a:pt x="173" y="534"/>
                      <a:pt x="172" y="528"/>
                      <a:pt x="174" y="522"/>
                    </a:cubicBezTo>
                    <a:cubicBezTo>
                      <a:pt x="180" y="517"/>
                      <a:pt x="172" y="514"/>
                      <a:pt x="180" y="510"/>
                    </a:cubicBezTo>
                    <a:cubicBezTo>
                      <a:pt x="180" y="507"/>
                      <a:pt x="174" y="505"/>
                      <a:pt x="174" y="501"/>
                    </a:cubicBezTo>
                    <a:cubicBezTo>
                      <a:pt x="174" y="497"/>
                      <a:pt x="180" y="491"/>
                      <a:pt x="179" y="487"/>
                    </a:cubicBezTo>
                    <a:cubicBezTo>
                      <a:pt x="178" y="483"/>
                      <a:pt x="169" y="479"/>
                      <a:pt x="167" y="475"/>
                    </a:cubicBezTo>
                    <a:cubicBezTo>
                      <a:pt x="165" y="471"/>
                      <a:pt x="169" y="466"/>
                      <a:pt x="168" y="462"/>
                    </a:cubicBezTo>
                    <a:cubicBezTo>
                      <a:pt x="170" y="457"/>
                      <a:pt x="154" y="456"/>
                      <a:pt x="159" y="450"/>
                    </a:cubicBezTo>
                    <a:cubicBezTo>
                      <a:pt x="157" y="446"/>
                      <a:pt x="157" y="440"/>
                      <a:pt x="156" y="436"/>
                    </a:cubicBezTo>
                    <a:cubicBezTo>
                      <a:pt x="155" y="432"/>
                      <a:pt x="156" y="426"/>
                      <a:pt x="153" y="423"/>
                    </a:cubicBezTo>
                    <a:cubicBezTo>
                      <a:pt x="150" y="420"/>
                      <a:pt x="139" y="420"/>
                      <a:pt x="135" y="417"/>
                    </a:cubicBezTo>
                    <a:cubicBezTo>
                      <a:pt x="131" y="414"/>
                      <a:pt x="131" y="410"/>
                      <a:pt x="129" y="408"/>
                    </a:cubicBezTo>
                    <a:cubicBezTo>
                      <a:pt x="125" y="402"/>
                      <a:pt x="128" y="406"/>
                      <a:pt x="122" y="402"/>
                    </a:cubicBezTo>
                    <a:cubicBezTo>
                      <a:pt x="124" y="399"/>
                      <a:pt x="102" y="403"/>
                      <a:pt x="108" y="400"/>
                    </a:cubicBezTo>
                    <a:cubicBezTo>
                      <a:pt x="104" y="398"/>
                      <a:pt x="103" y="393"/>
                      <a:pt x="99" y="391"/>
                    </a:cubicBezTo>
                    <a:cubicBezTo>
                      <a:pt x="91" y="383"/>
                      <a:pt x="88" y="397"/>
                      <a:pt x="81" y="388"/>
                    </a:cubicBezTo>
                    <a:cubicBezTo>
                      <a:pt x="78" y="384"/>
                      <a:pt x="80" y="383"/>
                      <a:pt x="77" y="379"/>
                    </a:cubicBezTo>
                    <a:cubicBezTo>
                      <a:pt x="72" y="372"/>
                      <a:pt x="66" y="376"/>
                      <a:pt x="66" y="376"/>
                    </a:cubicBezTo>
                    <a:cubicBezTo>
                      <a:pt x="65" y="369"/>
                      <a:pt x="49" y="387"/>
                      <a:pt x="54" y="367"/>
                    </a:cubicBezTo>
                    <a:cubicBezTo>
                      <a:pt x="51" y="364"/>
                      <a:pt x="50" y="361"/>
                      <a:pt x="47" y="358"/>
                    </a:cubicBezTo>
                    <a:cubicBezTo>
                      <a:pt x="44" y="355"/>
                      <a:pt x="42" y="352"/>
                      <a:pt x="39" y="349"/>
                    </a:cubicBezTo>
                    <a:cubicBezTo>
                      <a:pt x="36" y="346"/>
                      <a:pt x="31" y="344"/>
                      <a:pt x="27" y="342"/>
                    </a:cubicBezTo>
                    <a:cubicBezTo>
                      <a:pt x="23" y="340"/>
                      <a:pt x="21" y="336"/>
                      <a:pt x="17" y="334"/>
                    </a:cubicBezTo>
                    <a:cubicBezTo>
                      <a:pt x="13" y="332"/>
                      <a:pt x="4" y="333"/>
                      <a:pt x="2" y="330"/>
                    </a:cubicBezTo>
                    <a:cubicBezTo>
                      <a:pt x="0" y="327"/>
                      <a:pt x="0" y="318"/>
                      <a:pt x="2" y="315"/>
                    </a:cubicBezTo>
                    <a:cubicBezTo>
                      <a:pt x="4" y="312"/>
                      <a:pt x="13" y="315"/>
                      <a:pt x="14" y="312"/>
                    </a:cubicBezTo>
                    <a:cubicBezTo>
                      <a:pt x="15" y="309"/>
                      <a:pt x="11" y="302"/>
                      <a:pt x="11" y="298"/>
                    </a:cubicBezTo>
                    <a:cubicBezTo>
                      <a:pt x="11" y="294"/>
                      <a:pt x="10" y="290"/>
                      <a:pt x="12" y="288"/>
                    </a:cubicBezTo>
                    <a:cubicBezTo>
                      <a:pt x="16" y="283"/>
                      <a:pt x="9" y="297"/>
                      <a:pt x="27" y="288"/>
                    </a:cubicBezTo>
                    <a:cubicBezTo>
                      <a:pt x="31" y="286"/>
                      <a:pt x="31" y="279"/>
                      <a:pt x="35" y="277"/>
                    </a:cubicBezTo>
                    <a:cubicBezTo>
                      <a:pt x="39" y="275"/>
                      <a:pt x="47" y="278"/>
                      <a:pt x="50" y="276"/>
                    </a:cubicBezTo>
                    <a:cubicBezTo>
                      <a:pt x="53" y="274"/>
                      <a:pt x="48" y="266"/>
                      <a:pt x="51" y="264"/>
                    </a:cubicBezTo>
                    <a:cubicBezTo>
                      <a:pt x="54" y="262"/>
                      <a:pt x="66" y="263"/>
                      <a:pt x="68" y="261"/>
                    </a:cubicBezTo>
                    <a:cubicBezTo>
                      <a:pt x="70" y="259"/>
                      <a:pt x="64" y="255"/>
                      <a:pt x="63" y="253"/>
                    </a:cubicBezTo>
                    <a:cubicBezTo>
                      <a:pt x="62" y="251"/>
                      <a:pt x="62" y="249"/>
                      <a:pt x="60" y="247"/>
                    </a:cubicBezTo>
                    <a:cubicBezTo>
                      <a:pt x="58" y="245"/>
                      <a:pt x="55" y="241"/>
                      <a:pt x="53" y="238"/>
                    </a:cubicBezTo>
                    <a:cubicBezTo>
                      <a:pt x="51" y="235"/>
                      <a:pt x="47" y="235"/>
                      <a:pt x="47" y="231"/>
                    </a:cubicBezTo>
                    <a:cubicBezTo>
                      <a:pt x="47" y="227"/>
                      <a:pt x="48" y="218"/>
                      <a:pt x="50" y="213"/>
                    </a:cubicBezTo>
                    <a:cubicBezTo>
                      <a:pt x="52" y="208"/>
                      <a:pt x="56" y="204"/>
                      <a:pt x="60" y="201"/>
                    </a:cubicBezTo>
                    <a:cubicBezTo>
                      <a:pt x="64" y="198"/>
                      <a:pt x="67" y="195"/>
                      <a:pt x="72" y="192"/>
                    </a:cubicBezTo>
                    <a:cubicBezTo>
                      <a:pt x="77" y="189"/>
                      <a:pt x="83" y="183"/>
                      <a:pt x="89" y="181"/>
                    </a:cubicBezTo>
                    <a:cubicBezTo>
                      <a:pt x="95" y="179"/>
                      <a:pt x="102" y="179"/>
                      <a:pt x="107" y="180"/>
                    </a:cubicBezTo>
                    <a:cubicBezTo>
                      <a:pt x="112" y="181"/>
                      <a:pt x="117" y="187"/>
                      <a:pt x="120" y="187"/>
                    </a:cubicBezTo>
                    <a:cubicBezTo>
                      <a:pt x="123" y="187"/>
                      <a:pt x="128" y="183"/>
                      <a:pt x="128" y="181"/>
                    </a:cubicBezTo>
                    <a:cubicBezTo>
                      <a:pt x="128" y="179"/>
                      <a:pt x="121" y="178"/>
                      <a:pt x="119" y="175"/>
                    </a:cubicBezTo>
                    <a:cubicBezTo>
                      <a:pt x="130" y="167"/>
                      <a:pt x="104" y="170"/>
                      <a:pt x="116" y="165"/>
                    </a:cubicBezTo>
                    <a:cubicBezTo>
                      <a:pt x="114" y="163"/>
                      <a:pt x="112" y="166"/>
                      <a:pt x="110" y="165"/>
                    </a:cubicBezTo>
                    <a:cubicBezTo>
                      <a:pt x="108" y="164"/>
                      <a:pt x="106" y="163"/>
                      <a:pt x="104" y="160"/>
                    </a:cubicBezTo>
                    <a:cubicBezTo>
                      <a:pt x="104" y="156"/>
                      <a:pt x="82" y="154"/>
                      <a:pt x="95" y="147"/>
                    </a:cubicBezTo>
                    <a:cubicBezTo>
                      <a:pt x="92" y="142"/>
                      <a:pt x="85" y="137"/>
                      <a:pt x="84" y="133"/>
                    </a:cubicBezTo>
                    <a:cubicBezTo>
                      <a:pt x="83" y="129"/>
                      <a:pt x="91" y="127"/>
                      <a:pt x="90" y="124"/>
                    </a:cubicBezTo>
                    <a:cubicBezTo>
                      <a:pt x="89" y="121"/>
                      <a:pt x="80" y="120"/>
                      <a:pt x="78" y="115"/>
                    </a:cubicBezTo>
                    <a:cubicBezTo>
                      <a:pt x="76" y="110"/>
                      <a:pt x="80" y="102"/>
                      <a:pt x="80" y="96"/>
                    </a:cubicBezTo>
                    <a:cubicBezTo>
                      <a:pt x="80" y="90"/>
                      <a:pt x="74" y="85"/>
                      <a:pt x="75" y="81"/>
                    </a:cubicBezTo>
                    <a:cubicBezTo>
                      <a:pt x="76" y="77"/>
                      <a:pt x="85" y="70"/>
                      <a:pt x="89" y="69"/>
                    </a:cubicBezTo>
                    <a:cubicBezTo>
                      <a:pt x="93" y="68"/>
                      <a:pt x="97" y="76"/>
                      <a:pt x="99" y="76"/>
                    </a:cubicBezTo>
                    <a:cubicBezTo>
                      <a:pt x="101" y="76"/>
                      <a:pt x="101" y="67"/>
                      <a:pt x="104" y="66"/>
                    </a:cubicBezTo>
                    <a:cubicBezTo>
                      <a:pt x="107" y="65"/>
                      <a:pt x="114" y="67"/>
                      <a:pt x="120" y="67"/>
                    </a:cubicBezTo>
                    <a:cubicBezTo>
                      <a:pt x="126" y="67"/>
                      <a:pt x="132" y="66"/>
                      <a:pt x="138" y="66"/>
                    </a:cubicBezTo>
                    <a:cubicBezTo>
                      <a:pt x="144" y="66"/>
                      <a:pt x="152" y="70"/>
                      <a:pt x="156" y="69"/>
                    </a:cubicBezTo>
                    <a:cubicBezTo>
                      <a:pt x="160" y="68"/>
                      <a:pt x="162" y="62"/>
                      <a:pt x="164" y="61"/>
                    </a:cubicBezTo>
                    <a:cubicBezTo>
                      <a:pt x="180" y="54"/>
                      <a:pt x="169" y="60"/>
                      <a:pt x="171" y="61"/>
                    </a:cubicBezTo>
                    <a:cubicBezTo>
                      <a:pt x="173" y="62"/>
                      <a:pt x="175" y="66"/>
                      <a:pt x="179" y="67"/>
                    </a:cubicBezTo>
                    <a:cubicBezTo>
                      <a:pt x="183" y="68"/>
                      <a:pt x="194" y="68"/>
                      <a:pt x="197" y="67"/>
                    </a:cubicBezTo>
                    <a:cubicBezTo>
                      <a:pt x="203" y="60"/>
                      <a:pt x="196" y="61"/>
                      <a:pt x="200" y="60"/>
                    </a:cubicBezTo>
                    <a:cubicBezTo>
                      <a:pt x="204" y="59"/>
                      <a:pt x="216" y="60"/>
                      <a:pt x="221" y="61"/>
                    </a:cubicBezTo>
                    <a:cubicBezTo>
                      <a:pt x="226" y="62"/>
                      <a:pt x="230" y="68"/>
                      <a:pt x="233" y="67"/>
                    </a:cubicBezTo>
                    <a:cubicBezTo>
                      <a:pt x="236" y="66"/>
                      <a:pt x="236" y="58"/>
                      <a:pt x="239" y="55"/>
                    </a:cubicBezTo>
                    <a:cubicBezTo>
                      <a:pt x="242" y="52"/>
                      <a:pt x="245" y="48"/>
                      <a:pt x="249" y="46"/>
                    </a:cubicBezTo>
                    <a:cubicBezTo>
                      <a:pt x="260" y="54"/>
                      <a:pt x="255" y="36"/>
                      <a:pt x="266" y="45"/>
                    </a:cubicBezTo>
                    <a:cubicBezTo>
                      <a:pt x="268" y="36"/>
                      <a:pt x="281" y="44"/>
                      <a:pt x="288" y="43"/>
                    </a:cubicBezTo>
                    <a:cubicBezTo>
                      <a:pt x="295" y="42"/>
                      <a:pt x="304" y="43"/>
                      <a:pt x="308" y="42"/>
                    </a:cubicBezTo>
                    <a:cubicBezTo>
                      <a:pt x="312" y="41"/>
                      <a:pt x="311" y="37"/>
                      <a:pt x="315" y="36"/>
                    </a:cubicBezTo>
                    <a:cubicBezTo>
                      <a:pt x="319" y="35"/>
                      <a:pt x="327" y="36"/>
                      <a:pt x="332" y="37"/>
                    </a:cubicBezTo>
                    <a:cubicBezTo>
                      <a:pt x="337" y="38"/>
                      <a:pt x="340" y="41"/>
                      <a:pt x="344" y="40"/>
                    </a:cubicBezTo>
                    <a:cubicBezTo>
                      <a:pt x="348" y="39"/>
                      <a:pt x="352" y="33"/>
                      <a:pt x="356" y="31"/>
                    </a:cubicBezTo>
                    <a:cubicBezTo>
                      <a:pt x="361" y="13"/>
                      <a:pt x="366" y="33"/>
                      <a:pt x="369" y="30"/>
                    </a:cubicBezTo>
                    <a:cubicBezTo>
                      <a:pt x="372" y="27"/>
                      <a:pt x="371" y="16"/>
                      <a:pt x="374" y="12"/>
                    </a:cubicBezTo>
                    <a:cubicBezTo>
                      <a:pt x="377" y="8"/>
                      <a:pt x="385" y="8"/>
                      <a:pt x="389" y="7"/>
                    </a:cubicBezTo>
                    <a:cubicBezTo>
                      <a:pt x="393" y="6"/>
                      <a:pt x="392" y="4"/>
                      <a:pt x="396" y="3"/>
                    </a:cubicBezTo>
                    <a:cubicBezTo>
                      <a:pt x="400" y="2"/>
                      <a:pt x="407" y="0"/>
                      <a:pt x="411" y="0"/>
                    </a:cubicBezTo>
                    <a:cubicBezTo>
                      <a:pt x="415" y="0"/>
                      <a:pt x="422" y="0"/>
                      <a:pt x="423" y="4"/>
                    </a:cubicBezTo>
                    <a:cubicBezTo>
                      <a:pt x="424" y="8"/>
                      <a:pt x="416" y="21"/>
                      <a:pt x="417" y="25"/>
                    </a:cubicBezTo>
                    <a:cubicBezTo>
                      <a:pt x="418" y="29"/>
                      <a:pt x="427" y="23"/>
                      <a:pt x="428" y="27"/>
                    </a:cubicBezTo>
                    <a:cubicBezTo>
                      <a:pt x="429" y="31"/>
                      <a:pt x="424" y="46"/>
                      <a:pt x="425" y="51"/>
                    </a:cubicBezTo>
                    <a:cubicBezTo>
                      <a:pt x="426" y="56"/>
                      <a:pt x="431" y="49"/>
                      <a:pt x="432" y="55"/>
                    </a:cubicBezTo>
                    <a:cubicBezTo>
                      <a:pt x="433" y="61"/>
                      <a:pt x="433" y="81"/>
                      <a:pt x="434" y="87"/>
                    </a:cubicBezTo>
                    <a:cubicBezTo>
                      <a:pt x="435" y="93"/>
                      <a:pt x="440" y="87"/>
                      <a:pt x="441" y="91"/>
                    </a:cubicBezTo>
                    <a:cubicBezTo>
                      <a:pt x="455" y="87"/>
                      <a:pt x="440" y="105"/>
                      <a:pt x="441" y="109"/>
                    </a:cubicBezTo>
                    <a:cubicBezTo>
                      <a:pt x="442" y="113"/>
                      <a:pt x="446" y="112"/>
                      <a:pt x="447" y="115"/>
                    </a:cubicBezTo>
                    <a:cubicBezTo>
                      <a:pt x="448" y="118"/>
                      <a:pt x="445" y="126"/>
                      <a:pt x="446" y="129"/>
                    </a:cubicBezTo>
                    <a:cubicBezTo>
                      <a:pt x="447" y="132"/>
                      <a:pt x="451" y="129"/>
                      <a:pt x="452" y="132"/>
                    </a:cubicBezTo>
                    <a:cubicBezTo>
                      <a:pt x="453" y="135"/>
                      <a:pt x="448" y="143"/>
                      <a:pt x="450" y="147"/>
                    </a:cubicBezTo>
                    <a:cubicBezTo>
                      <a:pt x="452" y="151"/>
                      <a:pt x="460" y="148"/>
                      <a:pt x="461" y="154"/>
                    </a:cubicBezTo>
                    <a:cubicBezTo>
                      <a:pt x="462" y="160"/>
                      <a:pt x="459" y="177"/>
                      <a:pt x="459" y="183"/>
                    </a:cubicBezTo>
                    <a:cubicBezTo>
                      <a:pt x="459" y="189"/>
                      <a:pt x="459" y="189"/>
                      <a:pt x="458" y="193"/>
                    </a:cubicBezTo>
                    <a:cubicBezTo>
                      <a:pt x="457" y="197"/>
                      <a:pt x="455" y="204"/>
                      <a:pt x="453" y="207"/>
                    </a:cubicBezTo>
                    <a:cubicBezTo>
                      <a:pt x="451" y="210"/>
                      <a:pt x="446" y="208"/>
                      <a:pt x="444" y="211"/>
                    </a:cubicBezTo>
                    <a:cubicBezTo>
                      <a:pt x="442" y="214"/>
                      <a:pt x="439" y="219"/>
                      <a:pt x="438" y="223"/>
                    </a:cubicBezTo>
                    <a:cubicBezTo>
                      <a:pt x="437" y="227"/>
                      <a:pt x="439" y="231"/>
                      <a:pt x="438" y="234"/>
                    </a:cubicBezTo>
                    <a:cubicBezTo>
                      <a:pt x="437" y="237"/>
                      <a:pt x="433" y="241"/>
                      <a:pt x="431" y="243"/>
                    </a:cubicBezTo>
                    <a:cubicBezTo>
                      <a:pt x="429" y="245"/>
                      <a:pt x="428" y="243"/>
                      <a:pt x="426" y="246"/>
                    </a:cubicBezTo>
                    <a:cubicBezTo>
                      <a:pt x="424" y="249"/>
                      <a:pt x="421" y="256"/>
                      <a:pt x="422" y="259"/>
                    </a:cubicBezTo>
                    <a:cubicBezTo>
                      <a:pt x="423" y="262"/>
                      <a:pt x="430" y="264"/>
                      <a:pt x="431" y="267"/>
                    </a:cubicBezTo>
                    <a:cubicBezTo>
                      <a:pt x="432" y="270"/>
                      <a:pt x="427" y="275"/>
                      <a:pt x="425" y="279"/>
                    </a:cubicBezTo>
                    <a:cubicBezTo>
                      <a:pt x="423" y="283"/>
                      <a:pt x="421" y="288"/>
                      <a:pt x="419" y="292"/>
                    </a:cubicBezTo>
                    <a:cubicBezTo>
                      <a:pt x="417" y="296"/>
                      <a:pt x="412" y="298"/>
                      <a:pt x="411" y="303"/>
                    </a:cubicBezTo>
                    <a:cubicBezTo>
                      <a:pt x="410" y="308"/>
                      <a:pt x="412" y="317"/>
                      <a:pt x="411" y="321"/>
                    </a:cubicBezTo>
                    <a:cubicBezTo>
                      <a:pt x="410" y="325"/>
                      <a:pt x="405" y="324"/>
                      <a:pt x="402" y="328"/>
                    </a:cubicBezTo>
                    <a:cubicBezTo>
                      <a:pt x="399" y="332"/>
                      <a:pt x="396" y="342"/>
                      <a:pt x="392" y="346"/>
                    </a:cubicBezTo>
                    <a:cubicBezTo>
                      <a:pt x="390" y="356"/>
                      <a:pt x="385" y="347"/>
                      <a:pt x="378" y="354"/>
                    </a:cubicBezTo>
                    <a:cubicBezTo>
                      <a:pt x="374" y="369"/>
                      <a:pt x="377" y="352"/>
                      <a:pt x="371" y="367"/>
                    </a:cubicBezTo>
                    <a:cubicBezTo>
                      <a:pt x="371" y="367"/>
                      <a:pt x="370" y="348"/>
                      <a:pt x="374" y="378"/>
                    </a:cubicBezTo>
                    <a:cubicBezTo>
                      <a:pt x="375" y="381"/>
                      <a:pt x="378" y="384"/>
                      <a:pt x="377" y="387"/>
                    </a:cubicBezTo>
                    <a:cubicBezTo>
                      <a:pt x="376" y="390"/>
                      <a:pt x="366" y="385"/>
                      <a:pt x="365" y="394"/>
                    </a:cubicBezTo>
                    <a:cubicBezTo>
                      <a:pt x="364" y="403"/>
                      <a:pt x="368" y="431"/>
                      <a:pt x="368" y="442"/>
                    </a:cubicBezTo>
                    <a:cubicBezTo>
                      <a:pt x="370" y="435"/>
                      <a:pt x="362" y="456"/>
                      <a:pt x="363" y="459"/>
                    </a:cubicBezTo>
                    <a:cubicBezTo>
                      <a:pt x="364" y="462"/>
                      <a:pt x="372" y="461"/>
                      <a:pt x="377" y="459"/>
                    </a:cubicBezTo>
                    <a:cubicBezTo>
                      <a:pt x="382" y="457"/>
                      <a:pt x="388" y="452"/>
                      <a:pt x="392" y="448"/>
                    </a:cubicBezTo>
                    <a:cubicBezTo>
                      <a:pt x="396" y="444"/>
                      <a:pt x="401" y="433"/>
                      <a:pt x="404" y="433"/>
                    </a:cubicBezTo>
                    <a:cubicBezTo>
                      <a:pt x="407" y="433"/>
                      <a:pt x="408" y="444"/>
                      <a:pt x="410" y="447"/>
                    </a:cubicBezTo>
                    <a:cubicBezTo>
                      <a:pt x="412" y="450"/>
                      <a:pt x="411" y="452"/>
                      <a:pt x="419" y="453"/>
                    </a:cubicBezTo>
                    <a:cubicBezTo>
                      <a:pt x="427" y="454"/>
                      <a:pt x="449" y="448"/>
                      <a:pt x="456" y="450"/>
                    </a:cubicBezTo>
                    <a:cubicBezTo>
                      <a:pt x="462" y="454"/>
                      <a:pt x="455" y="461"/>
                      <a:pt x="461" y="465"/>
                    </a:cubicBezTo>
                    <a:cubicBezTo>
                      <a:pt x="464" y="467"/>
                      <a:pt x="473" y="462"/>
                      <a:pt x="473" y="462"/>
                    </a:cubicBezTo>
                    <a:cubicBezTo>
                      <a:pt x="482" y="452"/>
                      <a:pt x="479" y="457"/>
                      <a:pt x="483" y="456"/>
                    </a:cubicBezTo>
                    <a:cubicBezTo>
                      <a:pt x="487" y="455"/>
                      <a:pt x="495" y="452"/>
                      <a:pt x="498" y="454"/>
                    </a:cubicBezTo>
                    <a:cubicBezTo>
                      <a:pt x="501" y="456"/>
                      <a:pt x="499" y="467"/>
                      <a:pt x="501" y="471"/>
                    </a:cubicBezTo>
                    <a:cubicBezTo>
                      <a:pt x="503" y="475"/>
                      <a:pt x="507" y="478"/>
                      <a:pt x="510" y="481"/>
                    </a:cubicBezTo>
                    <a:cubicBezTo>
                      <a:pt x="513" y="484"/>
                      <a:pt x="517" y="489"/>
                      <a:pt x="521" y="492"/>
                    </a:cubicBezTo>
                    <a:cubicBezTo>
                      <a:pt x="525" y="495"/>
                      <a:pt x="529" y="497"/>
                      <a:pt x="533" y="498"/>
                    </a:cubicBezTo>
                    <a:cubicBezTo>
                      <a:pt x="537" y="499"/>
                      <a:pt x="542" y="500"/>
                      <a:pt x="546" y="498"/>
                    </a:cubicBezTo>
                    <a:cubicBezTo>
                      <a:pt x="550" y="496"/>
                      <a:pt x="556" y="486"/>
                      <a:pt x="560" y="484"/>
                    </a:cubicBezTo>
                    <a:cubicBezTo>
                      <a:pt x="564" y="482"/>
                      <a:pt x="567" y="487"/>
                      <a:pt x="573" y="486"/>
                    </a:cubicBezTo>
                    <a:cubicBezTo>
                      <a:pt x="579" y="485"/>
                      <a:pt x="592" y="477"/>
                      <a:pt x="594" y="480"/>
                    </a:cubicBezTo>
                    <a:cubicBezTo>
                      <a:pt x="596" y="483"/>
                      <a:pt x="589" y="498"/>
                      <a:pt x="587" y="504"/>
                    </a:cubicBezTo>
                    <a:cubicBezTo>
                      <a:pt x="585" y="510"/>
                      <a:pt x="584" y="513"/>
                      <a:pt x="582" y="517"/>
                    </a:cubicBezTo>
                    <a:cubicBezTo>
                      <a:pt x="580" y="521"/>
                      <a:pt x="577" y="525"/>
                      <a:pt x="573" y="528"/>
                    </a:cubicBezTo>
                    <a:cubicBezTo>
                      <a:pt x="569" y="531"/>
                      <a:pt x="558" y="531"/>
                      <a:pt x="555" y="534"/>
                    </a:cubicBezTo>
                    <a:cubicBezTo>
                      <a:pt x="552" y="537"/>
                      <a:pt x="555" y="542"/>
                      <a:pt x="555" y="546"/>
                    </a:cubicBezTo>
                    <a:cubicBezTo>
                      <a:pt x="555" y="550"/>
                      <a:pt x="556" y="554"/>
                      <a:pt x="554" y="558"/>
                    </a:cubicBezTo>
                    <a:cubicBezTo>
                      <a:pt x="552" y="562"/>
                      <a:pt x="548" y="570"/>
                      <a:pt x="545" y="573"/>
                    </a:cubicBezTo>
                    <a:cubicBezTo>
                      <a:pt x="542" y="576"/>
                      <a:pt x="536" y="577"/>
                      <a:pt x="534" y="579"/>
                    </a:cubicBezTo>
                    <a:cubicBezTo>
                      <a:pt x="532" y="581"/>
                      <a:pt x="533" y="582"/>
                      <a:pt x="530" y="586"/>
                    </a:cubicBezTo>
                    <a:cubicBezTo>
                      <a:pt x="534" y="591"/>
                      <a:pt x="521" y="595"/>
                      <a:pt x="518" y="600"/>
                    </a:cubicBezTo>
                    <a:cubicBezTo>
                      <a:pt x="515" y="605"/>
                      <a:pt x="515" y="611"/>
                      <a:pt x="513" y="615"/>
                    </a:cubicBezTo>
                    <a:cubicBezTo>
                      <a:pt x="511" y="619"/>
                      <a:pt x="508" y="620"/>
                      <a:pt x="504" y="621"/>
                    </a:cubicBezTo>
                    <a:cubicBezTo>
                      <a:pt x="500" y="622"/>
                      <a:pt x="492" y="617"/>
                      <a:pt x="489" y="619"/>
                    </a:cubicBezTo>
                    <a:cubicBezTo>
                      <a:pt x="486" y="621"/>
                      <a:pt x="486" y="630"/>
                      <a:pt x="483" y="633"/>
                    </a:cubicBezTo>
                    <a:cubicBezTo>
                      <a:pt x="480" y="636"/>
                      <a:pt x="474" y="635"/>
                      <a:pt x="470" y="637"/>
                    </a:cubicBezTo>
                    <a:cubicBezTo>
                      <a:pt x="466" y="639"/>
                      <a:pt x="460" y="643"/>
                      <a:pt x="456" y="646"/>
                    </a:cubicBezTo>
                    <a:cubicBezTo>
                      <a:pt x="452" y="649"/>
                      <a:pt x="449" y="649"/>
                      <a:pt x="444" y="652"/>
                    </a:cubicBezTo>
                    <a:cubicBezTo>
                      <a:pt x="439" y="655"/>
                      <a:pt x="431" y="660"/>
                      <a:pt x="426" y="663"/>
                    </a:cubicBezTo>
                    <a:cubicBezTo>
                      <a:pt x="416" y="665"/>
                      <a:pt x="426" y="668"/>
                      <a:pt x="416" y="669"/>
                    </a:cubicBezTo>
                    <a:cubicBezTo>
                      <a:pt x="413" y="674"/>
                      <a:pt x="411" y="671"/>
                      <a:pt x="407" y="672"/>
                    </a:cubicBezTo>
                    <a:cubicBezTo>
                      <a:pt x="403" y="673"/>
                      <a:pt x="394" y="674"/>
                      <a:pt x="390" y="676"/>
                    </a:cubicBezTo>
                    <a:cubicBezTo>
                      <a:pt x="386" y="678"/>
                      <a:pt x="387" y="682"/>
                      <a:pt x="383" y="684"/>
                    </a:cubicBezTo>
                    <a:cubicBezTo>
                      <a:pt x="379" y="686"/>
                      <a:pt x="373" y="684"/>
                      <a:pt x="368" y="685"/>
                    </a:cubicBezTo>
                    <a:cubicBezTo>
                      <a:pt x="363" y="686"/>
                      <a:pt x="358" y="687"/>
                      <a:pt x="354" y="690"/>
                    </a:cubicBezTo>
                    <a:cubicBezTo>
                      <a:pt x="350" y="693"/>
                      <a:pt x="348" y="698"/>
                      <a:pt x="345" y="702"/>
                    </a:cubicBezTo>
                    <a:cubicBezTo>
                      <a:pt x="342" y="706"/>
                      <a:pt x="338" y="709"/>
                      <a:pt x="335" y="712"/>
                    </a:cubicBezTo>
                    <a:cubicBezTo>
                      <a:pt x="329" y="722"/>
                      <a:pt x="330" y="718"/>
                      <a:pt x="327" y="721"/>
                    </a:cubicBezTo>
                    <a:cubicBezTo>
                      <a:pt x="324" y="724"/>
                      <a:pt x="320" y="723"/>
                      <a:pt x="317" y="727"/>
                    </a:cubicBezTo>
                    <a:cubicBezTo>
                      <a:pt x="310" y="743"/>
                      <a:pt x="315" y="740"/>
                      <a:pt x="312" y="745"/>
                    </a:cubicBezTo>
                    <a:cubicBezTo>
                      <a:pt x="309" y="750"/>
                      <a:pt x="302" y="752"/>
                      <a:pt x="300" y="757"/>
                    </a:cubicBezTo>
                    <a:cubicBezTo>
                      <a:pt x="298" y="762"/>
                      <a:pt x="299" y="774"/>
                      <a:pt x="297" y="777"/>
                    </a:cubicBezTo>
                    <a:cubicBezTo>
                      <a:pt x="295" y="780"/>
                      <a:pt x="291" y="776"/>
                      <a:pt x="288" y="774"/>
                    </a:cubicBezTo>
                    <a:cubicBezTo>
                      <a:pt x="285" y="772"/>
                      <a:pt x="282" y="766"/>
                      <a:pt x="279" y="762"/>
                    </a:cubicBezTo>
                    <a:cubicBezTo>
                      <a:pt x="276" y="758"/>
                      <a:pt x="273" y="754"/>
                      <a:pt x="270" y="751"/>
                    </a:cubicBezTo>
                    <a:cubicBezTo>
                      <a:pt x="260" y="762"/>
                      <a:pt x="264" y="747"/>
                      <a:pt x="260" y="744"/>
                    </a:cubicBezTo>
                    <a:cubicBezTo>
                      <a:pt x="256" y="741"/>
                      <a:pt x="251" y="737"/>
                      <a:pt x="248" y="73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Freeform 10"/>
              <p:cNvSpPr>
                <a:spLocks/>
              </p:cNvSpPr>
              <p:nvPr/>
            </p:nvSpPr>
            <p:spPr bwMode="auto">
              <a:xfrm>
                <a:off x="7096638" y="2816495"/>
                <a:ext cx="2625398" cy="1664910"/>
              </a:xfrm>
              <a:custGeom>
                <a:avLst/>
                <a:gdLst/>
                <a:ahLst/>
                <a:cxnLst>
                  <a:cxn ang="0">
                    <a:pos x="177" y="155"/>
                  </a:cxn>
                  <a:cxn ang="0">
                    <a:pos x="201" y="156"/>
                  </a:cxn>
                  <a:cxn ang="0">
                    <a:pos x="244" y="138"/>
                  </a:cxn>
                  <a:cxn ang="0">
                    <a:pos x="252" y="108"/>
                  </a:cxn>
                  <a:cxn ang="0">
                    <a:pos x="261" y="42"/>
                  </a:cxn>
                  <a:cxn ang="0">
                    <a:pos x="259" y="8"/>
                  </a:cxn>
                  <a:cxn ang="0">
                    <a:pos x="289" y="30"/>
                  </a:cxn>
                  <a:cxn ang="0">
                    <a:pos x="316" y="2"/>
                  </a:cxn>
                  <a:cxn ang="0">
                    <a:pos x="345" y="9"/>
                  </a:cxn>
                  <a:cxn ang="0">
                    <a:pos x="358" y="30"/>
                  </a:cxn>
                  <a:cxn ang="0">
                    <a:pos x="378" y="68"/>
                  </a:cxn>
                  <a:cxn ang="0">
                    <a:pos x="406" y="59"/>
                  </a:cxn>
                  <a:cxn ang="0">
                    <a:pos x="450" y="59"/>
                  </a:cxn>
                  <a:cxn ang="0">
                    <a:pos x="478" y="74"/>
                  </a:cxn>
                  <a:cxn ang="0">
                    <a:pos x="504" y="80"/>
                  </a:cxn>
                  <a:cxn ang="0">
                    <a:pos x="547" y="81"/>
                  </a:cxn>
                  <a:cxn ang="0">
                    <a:pos x="595" y="87"/>
                  </a:cxn>
                  <a:cxn ang="0">
                    <a:pos x="634" y="89"/>
                  </a:cxn>
                  <a:cxn ang="0">
                    <a:pos x="654" y="108"/>
                  </a:cxn>
                  <a:cxn ang="0">
                    <a:pos x="664" y="195"/>
                  </a:cxn>
                  <a:cxn ang="0">
                    <a:pos x="673" y="239"/>
                  </a:cxn>
                  <a:cxn ang="0">
                    <a:pos x="640" y="279"/>
                  </a:cxn>
                  <a:cxn ang="0">
                    <a:pos x="607" y="290"/>
                  </a:cxn>
                  <a:cxn ang="0">
                    <a:pos x="576" y="333"/>
                  </a:cxn>
                  <a:cxn ang="0">
                    <a:pos x="532" y="359"/>
                  </a:cxn>
                  <a:cxn ang="0">
                    <a:pos x="483" y="344"/>
                  </a:cxn>
                  <a:cxn ang="0">
                    <a:pos x="436" y="411"/>
                  </a:cxn>
                  <a:cxn ang="0">
                    <a:pos x="388" y="414"/>
                  </a:cxn>
                  <a:cxn ang="0">
                    <a:pos x="327" y="426"/>
                  </a:cxn>
                  <a:cxn ang="0">
                    <a:pos x="277" y="399"/>
                  </a:cxn>
                  <a:cxn ang="0">
                    <a:pos x="250" y="359"/>
                  </a:cxn>
                  <a:cxn ang="0">
                    <a:pos x="210" y="374"/>
                  </a:cxn>
                  <a:cxn ang="0">
                    <a:pos x="169" y="386"/>
                  </a:cxn>
                  <a:cxn ang="0">
                    <a:pos x="141" y="354"/>
                  </a:cxn>
                  <a:cxn ang="0">
                    <a:pos x="126" y="345"/>
                  </a:cxn>
                  <a:cxn ang="0">
                    <a:pos x="102" y="354"/>
                  </a:cxn>
                  <a:cxn ang="0">
                    <a:pos x="73" y="339"/>
                  </a:cxn>
                  <a:cxn ang="0">
                    <a:pos x="46" y="320"/>
                  </a:cxn>
                  <a:cxn ang="0">
                    <a:pos x="13" y="350"/>
                  </a:cxn>
                  <a:cxn ang="0">
                    <a:pos x="9" y="320"/>
                  </a:cxn>
                  <a:cxn ang="0">
                    <a:pos x="9" y="275"/>
                  </a:cxn>
                  <a:cxn ang="0">
                    <a:pos x="7" y="249"/>
                  </a:cxn>
                  <a:cxn ang="0">
                    <a:pos x="37" y="227"/>
                  </a:cxn>
                  <a:cxn ang="0">
                    <a:pos x="54" y="194"/>
                  </a:cxn>
                  <a:cxn ang="0">
                    <a:pos x="70" y="158"/>
                  </a:cxn>
                  <a:cxn ang="0">
                    <a:pos x="96" y="134"/>
                  </a:cxn>
                  <a:cxn ang="0">
                    <a:pos x="136" y="153"/>
                  </a:cxn>
                  <a:cxn ang="0">
                    <a:pos x="154" y="176"/>
                  </a:cxn>
                </a:cxnLst>
                <a:rect l="0" t="0" r="r" b="b"/>
                <a:pathLst>
                  <a:path w="679" h="436">
                    <a:moveTo>
                      <a:pt x="166" y="173"/>
                    </a:moveTo>
                    <a:cubicBezTo>
                      <a:pt x="194" y="172"/>
                      <a:pt x="147" y="163"/>
                      <a:pt x="175" y="161"/>
                    </a:cubicBezTo>
                    <a:cubicBezTo>
                      <a:pt x="177" y="158"/>
                      <a:pt x="177" y="157"/>
                      <a:pt x="177" y="155"/>
                    </a:cubicBezTo>
                    <a:cubicBezTo>
                      <a:pt x="177" y="153"/>
                      <a:pt x="172" y="147"/>
                      <a:pt x="175" y="146"/>
                    </a:cubicBezTo>
                    <a:cubicBezTo>
                      <a:pt x="181" y="141"/>
                      <a:pt x="186" y="153"/>
                      <a:pt x="193" y="149"/>
                    </a:cubicBezTo>
                    <a:cubicBezTo>
                      <a:pt x="201" y="149"/>
                      <a:pt x="186" y="154"/>
                      <a:pt x="201" y="156"/>
                    </a:cubicBezTo>
                    <a:cubicBezTo>
                      <a:pt x="207" y="156"/>
                      <a:pt x="225" y="153"/>
                      <a:pt x="229" y="150"/>
                    </a:cubicBezTo>
                    <a:cubicBezTo>
                      <a:pt x="233" y="147"/>
                      <a:pt x="222" y="140"/>
                      <a:pt x="225" y="138"/>
                    </a:cubicBezTo>
                    <a:cubicBezTo>
                      <a:pt x="228" y="136"/>
                      <a:pt x="241" y="140"/>
                      <a:pt x="244" y="138"/>
                    </a:cubicBezTo>
                    <a:cubicBezTo>
                      <a:pt x="247" y="136"/>
                      <a:pt x="239" y="129"/>
                      <a:pt x="241" y="126"/>
                    </a:cubicBezTo>
                    <a:cubicBezTo>
                      <a:pt x="242" y="120"/>
                      <a:pt x="249" y="127"/>
                      <a:pt x="253" y="122"/>
                    </a:cubicBezTo>
                    <a:cubicBezTo>
                      <a:pt x="258" y="121"/>
                      <a:pt x="243" y="110"/>
                      <a:pt x="252" y="108"/>
                    </a:cubicBezTo>
                    <a:cubicBezTo>
                      <a:pt x="253" y="104"/>
                      <a:pt x="260" y="100"/>
                      <a:pt x="262" y="96"/>
                    </a:cubicBezTo>
                    <a:cubicBezTo>
                      <a:pt x="264" y="92"/>
                      <a:pt x="264" y="92"/>
                      <a:pt x="264" y="83"/>
                    </a:cubicBezTo>
                    <a:cubicBezTo>
                      <a:pt x="264" y="74"/>
                      <a:pt x="263" y="50"/>
                      <a:pt x="261" y="42"/>
                    </a:cubicBezTo>
                    <a:cubicBezTo>
                      <a:pt x="264" y="36"/>
                      <a:pt x="251" y="36"/>
                      <a:pt x="250" y="33"/>
                    </a:cubicBezTo>
                    <a:cubicBezTo>
                      <a:pt x="249" y="30"/>
                      <a:pt x="251" y="28"/>
                      <a:pt x="252" y="24"/>
                    </a:cubicBezTo>
                    <a:cubicBezTo>
                      <a:pt x="255" y="23"/>
                      <a:pt x="255" y="11"/>
                      <a:pt x="259" y="8"/>
                    </a:cubicBezTo>
                    <a:cubicBezTo>
                      <a:pt x="263" y="5"/>
                      <a:pt x="272" y="8"/>
                      <a:pt x="277" y="9"/>
                    </a:cubicBezTo>
                    <a:cubicBezTo>
                      <a:pt x="282" y="10"/>
                      <a:pt x="287" y="12"/>
                      <a:pt x="289" y="15"/>
                    </a:cubicBezTo>
                    <a:cubicBezTo>
                      <a:pt x="291" y="18"/>
                      <a:pt x="286" y="28"/>
                      <a:pt x="289" y="30"/>
                    </a:cubicBezTo>
                    <a:cubicBezTo>
                      <a:pt x="292" y="32"/>
                      <a:pt x="302" y="29"/>
                      <a:pt x="306" y="26"/>
                    </a:cubicBezTo>
                    <a:cubicBezTo>
                      <a:pt x="310" y="23"/>
                      <a:pt x="310" y="18"/>
                      <a:pt x="312" y="14"/>
                    </a:cubicBezTo>
                    <a:cubicBezTo>
                      <a:pt x="314" y="10"/>
                      <a:pt x="314" y="4"/>
                      <a:pt x="316" y="2"/>
                    </a:cubicBezTo>
                    <a:cubicBezTo>
                      <a:pt x="318" y="0"/>
                      <a:pt x="323" y="1"/>
                      <a:pt x="325" y="2"/>
                    </a:cubicBezTo>
                    <a:cubicBezTo>
                      <a:pt x="327" y="3"/>
                      <a:pt x="328" y="7"/>
                      <a:pt x="331" y="8"/>
                    </a:cubicBezTo>
                    <a:cubicBezTo>
                      <a:pt x="334" y="9"/>
                      <a:pt x="342" y="8"/>
                      <a:pt x="345" y="9"/>
                    </a:cubicBezTo>
                    <a:cubicBezTo>
                      <a:pt x="348" y="10"/>
                      <a:pt x="346" y="13"/>
                      <a:pt x="349" y="17"/>
                    </a:cubicBezTo>
                    <a:cubicBezTo>
                      <a:pt x="352" y="21"/>
                      <a:pt x="363" y="30"/>
                      <a:pt x="364" y="32"/>
                    </a:cubicBezTo>
                    <a:cubicBezTo>
                      <a:pt x="365" y="34"/>
                      <a:pt x="358" y="28"/>
                      <a:pt x="358" y="30"/>
                    </a:cubicBezTo>
                    <a:cubicBezTo>
                      <a:pt x="358" y="32"/>
                      <a:pt x="362" y="41"/>
                      <a:pt x="364" y="45"/>
                    </a:cubicBezTo>
                    <a:cubicBezTo>
                      <a:pt x="366" y="49"/>
                      <a:pt x="371" y="49"/>
                      <a:pt x="373" y="53"/>
                    </a:cubicBezTo>
                    <a:cubicBezTo>
                      <a:pt x="378" y="55"/>
                      <a:pt x="367" y="61"/>
                      <a:pt x="378" y="68"/>
                    </a:cubicBezTo>
                    <a:cubicBezTo>
                      <a:pt x="381" y="71"/>
                      <a:pt x="390" y="70"/>
                      <a:pt x="393" y="69"/>
                    </a:cubicBezTo>
                    <a:cubicBezTo>
                      <a:pt x="396" y="68"/>
                      <a:pt x="394" y="62"/>
                      <a:pt x="396" y="60"/>
                    </a:cubicBezTo>
                    <a:cubicBezTo>
                      <a:pt x="398" y="58"/>
                      <a:pt x="404" y="61"/>
                      <a:pt x="406" y="59"/>
                    </a:cubicBezTo>
                    <a:cubicBezTo>
                      <a:pt x="411" y="61"/>
                      <a:pt x="403" y="52"/>
                      <a:pt x="409" y="50"/>
                    </a:cubicBezTo>
                    <a:cubicBezTo>
                      <a:pt x="415" y="48"/>
                      <a:pt x="435" y="44"/>
                      <a:pt x="442" y="45"/>
                    </a:cubicBezTo>
                    <a:cubicBezTo>
                      <a:pt x="449" y="46"/>
                      <a:pt x="446" y="58"/>
                      <a:pt x="450" y="59"/>
                    </a:cubicBezTo>
                    <a:cubicBezTo>
                      <a:pt x="454" y="60"/>
                      <a:pt x="464" y="53"/>
                      <a:pt x="468" y="53"/>
                    </a:cubicBezTo>
                    <a:cubicBezTo>
                      <a:pt x="472" y="53"/>
                      <a:pt x="475" y="53"/>
                      <a:pt x="477" y="56"/>
                    </a:cubicBezTo>
                    <a:cubicBezTo>
                      <a:pt x="479" y="59"/>
                      <a:pt x="476" y="72"/>
                      <a:pt x="478" y="74"/>
                    </a:cubicBezTo>
                    <a:cubicBezTo>
                      <a:pt x="480" y="76"/>
                      <a:pt x="485" y="68"/>
                      <a:pt x="487" y="69"/>
                    </a:cubicBezTo>
                    <a:cubicBezTo>
                      <a:pt x="489" y="70"/>
                      <a:pt x="486" y="79"/>
                      <a:pt x="489" y="81"/>
                    </a:cubicBezTo>
                    <a:cubicBezTo>
                      <a:pt x="492" y="83"/>
                      <a:pt x="501" y="78"/>
                      <a:pt x="504" y="80"/>
                    </a:cubicBezTo>
                    <a:cubicBezTo>
                      <a:pt x="504" y="88"/>
                      <a:pt x="497" y="90"/>
                      <a:pt x="504" y="93"/>
                    </a:cubicBezTo>
                    <a:cubicBezTo>
                      <a:pt x="510" y="95"/>
                      <a:pt x="534" y="92"/>
                      <a:pt x="541" y="90"/>
                    </a:cubicBezTo>
                    <a:cubicBezTo>
                      <a:pt x="545" y="91"/>
                      <a:pt x="544" y="79"/>
                      <a:pt x="547" y="81"/>
                    </a:cubicBezTo>
                    <a:cubicBezTo>
                      <a:pt x="556" y="87"/>
                      <a:pt x="555" y="71"/>
                      <a:pt x="558" y="81"/>
                    </a:cubicBezTo>
                    <a:cubicBezTo>
                      <a:pt x="562" y="88"/>
                      <a:pt x="582" y="77"/>
                      <a:pt x="588" y="78"/>
                    </a:cubicBezTo>
                    <a:cubicBezTo>
                      <a:pt x="594" y="79"/>
                      <a:pt x="592" y="85"/>
                      <a:pt x="595" y="87"/>
                    </a:cubicBezTo>
                    <a:cubicBezTo>
                      <a:pt x="598" y="89"/>
                      <a:pt x="603" y="88"/>
                      <a:pt x="606" y="89"/>
                    </a:cubicBezTo>
                    <a:cubicBezTo>
                      <a:pt x="609" y="90"/>
                      <a:pt x="610" y="95"/>
                      <a:pt x="615" y="95"/>
                    </a:cubicBezTo>
                    <a:cubicBezTo>
                      <a:pt x="620" y="95"/>
                      <a:pt x="629" y="90"/>
                      <a:pt x="634" y="89"/>
                    </a:cubicBezTo>
                    <a:cubicBezTo>
                      <a:pt x="639" y="88"/>
                      <a:pt x="645" y="85"/>
                      <a:pt x="646" y="87"/>
                    </a:cubicBezTo>
                    <a:cubicBezTo>
                      <a:pt x="647" y="89"/>
                      <a:pt x="641" y="98"/>
                      <a:pt x="642" y="101"/>
                    </a:cubicBezTo>
                    <a:cubicBezTo>
                      <a:pt x="643" y="104"/>
                      <a:pt x="651" y="104"/>
                      <a:pt x="654" y="108"/>
                    </a:cubicBezTo>
                    <a:cubicBezTo>
                      <a:pt x="657" y="112"/>
                      <a:pt x="655" y="118"/>
                      <a:pt x="658" y="122"/>
                    </a:cubicBezTo>
                    <a:cubicBezTo>
                      <a:pt x="661" y="126"/>
                      <a:pt x="668" y="122"/>
                      <a:pt x="669" y="134"/>
                    </a:cubicBezTo>
                    <a:cubicBezTo>
                      <a:pt x="670" y="146"/>
                      <a:pt x="663" y="183"/>
                      <a:pt x="664" y="195"/>
                    </a:cubicBezTo>
                    <a:cubicBezTo>
                      <a:pt x="665" y="207"/>
                      <a:pt x="671" y="204"/>
                      <a:pt x="673" y="209"/>
                    </a:cubicBezTo>
                    <a:cubicBezTo>
                      <a:pt x="675" y="214"/>
                      <a:pt x="679" y="219"/>
                      <a:pt x="679" y="224"/>
                    </a:cubicBezTo>
                    <a:cubicBezTo>
                      <a:pt x="679" y="229"/>
                      <a:pt x="675" y="234"/>
                      <a:pt x="673" y="239"/>
                    </a:cubicBezTo>
                    <a:cubicBezTo>
                      <a:pt x="671" y="244"/>
                      <a:pt x="670" y="251"/>
                      <a:pt x="667" y="255"/>
                    </a:cubicBezTo>
                    <a:cubicBezTo>
                      <a:pt x="664" y="259"/>
                      <a:pt x="657" y="260"/>
                      <a:pt x="652" y="264"/>
                    </a:cubicBezTo>
                    <a:cubicBezTo>
                      <a:pt x="647" y="268"/>
                      <a:pt x="643" y="277"/>
                      <a:pt x="640" y="279"/>
                    </a:cubicBezTo>
                    <a:cubicBezTo>
                      <a:pt x="637" y="281"/>
                      <a:pt x="636" y="274"/>
                      <a:pt x="633" y="275"/>
                    </a:cubicBezTo>
                    <a:cubicBezTo>
                      <a:pt x="630" y="276"/>
                      <a:pt x="623" y="284"/>
                      <a:pt x="619" y="287"/>
                    </a:cubicBezTo>
                    <a:cubicBezTo>
                      <a:pt x="615" y="290"/>
                      <a:pt x="610" y="287"/>
                      <a:pt x="607" y="290"/>
                    </a:cubicBezTo>
                    <a:cubicBezTo>
                      <a:pt x="604" y="293"/>
                      <a:pt x="616" y="300"/>
                      <a:pt x="603" y="303"/>
                    </a:cubicBezTo>
                    <a:cubicBezTo>
                      <a:pt x="600" y="307"/>
                      <a:pt x="592" y="309"/>
                      <a:pt x="588" y="314"/>
                    </a:cubicBezTo>
                    <a:cubicBezTo>
                      <a:pt x="581" y="326"/>
                      <a:pt x="589" y="332"/>
                      <a:pt x="576" y="333"/>
                    </a:cubicBezTo>
                    <a:cubicBezTo>
                      <a:pt x="567" y="336"/>
                      <a:pt x="583" y="352"/>
                      <a:pt x="559" y="351"/>
                    </a:cubicBezTo>
                    <a:cubicBezTo>
                      <a:pt x="555" y="356"/>
                      <a:pt x="553" y="361"/>
                      <a:pt x="549" y="362"/>
                    </a:cubicBezTo>
                    <a:cubicBezTo>
                      <a:pt x="545" y="363"/>
                      <a:pt x="537" y="361"/>
                      <a:pt x="532" y="359"/>
                    </a:cubicBezTo>
                    <a:cubicBezTo>
                      <a:pt x="527" y="357"/>
                      <a:pt x="524" y="353"/>
                      <a:pt x="519" y="350"/>
                    </a:cubicBezTo>
                    <a:cubicBezTo>
                      <a:pt x="514" y="347"/>
                      <a:pt x="507" y="343"/>
                      <a:pt x="501" y="342"/>
                    </a:cubicBezTo>
                    <a:cubicBezTo>
                      <a:pt x="495" y="341"/>
                      <a:pt x="489" y="343"/>
                      <a:pt x="483" y="344"/>
                    </a:cubicBezTo>
                    <a:cubicBezTo>
                      <a:pt x="477" y="345"/>
                      <a:pt x="471" y="348"/>
                      <a:pt x="466" y="351"/>
                    </a:cubicBezTo>
                    <a:cubicBezTo>
                      <a:pt x="461" y="354"/>
                      <a:pt x="456" y="352"/>
                      <a:pt x="451" y="362"/>
                    </a:cubicBezTo>
                    <a:cubicBezTo>
                      <a:pt x="446" y="372"/>
                      <a:pt x="441" y="402"/>
                      <a:pt x="436" y="411"/>
                    </a:cubicBezTo>
                    <a:cubicBezTo>
                      <a:pt x="431" y="420"/>
                      <a:pt x="425" y="417"/>
                      <a:pt x="420" y="419"/>
                    </a:cubicBezTo>
                    <a:cubicBezTo>
                      <a:pt x="415" y="419"/>
                      <a:pt x="416" y="435"/>
                      <a:pt x="405" y="425"/>
                    </a:cubicBezTo>
                    <a:cubicBezTo>
                      <a:pt x="400" y="424"/>
                      <a:pt x="395" y="416"/>
                      <a:pt x="388" y="414"/>
                    </a:cubicBezTo>
                    <a:cubicBezTo>
                      <a:pt x="381" y="412"/>
                      <a:pt x="371" y="413"/>
                      <a:pt x="364" y="414"/>
                    </a:cubicBezTo>
                    <a:cubicBezTo>
                      <a:pt x="357" y="415"/>
                      <a:pt x="355" y="420"/>
                      <a:pt x="349" y="422"/>
                    </a:cubicBezTo>
                    <a:cubicBezTo>
                      <a:pt x="343" y="424"/>
                      <a:pt x="334" y="426"/>
                      <a:pt x="327" y="426"/>
                    </a:cubicBezTo>
                    <a:cubicBezTo>
                      <a:pt x="320" y="436"/>
                      <a:pt x="317" y="418"/>
                      <a:pt x="307" y="422"/>
                    </a:cubicBezTo>
                    <a:cubicBezTo>
                      <a:pt x="301" y="419"/>
                      <a:pt x="300" y="426"/>
                      <a:pt x="291" y="416"/>
                    </a:cubicBezTo>
                    <a:cubicBezTo>
                      <a:pt x="286" y="412"/>
                      <a:pt x="279" y="405"/>
                      <a:pt x="277" y="399"/>
                    </a:cubicBezTo>
                    <a:cubicBezTo>
                      <a:pt x="275" y="393"/>
                      <a:pt x="282" y="387"/>
                      <a:pt x="280" y="381"/>
                    </a:cubicBezTo>
                    <a:cubicBezTo>
                      <a:pt x="278" y="375"/>
                      <a:pt x="272" y="367"/>
                      <a:pt x="267" y="363"/>
                    </a:cubicBezTo>
                    <a:cubicBezTo>
                      <a:pt x="262" y="359"/>
                      <a:pt x="255" y="358"/>
                      <a:pt x="250" y="359"/>
                    </a:cubicBezTo>
                    <a:cubicBezTo>
                      <a:pt x="231" y="352"/>
                      <a:pt x="242" y="373"/>
                      <a:pt x="235" y="366"/>
                    </a:cubicBezTo>
                    <a:cubicBezTo>
                      <a:pt x="230" y="368"/>
                      <a:pt x="224" y="373"/>
                      <a:pt x="220" y="374"/>
                    </a:cubicBezTo>
                    <a:cubicBezTo>
                      <a:pt x="216" y="375"/>
                      <a:pt x="213" y="374"/>
                      <a:pt x="210" y="374"/>
                    </a:cubicBezTo>
                    <a:cubicBezTo>
                      <a:pt x="207" y="374"/>
                      <a:pt x="203" y="372"/>
                      <a:pt x="199" y="375"/>
                    </a:cubicBezTo>
                    <a:cubicBezTo>
                      <a:pt x="195" y="378"/>
                      <a:pt x="191" y="387"/>
                      <a:pt x="186" y="389"/>
                    </a:cubicBezTo>
                    <a:cubicBezTo>
                      <a:pt x="181" y="391"/>
                      <a:pt x="174" y="388"/>
                      <a:pt x="169" y="386"/>
                    </a:cubicBezTo>
                    <a:cubicBezTo>
                      <a:pt x="164" y="384"/>
                      <a:pt x="161" y="378"/>
                      <a:pt x="157" y="375"/>
                    </a:cubicBezTo>
                    <a:cubicBezTo>
                      <a:pt x="153" y="372"/>
                      <a:pt x="148" y="372"/>
                      <a:pt x="145" y="368"/>
                    </a:cubicBezTo>
                    <a:cubicBezTo>
                      <a:pt x="142" y="364"/>
                      <a:pt x="141" y="358"/>
                      <a:pt x="141" y="354"/>
                    </a:cubicBezTo>
                    <a:cubicBezTo>
                      <a:pt x="141" y="350"/>
                      <a:pt x="143" y="346"/>
                      <a:pt x="142" y="344"/>
                    </a:cubicBezTo>
                    <a:cubicBezTo>
                      <a:pt x="141" y="342"/>
                      <a:pt x="136" y="341"/>
                      <a:pt x="133" y="341"/>
                    </a:cubicBezTo>
                    <a:cubicBezTo>
                      <a:pt x="130" y="341"/>
                      <a:pt x="129" y="344"/>
                      <a:pt x="126" y="345"/>
                    </a:cubicBezTo>
                    <a:cubicBezTo>
                      <a:pt x="123" y="346"/>
                      <a:pt x="119" y="347"/>
                      <a:pt x="117" y="348"/>
                    </a:cubicBezTo>
                    <a:cubicBezTo>
                      <a:pt x="115" y="349"/>
                      <a:pt x="116" y="349"/>
                      <a:pt x="114" y="350"/>
                    </a:cubicBezTo>
                    <a:cubicBezTo>
                      <a:pt x="113" y="346"/>
                      <a:pt x="105" y="355"/>
                      <a:pt x="102" y="354"/>
                    </a:cubicBezTo>
                    <a:cubicBezTo>
                      <a:pt x="99" y="353"/>
                      <a:pt x="101" y="347"/>
                      <a:pt x="99" y="345"/>
                    </a:cubicBezTo>
                    <a:cubicBezTo>
                      <a:pt x="97" y="343"/>
                      <a:pt x="91" y="340"/>
                      <a:pt x="87" y="339"/>
                    </a:cubicBezTo>
                    <a:cubicBezTo>
                      <a:pt x="83" y="338"/>
                      <a:pt x="78" y="338"/>
                      <a:pt x="73" y="339"/>
                    </a:cubicBezTo>
                    <a:cubicBezTo>
                      <a:pt x="74" y="336"/>
                      <a:pt x="57" y="350"/>
                      <a:pt x="57" y="342"/>
                    </a:cubicBezTo>
                    <a:cubicBezTo>
                      <a:pt x="53" y="340"/>
                      <a:pt x="51" y="332"/>
                      <a:pt x="49" y="329"/>
                    </a:cubicBezTo>
                    <a:cubicBezTo>
                      <a:pt x="47" y="326"/>
                      <a:pt x="48" y="320"/>
                      <a:pt x="46" y="320"/>
                    </a:cubicBezTo>
                    <a:cubicBezTo>
                      <a:pt x="49" y="315"/>
                      <a:pt x="36" y="338"/>
                      <a:pt x="36" y="332"/>
                    </a:cubicBezTo>
                    <a:cubicBezTo>
                      <a:pt x="33" y="336"/>
                      <a:pt x="31" y="342"/>
                      <a:pt x="27" y="345"/>
                    </a:cubicBezTo>
                    <a:cubicBezTo>
                      <a:pt x="23" y="348"/>
                      <a:pt x="17" y="350"/>
                      <a:pt x="13" y="350"/>
                    </a:cubicBezTo>
                    <a:cubicBezTo>
                      <a:pt x="9" y="350"/>
                      <a:pt x="2" y="348"/>
                      <a:pt x="1" y="345"/>
                    </a:cubicBezTo>
                    <a:cubicBezTo>
                      <a:pt x="0" y="342"/>
                      <a:pt x="5" y="336"/>
                      <a:pt x="6" y="332"/>
                    </a:cubicBezTo>
                    <a:cubicBezTo>
                      <a:pt x="7" y="328"/>
                      <a:pt x="9" y="325"/>
                      <a:pt x="9" y="320"/>
                    </a:cubicBezTo>
                    <a:cubicBezTo>
                      <a:pt x="9" y="315"/>
                      <a:pt x="5" y="306"/>
                      <a:pt x="4" y="300"/>
                    </a:cubicBezTo>
                    <a:cubicBezTo>
                      <a:pt x="3" y="294"/>
                      <a:pt x="3" y="285"/>
                      <a:pt x="4" y="281"/>
                    </a:cubicBezTo>
                    <a:cubicBezTo>
                      <a:pt x="5" y="277"/>
                      <a:pt x="6" y="276"/>
                      <a:pt x="9" y="275"/>
                    </a:cubicBezTo>
                    <a:cubicBezTo>
                      <a:pt x="12" y="274"/>
                      <a:pt x="21" y="278"/>
                      <a:pt x="21" y="276"/>
                    </a:cubicBezTo>
                    <a:cubicBezTo>
                      <a:pt x="21" y="274"/>
                      <a:pt x="12" y="265"/>
                      <a:pt x="10" y="261"/>
                    </a:cubicBezTo>
                    <a:cubicBezTo>
                      <a:pt x="8" y="257"/>
                      <a:pt x="6" y="252"/>
                      <a:pt x="7" y="249"/>
                    </a:cubicBezTo>
                    <a:cubicBezTo>
                      <a:pt x="8" y="246"/>
                      <a:pt x="15" y="241"/>
                      <a:pt x="19" y="240"/>
                    </a:cubicBezTo>
                    <a:cubicBezTo>
                      <a:pt x="27" y="239"/>
                      <a:pt x="28" y="242"/>
                      <a:pt x="31" y="240"/>
                    </a:cubicBezTo>
                    <a:cubicBezTo>
                      <a:pt x="34" y="238"/>
                      <a:pt x="35" y="231"/>
                      <a:pt x="37" y="227"/>
                    </a:cubicBezTo>
                    <a:cubicBezTo>
                      <a:pt x="39" y="223"/>
                      <a:pt x="40" y="218"/>
                      <a:pt x="42" y="215"/>
                    </a:cubicBezTo>
                    <a:cubicBezTo>
                      <a:pt x="44" y="212"/>
                      <a:pt x="50" y="209"/>
                      <a:pt x="52" y="206"/>
                    </a:cubicBezTo>
                    <a:cubicBezTo>
                      <a:pt x="54" y="203"/>
                      <a:pt x="53" y="198"/>
                      <a:pt x="54" y="194"/>
                    </a:cubicBezTo>
                    <a:cubicBezTo>
                      <a:pt x="55" y="190"/>
                      <a:pt x="55" y="186"/>
                      <a:pt x="57" y="182"/>
                    </a:cubicBezTo>
                    <a:cubicBezTo>
                      <a:pt x="59" y="181"/>
                      <a:pt x="59" y="164"/>
                      <a:pt x="66" y="170"/>
                    </a:cubicBezTo>
                    <a:cubicBezTo>
                      <a:pt x="68" y="166"/>
                      <a:pt x="68" y="162"/>
                      <a:pt x="70" y="158"/>
                    </a:cubicBezTo>
                    <a:cubicBezTo>
                      <a:pt x="72" y="154"/>
                      <a:pt x="73" y="148"/>
                      <a:pt x="76" y="146"/>
                    </a:cubicBezTo>
                    <a:cubicBezTo>
                      <a:pt x="79" y="144"/>
                      <a:pt x="84" y="145"/>
                      <a:pt x="87" y="143"/>
                    </a:cubicBezTo>
                    <a:cubicBezTo>
                      <a:pt x="90" y="141"/>
                      <a:pt x="92" y="136"/>
                      <a:pt x="96" y="134"/>
                    </a:cubicBezTo>
                    <a:cubicBezTo>
                      <a:pt x="100" y="132"/>
                      <a:pt x="109" y="129"/>
                      <a:pt x="114" y="131"/>
                    </a:cubicBezTo>
                    <a:cubicBezTo>
                      <a:pt x="119" y="133"/>
                      <a:pt x="120" y="142"/>
                      <a:pt x="124" y="146"/>
                    </a:cubicBezTo>
                    <a:cubicBezTo>
                      <a:pt x="128" y="150"/>
                      <a:pt x="134" y="150"/>
                      <a:pt x="136" y="153"/>
                    </a:cubicBezTo>
                    <a:cubicBezTo>
                      <a:pt x="138" y="156"/>
                      <a:pt x="133" y="165"/>
                      <a:pt x="136" y="167"/>
                    </a:cubicBezTo>
                    <a:cubicBezTo>
                      <a:pt x="139" y="169"/>
                      <a:pt x="148" y="164"/>
                      <a:pt x="151" y="165"/>
                    </a:cubicBezTo>
                    <a:cubicBezTo>
                      <a:pt x="154" y="166"/>
                      <a:pt x="152" y="175"/>
                      <a:pt x="154" y="176"/>
                    </a:cubicBezTo>
                    <a:cubicBezTo>
                      <a:pt x="155" y="172"/>
                      <a:pt x="161" y="163"/>
                      <a:pt x="166" y="173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6" name="Freeform 11"/>
              <p:cNvSpPr>
                <a:spLocks/>
              </p:cNvSpPr>
              <p:nvPr/>
            </p:nvSpPr>
            <p:spPr bwMode="auto">
              <a:xfrm>
                <a:off x="9431102" y="2264566"/>
                <a:ext cx="1763243" cy="1998548"/>
              </a:xfrm>
              <a:custGeom>
                <a:avLst/>
                <a:gdLst/>
                <a:ahLst/>
                <a:cxnLst>
                  <a:cxn ang="0">
                    <a:pos x="31" y="112"/>
                  </a:cxn>
                  <a:cxn ang="0">
                    <a:pos x="70" y="110"/>
                  </a:cxn>
                  <a:cxn ang="0">
                    <a:pos x="77" y="86"/>
                  </a:cxn>
                  <a:cxn ang="0">
                    <a:pos x="97" y="68"/>
                  </a:cxn>
                  <a:cxn ang="0">
                    <a:pos x="106" y="56"/>
                  </a:cxn>
                  <a:cxn ang="0">
                    <a:pos x="122" y="44"/>
                  </a:cxn>
                  <a:cxn ang="0">
                    <a:pos x="143" y="38"/>
                  </a:cxn>
                  <a:cxn ang="0">
                    <a:pos x="164" y="16"/>
                  </a:cxn>
                  <a:cxn ang="0">
                    <a:pos x="187" y="7"/>
                  </a:cxn>
                  <a:cxn ang="0">
                    <a:pos x="221" y="10"/>
                  </a:cxn>
                  <a:cxn ang="0">
                    <a:pos x="227" y="40"/>
                  </a:cxn>
                  <a:cxn ang="0">
                    <a:pos x="209" y="56"/>
                  </a:cxn>
                  <a:cxn ang="0">
                    <a:pos x="236" y="59"/>
                  </a:cxn>
                  <a:cxn ang="0">
                    <a:pos x="266" y="71"/>
                  </a:cxn>
                  <a:cxn ang="0">
                    <a:pos x="283" y="86"/>
                  </a:cxn>
                  <a:cxn ang="0">
                    <a:pos x="304" y="101"/>
                  </a:cxn>
                  <a:cxn ang="0">
                    <a:pos x="310" y="119"/>
                  </a:cxn>
                  <a:cxn ang="0">
                    <a:pos x="332" y="127"/>
                  </a:cxn>
                  <a:cxn ang="0">
                    <a:pos x="350" y="145"/>
                  </a:cxn>
                  <a:cxn ang="0">
                    <a:pos x="371" y="164"/>
                  </a:cxn>
                  <a:cxn ang="0">
                    <a:pos x="380" y="197"/>
                  </a:cxn>
                  <a:cxn ang="0">
                    <a:pos x="403" y="212"/>
                  </a:cxn>
                  <a:cxn ang="0">
                    <a:pos x="422" y="226"/>
                  </a:cxn>
                  <a:cxn ang="0">
                    <a:pos x="428" y="244"/>
                  </a:cxn>
                  <a:cxn ang="0">
                    <a:pos x="442" y="253"/>
                  </a:cxn>
                  <a:cxn ang="0">
                    <a:pos x="448" y="287"/>
                  </a:cxn>
                  <a:cxn ang="0">
                    <a:pos x="421" y="328"/>
                  </a:cxn>
                  <a:cxn ang="0">
                    <a:pos x="398" y="362"/>
                  </a:cxn>
                  <a:cxn ang="0">
                    <a:pos x="407" y="401"/>
                  </a:cxn>
                  <a:cxn ang="0">
                    <a:pos x="421" y="439"/>
                  </a:cxn>
                  <a:cxn ang="0">
                    <a:pos x="431" y="463"/>
                  </a:cxn>
                  <a:cxn ang="0">
                    <a:pos x="412" y="484"/>
                  </a:cxn>
                  <a:cxn ang="0">
                    <a:pos x="383" y="484"/>
                  </a:cxn>
                  <a:cxn ang="0">
                    <a:pos x="365" y="469"/>
                  </a:cxn>
                  <a:cxn ang="0">
                    <a:pos x="343" y="439"/>
                  </a:cxn>
                  <a:cxn ang="0">
                    <a:pos x="308" y="437"/>
                  </a:cxn>
                  <a:cxn ang="0">
                    <a:pos x="292" y="445"/>
                  </a:cxn>
                  <a:cxn ang="0">
                    <a:pos x="275" y="478"/>
                  </a:cxn>
                  <a:cxn ang="0">
                    <a:pos x="256" y="485"/>
                  </a:cxn>
                  <a:cxn ang="0">
                    <a:pos x="242" y="496"/>
                  </a:cxn>
                  <a:cxn ang="0">
                    <a:pos x="199" y="521"/>
                  </a:cxn>
                  <a:cxn ang="0">
                    <a:pos x="151" y="509"/>
                  </a:cxn>
                  <a:cxn ang="0">
                    <a:pos x="139" y="487"/>
                  </a:cxn>
                  <a:cxn ang="0">
                    <a:pos x="101" y="458"/>
                  </a:cxn>
                  <a:cxn ang="0">
                    <a:pos x="73" y="443"/>
                  </a:cxn>
                  <a:cxn ang="0">
                    <a:pos x="65" y="409"/>
                  </a:cxn>
                  <a:cxn ang="0">
                    <a:pos x="62" y="373"/>
                  </a:cxn>
                  <a:cxn ang="0">
                    <a:pos x="65" y="350"/>
                  </a:cxn>
                  <a:cxn ang="0">
                    <a:pos x="58" y="314"/>
                  </a:cxn>
                  <a:cxn ang="0">
                    <a:pos x="55" y="265"/>
                  </a:cxn>
                  <a:cxn ang="0">
                    <a:pos x="71" y="245"/>
                  </a:cxn>
                  <a:cxn ang="0">
                    <a:pos x="46" y="229"/>
                  </a:cxn>
                  <a:cxn ang="0">
                    <a:pos x="43" y="196"/>
                  </a:cxn>
                  <a:cxn ang="0">
                    <a:pos x="49" y="184"/>
                  </a:cxn>
                  <a:cxn ang="0">
                    <a:pos x="31" y="181"/>
                  </a:cxn>
                  <a:cxn ang="0">
                    <a:pos x="22" y="170"/>
                  </a:cxn>
                  <a:cxn ang="0">
                    <a:pos x="14" y="148"/>
                  </a:cxn>
                  <a:cxn ang="0">
                    <a:pos x="1" y="125"/>
                  </a:cxn>
                </a:cxnLst>
                <a:rect l="0" t="0" r="r" b="b"/>
                <a:pathLst>
                  <a:path w="456" h="523">
                    <a:moveTo>
                      <a:pt x="16" y="112"/>
                    </a:moveTo>
                    <a:cubicBezTo>
                      <a:pt x="22" y="111"/>
                      <a:pt x="15" y="110"/>
                      <a:pt x="31" y="112"/>
                    </a:cubicBezTo>
                    <a:cubicBezTo>
                      <a:pt x="37" y="112"/>
                      <a:pt x="47" y="113"/>
                      <a:pt x="53" y="113"/>
                    </a:cubicBezTo>
                    <a:cubicBezTo>
                      <a:pt x="59" y="113"/>
                      <a:pt x="67" y="113"/>
                      <a:pt x="70" y="110"/>
                    </a:cubicBezTo>
                    <a:cubicBezTo>
                      <a:pt x="73" y="107"/>
                      <a:pt x="69" y="99"/>
                      <a:pt x="70" y="95"/>
                    </a:cubicBezTo>
                    <a:cubicBezTo>
                      <a:pt x="71" y="91"/>
                      <a:pt x="75" y="89"/>
                      <a:pt x="77" y="86"/>
                    </a:cubicBezTo>
                    <a:cubicBezTo>
                      <a:pt x="79" y="83"/>
                      <a:pt x="80" y="77"/>
                      <a:pt x="83" y="74"/>
                    </a:cubicBezTo>
                    <a:cubicBezTo>
                      <a:pt x="86" y="71"/>
                      <a:pt x="95" y="71"/>
                      <a:pt x="97" y="68"/>
                    </a:cubicBezTo>
                    <a:cubicBezTo>
                      <a:pt x="99" y="65"/>
                      <a:pt x="93" y="55"/>
                      <a:pt x="94" y="53"/>
                    </a:cubicBezTo>
                    <a:cubicBezTo>
                      <a:pt x="95" y="51"/>
                      <a:pt x="103" y="58"/>
                      <a:pt x="106" y="56"/>
                    </a:cubicBezTo>
                    <a:cubicBezTo>
                      <a:pt x="109" y="60"/>
                      <a:pt x="106" y="46"/>
                      <a:pt x="110" y="44"/>
                    </a:cubicBezTo>
                    <a:cubicBezTo>
                      <a:pt x="113" y="42"/>
                      <a:pt x="118" y="45"/>
                      <a:pt x="122" y="44"/>
                    </a:cubicBezTo>
                    <a:cubicBezTo>
                      <a:pt x="126" y="43"/>
                      <a:pt x="133" y="36"/>
                      <a:pt x="136" y="35"/>
                    </a:cubicBezTo>
                    <a:cubicBezTo>
                      <a:pt x="139" y="34"/>
                      <a:pt x="140" y="39"/>
                      <a:pt x="143" y="38"/>
                    </a:cubicBezTo>
                    <a:cubicBezTo>
                      <a:pt x="146" y="41"/>
                      <a:pt x="151" y="20"/>
                      <a:pt x="155" y="31"/>
                    </a:cubicBezTo>
                    <a:cubicBezTo>
                      <a:pt x="158" y="27"/>
                      <a:pt x="161" y="19"/>
                      <a:pt x="164" y="16"/>
                    </a:cubicBezTo>
                    <a:cubicBezTo>
                      <a:pt x="167" y="13"/>
                      <a:pt x="172" y="12"/>
                      <a:pt x="176" y="11"/>
                    </a:cubicBezTo>
                    <a:cubicBezTo>
                      <a:pt x="180" y="10"/>
                      <a:pt x="183" y="9"/>
                      <a:pt x="187" y="7"/>
                    </a:cubicBezTo>
                    <a:cubicBezTo>
                      <a:pt x="191" y="5"/>
                      <a:pt x="196" y="0"/>
                      <a:pt x="202" y="1"/>
                    </a:cubicBezTo>
                    <a:cubicBezTo>
                      <a:pt x="208" y="2"/>
                      <a:pt x="217" y="7"/>
                      <a:pt x="221" y="10"/>
                    </a:cubicBezTo>
                    <a:cubicBezTo>
                      <a:pt x="225" y="13"/>
                      <a:pt x="226" y="17"/>
                      <a:pt x="227" y="22"/>
                    </a:cubicBezTo>
                    <a:cubicBezTo>
                      <a:pt x="225" y="28"/>
                      <a:pt x="237" y="26"/>
                      <a:pt x="227" y="40"/>
                    </a:cubicBezTo>
                    <a:cubicBezTo>
                      <a:pt x="225" y="45"/>
                      <a:pt x="215" y="49"/>
                      <a:pt x="212" y="52"/>
                    </a:cubicBezTo>
                    <a:cubicBezTo>
                      <a:pt x="209" y="55"/>
                      <a:pt x="208" y="55"/>
                      <a:pt x="209" y="56"/>
                    </a:cubicBezTo>
                    <a:cubicBezTo>
                      <a:pt x="210" y="57"/>
                      <a:pt x="214" y="59"/>
                      <a:pt x="218" y="59"/>
                    </a:cubicBezTo>
                    <a:cubicBezTo>
                      <a:pt x="222" y="59"/>
                      <a:pt x="230" y="58"/>
                      <a:pt x="236" y="59"/>
                    </a:cubicBezTo>
                    <a:cubicBezTo>
                      <a:pt x="240" y="62"/>
                      <a:pt x="254" y="55"/>
                      <a:pt x="254" y="67"/>
                    </a:cubicBezTo>
                    <a:cubicBezTo>
                      <a:pt x="259" y="69"/>
                      <a:pt x="263" y="70"/>
                      <a:pt x="266" y="71"/>
                    </a:cubicBezTo>
                    <a:cubicBezTo>
                      <a:pt x="269" y="72"/>
                      <a:pt x="271" y="72"/>
                      <a:pt x="274" y="74"/>
                    </a:cubicBezTo>
                    <a:cubicBezTo>
                      <a:pt x="277" y="76"/>
                      <a:pt x="279" y="83"/>
                      <a:pt x="283" y="86"/>
                    </a:cubicBezTo>
                    <a:cubicBezTo>
                      <a:pt x="287" y="89"/>
                      <a:pt x="292" y="90"/>
                      <a:pt x="295" y="92"/>
                    </a:cubicBezTo>
                    <a:cubicBezTo>
                      <a:pt x="298" y="94"/>
                      <a:pt x="303" y="98"/>
                      <a:pt x="304" y="101"/>
                    </a:cubicBezTo>
                    <a:cubicBezTo>
                      <a:pt x="305" y="104"/>
                      <a:pt x="297" y="109"/>
                      <a:pt x="298" y="112"/>
                    </a:cubicBezTo>
                    <a:cubicBezTo>
                      <a:pt x="295" y="116"/>
                      <a:pt x="315" y="112"/>
                      <a:pt x="310" y="119"/>
                    </a:cubicBezTo>
                    <a:cubicBezTo>
                      <a:pt x="313" y="122"/>
                      <a:pt x="312" y="129"/>
                      <a:pt x="316" y="130"/>
                    </a:cubicBezTo>
                    <a:cubicBezTo>
                      <a:pt x="320" y="131"/>
                      <a:pt x="327" y="126"/>
                      <a:pt x="332" y="127"/>
                    </a:cubicBezTo>
                    <a:cubicBezTo>
                      <a:pt x="337" y="128"/>
                      <a:pt x="341" y="130"/>
                      <a:pt x="344" y="133"/>
                    </a:cubicBezTo>
                    <a:cubicBezTo>
                      <a:pt x="347" y="135"/>
                      <a:pt x="350" y="145"/>
                      <a:pt x="350" y="145"/>
                    </a:cubicBezTo>
                    <a:cubicBezTo>
                      <a:pt x="353" y="150"/>
                      <a:pt x="362" y="148"/>
                      <a:pt x="362" y="148"/>
                    </a:cubicBezTo>
                    <a:cubicBezTo>
                      <a:pt x="364" y="151"/>
                      <a:pt x="375" y="154"/>
                      <a:pt x="371" y="164"/>
                    </a:cubicBezTo>
                    <a:cubicBezTo>
                      <a:pt x="375" y="168"/>
                      <a:pt x="388" y="170"/>
                      <a:pt x="389" y="175"/>
                    </a:cubicBezTo>
                    <a:cubicBezTo>
                      <a:pt x="390" y="180"/>
                      <a:pt x="379" y="192"/>
                      <a:pt x="380" y="197"/>
                    </a:cubicBezTo>
                    <a:cubicBezTo>
                      <a:pt x="381" y="202"/>
                      <a:pt x="393" y="201"/>
                      <a:pt x="397" y="203"/>
                    </a:cubicBezTo>
                    <a:cubicBezTo>
                      <a:pt x="401" y="205"/>
                      <a:pt x="402" y="208"/>
                      <a:pt x="403" y="212"/>
                    </a:cubicBezTo>
                    <a:cubicBezTo>
                      <a:pt x="405" y="222"/>
                      <a:pt x="397" y="216"/>
                      <a:pt x="403" y="224"/>
                    </a:cubicBezTo>
                    <a:cubicBezTo>
                      <a:pt x="404" y="231"/>
                      <a:pt x="417" y="222"/>
                      <a:pt x="422" y="226"/>
                    </a:cubicBezTo>
                    <a:cubicBezTo>
                      <a:pt x="425" y="233"/>
                      <a:pt x="418" y="221"/>
                      <a:pt x="431" y="229"/>
                    </a:cubicBezTo>
                    <a:cubicBezTo>
                      <a:pt x="433" y="231"/>
                      <a:pt x="426" y="241"/>
                      <a:pt x="428" y="244"/>
                    </a:cubicBezTo>
                    <a:cubicBezTo>
                      <a:pt x="430" y="247"/>
                      <a:pt x="441" y="243"/>
                      <a:pt x="443" y="244"/>
                    </a:cubicBezTo>
                    <a:cubicBezTo>
                      <a:pt x="444" y="247"/>
                      <a:pt x="442" y="249"/>
                      <a:pt x="442" y="253"/>
                    </a:cubicBezTo>
                    <a:cubicBezTo>
                      <a:pt x="444" y="257"/>
                      <a:pt x="454" y="260"/>
                      <a:pt x="455" y="266"/>
                    </a:cubicBezTo>
                    <a:cubicBezTo>
                      <a:pt x="456" y="272"/>
                      <a:pt x="451" y="280"/>
                      <a:pt x="448" y="287"/>
                    </a:cubicBezTo>
                    <a:cubicBezTo>
                      <a:pt x="445" y="294"/>
                      <a:pt x="441" y="303"/>
                      <a:pt x="437" y="310"/>
                    </a:cubicBezTo>
                    <a:cubicBezTo>
                      <a:pt x="433" y="317"/>
                      <a:pt x="426" y="322"/>
                      <a:pt x="421" y="328"/>
                    </a:cubicBezTo>
                    <a:cubicBezTo>
                      <a:pt x="416" y="334"/>
                      <a:pt x="408" y="340"/>
                      <a:pt x="404" y="346"/>
                    </a:cubicBezTo>
                    <a:cubicBezTo>
                      <a:pt x="400" y="352"/>
                      <a:pt x="397" y="355"/>
                      <a:pt x="398" y="362"/>
                    </a:cubicBezTo>
                    <a:cubicBezTo>
                      <a:pt x="399" y="369"/>
                      <a:pt x="408" y="382"/>
                      <a:pt x="409" y="388"/>
                    </a:cubicBezTo>
                    <a:cubicBezTo>
                      <a:pt x="410" y="394"/>
                      <a:pt x="405" y="396"/>
                      <a:pt x="407" y="401"/>
                    </a:cubicBezTo>
                    <a:cubicBezTo>
                      <a:pt x="409" y="406"/>
                      <a:pt x="419" y="410"/>
                      <a:pt x="421" y="416"/>
                    </a:cubicBezTo>
                    <a:cubicBezTo>
                      <a:pt x="423" y="422"/>
                      <a:pt x="418" y="434"/>
                      <a:pt x="421" y="439"/>
                    </a:cubicBezTo>
                    <a:cubicBezTo>
                      <a:pt x="424" y="444"/>
                      <a:pt x="437" y="444"/>
                      <a:pt x="439" y="448"/>
                    </a:cubicBezTo>
                    <a:cubicBezTo>
                      <a:pt x="441" y="452"/>
                      <a:pt x="434" y="459"/>
                      <a:pt x="431" y="463"/>
                    </a:cubicBezTo>
                    <a:cubicBezTo>
                      <a:pt x="428" y="467"/>
                      <a:pt x="427" y="470"/>
                      <a:pt x="424" y="473"/>
                    </a:cubicBezTo>
                    <a:cubicBezTo>
                      <a:pt x="421" y="476"/>
                      <a:pt x="416" y="482"/>
                      <a:pt x="412" y="484"/>
                    </a:cubicBezTo>
                    <a:cubicBezTo>
                      <a:pt x="408" y="486"/>
                      <a:pt x="405" y="484"/>
                      <a:pt x="400" y="484"/>
                    </a:cubicBezTo>
                    <a:cubicBezTo>
                      <a:pt x="395" y="484"/>
                      <a:pt x="388" y="485"/>
                      <a:pt x="383" y="484"/>
                    </a:cubicBezTo>
                    <a:cubicBezTo>
                      <a:pt x="378" y="483"/>
                      <a:pt x="373" y="482"/>
                      <a:pt x="370" y="479"/>
                    </a:cubicBezTo>
                    <a:cubicBezTo>
                      <a:pt x="367" y="476"/>
                      <a:pt x="367" y="474"/>
                      <a:pt x="365" y="469"/>
                    </a:cubicBezTo>
                    <a:cubicBezTo>
                      <a:pt x="361" y="464"/>
                      <a:pt x="369" y="463"/>
                      <a:pt x="358" y="448"/>
                    </a:cubicBezTo>
                    <a:cubicBezTo>
                      <a:pt x="354" y="443"/>
                      <a:pt x="348" y="441"/>
                      <a:pt x="343" y="439"/>
                    </a:cubicBezTo>
                    <a:cubicBezTo>
                      <a:pt x="338" y="437"/>
                      <a:pt x="332" y="436"/>
                      <a:pt x="326" y="436"/>
                    </a:cubicBezTo>
                    <a:cubicBezTo>
                      <a:pt x="320" y="436"/>
                      <a:pt x="312" y="435"/>
                      <a:pt x="308" y="437"/>
                    </a:cubicBezTo>
                    <a:cubicBezTo>
                      <a:pt x="304" y="439"/>
                      <a:pt x="305" y="447"/>
                      <a:pt x="302" y="448"/>
                    </a:cubicBezTo>
                    <a:cubicBezTo>
                      <a:pt x="299" y="449"/>
                      <a:pt x="295" y="443"/>
                      <a:pt x="292" y="445"/>
                    </a:cubicBezTo>
                    <a:cubicBezTo>
                      <a:pt x="287" y="443"/>
                      <a:pt x="291" y="465"/>
                      <a:pt x="281" y="458"/>
                    </a:cubicBezTo>
                    <a:cubicBezTo>
                      <a:pt x="278" y="463"/>
                      <a:pt x="278" y="474"/>
                      <a:pt x="275" y="478"/>
                    </a:cubicBezTo>
                    <a:cubicBezTo>
                      <a:pt x="272" y="482"/>
                      <a:pt x="266" y="484"/>
                      <a:pt x="263" y="485"/>
                    </a:cubicBezTo>
                    <a:cubicBezTo>
                      <a:pt x="260" y="486"/>
                      <a:pt x="258" y="483"/>
                      <a:pt x="256" y="485"/>
                    </a:cubicBezTo>
                    <a:cubicBezTo>
                      <a:pt x="252" y="481"/>
                      <a:pt x="260" y="512"/>
                      <a:pt x="253" y="500"/>
                    </a:cubicBezTo>
                    <a:cubicBezTo>
                      <a:pt x="251" y="502"/>
                      <a:pt x="248" y="496"/>
                      <a:pt x="242" y="496"/>
                    </a:cubicBezTo>
                    <a:cubicBezTo>
                      <a:pt x="236" y="496"/>
                      <a:pt x="222" y="495"/>
                      <a:pt x="215" y="499"/>
                    </a:cubicBezTo>
                    <a:cubicBezTo>
                      <a:pt x="208" y="503"/>
                      <a:pt x="207" y="517"/>
                      <a:pt x="199" y="521"/>
                    </a:cubicBezTo>
                    <a:cubicBezTo>
                      <a:pt x="194" y="517"/>
                      <a:pt x="172" y="523"/>
                      <a:pt x="164" y="521"/>
                    </a:cubicBezTo>
                    <a:cubicBezTo>
                      <a:pt x="156" y="519"/>
                      <a:pt x="153" y="514"/>
                      <a:pt x="151" y="509"/>
                    </a:cubicBezTo>
                    <a:cubicBezTo>
                      <a:pt x="149" y="504"/>
                      <a:pt x="153" y="492"/>
                      <a:pt x="151" y="488"/>
                    </a:cubicBezTo>
                    <a:cubicBezTo>
                      <a:pt x="149" y="484"/>
                      <a:pt x="142" y="491"/>
                      <a:pt x="139" y="487"/>
                    </a:cubicBezTo>
                    <a:cubicBezTo>
                      <a:pt x="136" y="483"/>
                      <a:pt x="139" y="466"/>
                      <a:pt x="133" y="461"/>
                    </a:cubicBezTo>
                    <a:cubicBezTo>
                      <a:pt x="124" y="443"/>
                      <a:pt x="111" y="475"/>
                      <a:pt x="101" y="458"/>
                    </a:cubicBezTo>
                    <a:cubicBezTo>
                      <a:pt x="94" y="453"/>
                      <a:pt x="89" y="473"/>
                      <a:pt x="85" y="457"/>
                    </a:cubicBezTo>
                    <a:cubicBezTo>
                      <a:pt x="80" y="455"/>
                      <a:pt x="74" y="448"/>
                      <a:pt x="73" y="443"/>
                    </a:cubicBezTo>
                    <a:cubicBezTo>
                      <a:pt x="72" y="438"/>
                      <a:pt x="77" y="433"/>
                      <a:pt x="76" y="427"/>
                    </a:cubicBezTo>
                    <a:cubicBezTo>
                      <a:pt x="75" y="421"/>
                      <a:pt x="67" y="415"/>
                      <a:pt x="65" y="409"/>
                    </a:cubicBezTo>
                    <a:cubicBezTo>
                      <a:pt x="63" y="403"/>
                      <a:pt x="65" y="397"/>
                      <a:pt x="64" y="391"/>
                    </a:cubicBezTo>
                    <a:cubicBezTo>
                      <a:pt x="63" y="385"/>
                      <a:pt x="61" y="378"/>
                      <a:pt x="62" y="373"/>
                    </a:cubicBezTo>
                    <a:cubicBezTo>
                      <a:pt x="63" y="368"/>
                      <a:pt x="68" y="366"/>
                      <a:pt x="68" y="362"/>
                    </a:cubicBezTo>
                    <a:cubicBezTo>
                      <a:pt x="68" y="358"/>
                      <a:pt x="67" y="354"/>
                      <a:pt x="65" y="350"/>
                    </a:cubicBezTo>
                    <a:cubicBezTo>
                      <a:pt x="63" y="346"/>
                      <a:pt x="56" y="343"/>
                      <a:pt x="55" y="337"/>
                    </a:cubicBezTo>
                    <a:cubicBezTo>
                      <a:pt x="54" y="331"/>
                      <a:pt x="57" y="324"/>
                      <a:pt x="58" y="314"/>
                    </a:cubicBezTo>
                    <a:cubicBezTo>
                      <a:pt x="59" y="304"/>
                      <a:pt x="62" y="283"/>
                      <a:pt x="62" y="275"/>
                    </a:cubicBezTo>
                    <a:cubicBezTo>
                      <a:pt x="62" y="267"/>
                      <a:pt x="55" y="268"/>
                      <a:pt x="55" y="265"/>
                    </a:cubicBezTo>
                    <a:cubicBezTo>
                      <a:pt x="55" y="262"/>
                      <a:pt x="61" y="260"/>
                      <a:pt x="64" y="257"/>
                    </a:cubicBezTo>
                    <a:cubicBezTo>
                      <a:pt x="67" y="254"/>
                      <a:pt x="72" y="248"/>
                      <a:pt x="71" y="245"/>
                    </a:cubicBezTo>
                    <a:cubicBezTo>
                      <a:pt x="70" y="242"/>
                      <a:pt x="63" y="239"/>
                      <a:pt x="59" y="236"/>
                    </a:cubicBezTo>
                    <a:cubicBezTo>
                      <a:pt x="55" y="233"/>
                      <a:pt x="49" y="233"/>
                      <a:pt x="46" y="229"/>
                    </a:cubicBezTo>
                    <a:cubicBezTo>
                      <a:pt x="43" y="225"/>
                      <a:pt x="43" y="216"/>
                      <a:pt x="43" y="211"/>
                    </a:cubicBezTo>
                    <a:cubicBezTo>
                      <a:pt x="43" y="206"/>
                      <a:pt x="41" y="198"/>
                      <a:pt x="43" y="196"/>
                    </a:cubicBezTo>
                    <a:cubicBezTo>
                      <a:pt x="45" y="194"/>
                      <a:pt x="55" y="199"/>
                      <a:pt x="56" y="197"/>
                    </a:cubicBezTo>
                    <a:cubicBezTo>
                      <a:pt x="57" y="195"/>
                      <a:pt x="51" y="187"/>
                      <a:pt x="49" y="184"/>
                    </a:cubicBezTo>
                    <a:cubicBezTo>
                      <a:pt x="47" y="181"/>
                      <a:pt x="44" y="176"/>
                      <a:pt x="41" y="176"/>
                    </a:cubicBezTo>
                    <a:cubicBezTo>
                      <a:pt x="38" y="176"/>
                      <a:pt x="34" y="179"/>
                      <a:pt x="31" y="181"/>
                    </a:cubicBezTo>
                    <a:cubicBezTo>
                      <a:pt x="24" y="175"/>
                      <a:pt x="31" y="189"/>
                      <a:pt x="23" y="188"/>
                    </a:cubicBezTo>
                    <a:cubicBezTo>
                      <a:pt x="25" y="186"/>
                      <a:pt x="18" y="175"/>
                      <a:pt x="22" y="170"/>
                    </a:cubicBezTo>
                    <a:cubicBezTo>
                      <a:pt x="20" y="167"/>
                      <a:pt x="9" y="171"/>
                      <a:pt x="8" y="167"/>
                    </a:cubicBezTo>
                    <a:cubicBezTo>
                      <a:pt x="9" y="165"/>
                      <a:pt x="6" y="151"/>
                      <a:pt x="14" y="148"/>
                    </a:cubicBezTo>
                    <a:cubicBezTo>
                      <a:pt x="14" y="143"/>
                      <a:pt x="10" y="140"/>
                      <a:pt x="8" y="136"/>
                    </a:cubicBezTo>
                    <a:cubicBezTo>
                      <a:pt x="6" y="132"/>
                      <a:pt x="0" y="129"/>
                      <a:pt x="1" y="125"/>
                    </a:cubicBezTo>
                    <a:cubicBezTo>
                      <a:pt x="2" y="121"/>
                      <a:pt x="13" y="115"/>
                      <a:pt x="16" y="11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8" name="Freeform 13"/>
              <p:cNvSpPr>
                <a:spLocks/>
              </p:cNvSpPr>
              <p:nvPr/>
            </p:nvSpPr>
            <p:spPr bwMode="auto">
              <a:xfrm>
                <a:off x="8460485" y="6121010"/>
                <a:ext cx="2388999" cy="1870980"/>
              </a:xfrm>
              <a:custGeom>
                <a:avLst/>
                <a:gdLst/>
                <a:ahLst/>
                <a:cxnLst>
                  <a:cxn ang="0">
                    <a:pos x="241" y="29"/>
                  </a:cxn>
                  <a:cxn ang="0">
                    <a:pos x="264" y="14"/>
                  </a:cxn>
                  <a:cxn ang="0">
                    <a:pos x="307" y="11"/>
                  </a:cxn>
                  <a:cxn ang="0">
                    <a:pos x="337" y="8"/>
                  </a:cxn>
                  <a:cxn ang="0">
                    <a:pos x="363" y="2"/>
                  </a:cxn>
                  <a:cxn ang="0">
                    <a:pos x="384" y="35"/>
                  </a:cxn>
                  <a:cxn ang="0">
                    <a:pos x="384" y="68"/>
                  </a:cxn>
                  <a:cxn ang="0">
                    <a:pos x="405" y="87"/>
                  </a:cxn>
                  <a:cxn ang="0">
                    <a:pos x="408" y="113"/>
                  </a:cxn>
                  <a:cxn ang="0">
                    <a:pos x="412" y="128"/>
                  </a:cxn>
                  <a:cxn ang="0">
                    <a:pos x="442" y="134"/>
                  </a:cxn>
                  <a:cxn ang="0">
                    <a:pos x="487" y="152"/>
                  </a:cxn>
                  <a:cxn ang="0">
                    <a:pos x="495" y="183"/>
                  </a:cxn>
                  <a:cxn ang="0">
                    <a:pos x="546" y="206"/>
                  </a:cxn>
                  <a:cxn ang="0">
                    <a:pos x="552" y="255"/>
                  </a:cxn>
                  <a:cxn ang="0">
                    <a:pos x="594" y="339"/>
                  </a:cxn>
                  <a:cxn ang="0">
                    <a:pos x="616" y="374"/>
                  </a:cxn>
                  <a:cxn ang="0">
                    <a:pos x="600" y="380"/>
                  </a:cxn>
                  <a:cxn ang="0">
                    <a:pos x="582" y="384"/>
                  </a:cxn>
                  <a:cxn ang="0">
                    <a:pos x="561" y="371"/>
                  </a:cxn>
                  <a:cxn ang="0">
                    <a:pos x="534" y="365"/>
                  </a:cxn>
                  <a:cxn ang="0">
                    <a:pos x="502" y="360"/>
                  </a:cxn>
                  <a:cxn ang="0">
                    <a:pos x="472" y="350"/>
                  </a:cxn>
                  <a:cxn ang="0">
                    <a:pos x="445" y="363"/>
                  </a:cxn>
                  <a:cxn ang="0">
                    <a:pos x="429" y="383"/>
                  </a:cxn>
                  <a:cxn ang="0">
                    <a:pos x="424" y="410"/>
                  </a:cxn>
                  <a:cxn ang="0">
                    <a:pos x="414" y="444"/>
                  </a:cxn>
                  <a:cxn ang="0">
                    <a:pos x="384" y="437"/>
                  </a:cxn>
                  <a:cxn ang="0">
                    <a:pos x="325" y="429"/>
                  </a:cxn>
                  <a:cxn ang="0">
                    <a:pos x="286" y="413"/>
                  </a:cxn>
                  <a:cxn ang="0">
                    <a:pos x="256" y="426"/>
                  </a:cxn>
                  <a:cxn ang="0">
                    <a:pos x="234" y="437"/>
                  </a:cxn>
                  <a:cxn ang="0">
                    <a:pos x="187" y="489"/>
                  </a:cxn>
                  <a:cxn ang="0">
                    <a:pos x="175" y="461"/>
                  </a:cxn>
                  <a:cxn ang="0">
                    <a:pos x="157" y="444"/>
                  </a:cxn>
                  <a:cxn ang="0">
                    <a:pos x="106" y="425"/>
                  </a:cxn>
                  <a:cxn ang="0">
                    <a:pos x="90" y="399"/>
                  </a:cxn>
                  <a:cxn ang="0">
                    <a:pos x="58" y="369"/>
                  </a:cxn>
                  <a:cxn ang="0">
                    <a:pos x="57" y="291"/>
                  </a:cxn>
                  <a:cxn ang="0">
                    <a:pos x="69" y="251"/>
                  </a:cxn>
                  <a:cxn ang="0">
                    <a:pos x="63" y="213"/>
                  </a:cxn>
                  <a:cxn ang="0">
                    <a:pos x="58" y="195"/>
                  </a:cxn>
                  <a:cxn ang="0">
                    <a:pos x="49" y="186"/>
                  </a:cxn>
                  <a:cxn ang="0">
                    <a:pos x="45" y="168"/>
                  </a:cxn>
                  <a:cxn ang="0">
                    <a:pos x="36" y="149"/>
                  </a:cxn>
                  <a:cxn ang="0">
                    <a:pos x="22" y="122"/>
                  </a:cxn>
                  <a:cxn ang="0">
                    <a:pos x="7" y="81"/>
                  </a:cxn>
                  <a:cxn ang="0">
                    <a:pos x="10" y="45"/>
                  </a:cxn>
                  <a:cxn ang="0">
                    <a:pos x="64" y="29"/>
                  </a:cxn>
                  <a:cxn ang="0">
                    <a:pos x="121" y="41"/>
                  </a:cxn>
                  <a:cxn ang="0">
                    <a:pos x="162" y="33"/>
                  </a:cxn>
                </a:cxnLst>
                <a:rect l="0" t="0" r="r" b="b"/>
                <a:pathLst>
                  <a:path w="618" h="490">
                    <a:moveTo>
                      <a:pt x="172" y="26"/>
                    </a:moveTo>
                    <a:cubicBezTo>
                      <a:pt x="256" y="29"/>
                      <a:pt x="157" y="24"/>
                      <a:pt x="241" y="29"/>
                    </a:cubicBezTo>
                    <a:cubicBezTo>
                      <a:pt x="257" y="34"/>
                      <a:pt x="253" y="26"/>
                      <a:pt x="259" y="24"/>
                    </a:cubicBezTo>
                    <a:cubicBezTo>
                      <a:pt x="263" y="22"/>
                      <a:pt x="260" y="16"/>
                      <a:pt x="264" y="14"/>
                    </a:cubicBezTo>
                    <a:cubicBezTo>
                      <a:pt x="268" y="12"/>
                      <a:pt x="275" y="9"/>
                      <a:pt x="282" y="9"/>
                    </a:cubicBezTo>
                    <a:cubicBezTo>
                      <a:pt x="289" y="9"/>
                      <a:pt x="301" y="12"/>
                      <a:pt x="307" y="11"/>
                    </a:cubicBezTo>
                    <a:cubicBezTo>
                      <a:pt x="313" y="10"/>
                      <a:pt x="314" y="4"/>
                      <a:pt x="319" y="3"/>
                    </a:cubicBezTo>
                    <a:cubicBezTo>
                      <a:pt x="324" y="2"/>
                      <a:pt x="332" y="7"/>
                      <a:pt x="337" y="8"/>
                    </a:cubicBezTo>
                    <a:cubicBezTo>
                      <a:pt x="342" y="9"/>
                      <a:pt x="347" y="12"/>
                      <a:pt x="351" y="11"/>
                    </a:cubicBezTo>
                    <a:cubicBezTo>
                      <a:pt x="355" y="10"/>
                      <a:pt x="358" y="3"/>
                      <a:pt x="363" y="2"/>
                    </a:cubicBezTo>
                    <a:cubicBezTo>
                      <a:pt x="368" y="1"/>
                      <a:pt x="379" y="0"/>
                      <a:pt x="382" y="5"/>
                    </a:cubicBezTo>
                    <a:cubicBezTo>
                      <a:pt x="385" y="10"/>
                      <a:pt x="386" y="27"/>
                      <a:pt x="384" y="35"/>
                    </a:cubicBezTo>
                    <a:cubicBezTo>
                      <a:pt x="385" y="43"/>
                      <a:pt x="367" y="24"/>
                      <a:pt x="372" y="51"/>
                    </a:cubicBezTo>
                    <a:cubicBezTo>
                      <a:pt x="372" y="56"/>
                      <a:pt x="379" y="64"/>
                      <a:pt x="384" y="68"/>
                    </a:cubicBezTo>
                    <a:cubicBezTo>
                      <a:pt x="389" y="72"/>
                      <a:pt x="396" y="72"/>
                      <a:pt x="399" y="75"/>
                    </a:cubicBezTo>
                    <a:cubicBezTo>
                      <a:pt x="402" y="78"/>
                      <a:pt x="405" y="83"/>
                      <a:pt x="405" y="87"/>
                    </a:cubicBezTo>
                    <a:cubicBezTo>
                      <a:pt x="405" y="91"/>
                      <a:pt x="402" y="94"/>
                      <a:pt x="402" y="98"/>
                    </a:cubicBezTo>
                    <a:cubicBezTo>
                      <a:pt x="402" y="102"/>
                      <a:pt x="409" y="110"/>
                      <a:pt x="408" y="113"/>
                    </a:cubicBezTo>
                    <a:cubicBezTo>
                      <a:pt x="407" y="116"/>
                      <a:pt x="396" y="117"/>
                      <a:pt x="397" y="119"/>
                    </a:cubicBezTo>
                    <a:cubicBezTo>
                      <a:pt x="398" y="121"/>
                      <a:pt x="408" y="125"/>
                      <a:pt x="412" y="128"/>
                    </a:cubicBezTo>
                    <a:cubicBezTo>
                      <a:pt x="416" y="131"/>
                      <a:pt x="419" y="137"/>
                      <a:pt x="424" y="138"/>
                    </a:cubicBezTo>
                    <a:cubicBezTo>
                      <a:pt x="429" y="139"/>
                      <a:pt x="435" y="134"/>
                      <a:pt x="442" y="134"/>
                    </a:cubicBezTo>
                    <a:cubicBezTo>
                      <a:pt x="449" y="134"/>
                      <a:pt x="458" y="137"/>
                      <a:pt x="465" y="140"/>
                    </a:cubicBezTo>
                    <a:cubicBezTo>
                      <a:pt x="472" y="143"/>
                      <a:pt x="483" y="147"/>
                      <a:pt x="487" y="152"/>
                    </a:cubicBezTo>
                    <a:cubicBezTo>
                      <a:pt x="491" y="157"/>
                      <a:pt x="488" y="163"/>
                      <a:pt x="489" y="168"/>
                    </a:cubicBezTo>
                    <a:cubicBezTo>
                      <a:pt x="490" y="173"/>
                      <a:pt x="490" y="179"/>
                      <a:pt x="495" y="183"/>
                    </a:cubicBezTo>
                    <a:cubicBezTo>
                      <a:pt x="500" y="187"/>
                      <a:pt x="511" y="190"/>
                      <a:pt x="519" y="194"/>
                    </a:cubicBezTo>
                    <a:cubicBezTo>
                      <a:pt x="527" y="198"/>
                      <a:pt x="540" y="199"/>
                      <a:pt x="546" y="206"/>
                    </a:cubicBezTo>
                    <a:cubicBezTo>
                      <a:pt x="543" y="215"/>
                      <a:pt x="555" y="226"/>
                      <a:pt x="556" y="234"/>
                    </a:cubicBezTo>
                    <a:cubicBezTo>
                      <a:pt x="557" y="242"/>
                      <a:pt x="548" y="239"/>
                      <a:pt x="552" y="255"/>
                    </a:cubicBezTo>
                    <a:cubicBezTo>
                      <a:pt x="556" y="271"/>
                      <a:pt x="570" y="316"/>
                      <a:pt x="577" y="330"/>
                    </a:cubicBezTo>
                    <a:cubicBezTo>
                      <a:pt x="584" y="344"/>
                      <a:pt x="588" y="336"/>
                      <a:pt x="594" y="339"/>
                    </a:cubicBezTo>
                    <a:cubicBezTo>
                      <a:pt x="600" y="342"/>
                      <a:pt x="609" y="344"/>
                      <a:pt x="613" y="350"/>
                    </a:cubicBezTo>
                    <a:cubicBezTo>
                      <a:pt x="617" y="356"/>
                      <a:pt x="618" y="371"/>
                      <a:pt x="616" y="374"/>
                    </a:cubicBezTo>
                    <a:cubicBezTo>
                      <a:pt x="614" y="377"/>
                      <a:pt x="601" y="368"/>
                      <a:pt x="598" y="369"/>
                    </a:cubicBezTo>
                    <a:cubicBezTo>
                      <a:pt x="595" y="370"/>
                      <a:pt x="602" y="379"/>
                      <a:pt x="600" y="380"/>
                    </a:cubicBezTo>
                    <a:cubicBezTo>
                      <a:pt x="598" y="381"/>
                      <a:pt x="589" y="376"/>
                      <a:pt x="586" y="377"/>
                    </a:cubicBezTo>
                    <a:cubicBezTo>
                      <a:pt x="583" y="378"/>
                      <a:pt x="585" y="383"/>
                      <a:pt x="582" y="384"/>
                    </a:cubicBezTo>
                    <a:cubicBezTo>
                      <a:pt x="579" y="385"/>
                      <a:pt x="570" y="383"/>
                      <a:pt x="567" y="381"/>
                    </a:cubicBezTo>
                    <a:cubicBezTo>
                      <a:pt x="564" y="379"/>
                      <a:pt x="564" y="372"/>
                      <a:pt x="561" y="371"/>
                    </a:cubicBezTo>
                    <a:cubicBezTo>
                      <a:pt x="558" y="370"/>
                      <a:pt x="551" y="379"/>
                      <a:pt x="547" y="378"/>
                    </a:cubicBezTo>
                    <a:cubicBezTo>
                      <a:pt x="543" y="377"/>
                      <a:pt x="538" y="369"/>
                      <a:pt x="534" y="365"/>
                    </a:cubicBezTo>
                    <a:cubicBezTo>
                      <a:pt x="530" y="361"/>
                      <a:pt x="525" y="354"/>
                      <a:pt x="520" y="353"/>
                    </a:cubicBezTo>
                    <a:cubicBezTo>
                      <a:pt x="515" y="352"/>
                      <a:pt x="507" y="360"/>
                      <a:pt x="502" y="360"/>
                    </a:cubicBezTo>
                    <a:cubicBezTo>
                      <a:pt x="497" y="360"/>
                      <a:pt x="497" y="353"/>
                      <a:pt x="492" y="351"/>
                    </a:cubicBezTo>
                    <a:cubicBezTo>
                      <a:pt x="487" y="349"/>
                      <a:pt x="479" y="350"/>
                      <a:pt x="472" y="350"/>
                    </a:cubicBezTo>
                    <a:cubicBezTo>
                      <a:pt x="465" y="350"/>
                      <a:pt x="454" y="348"/>
                      <a:pt x="450" y="350"/>
                    </a:cubicBezTo>
                    <a:cubicBezTo>
                      <a:pt x="446" y="352"/>
                      <a:pt x="449" y="360"/>
                      <a:pt x="445" y="363"/>
                    </a:cubicBezTo>
                    <a:cubicBezTo>
                      <a:pt x="441" y="366"/>
                      <a:pt x="426" y="366"/>
                      <a:pt x="423" y="369"/>
                    </a:cubicBezTo>
                    <a:cubicBezTo>
                      <a:pt x="420" y="372"/>
                      <a:pt x="429" y="378"/>
                      <a:pt x="429" y="383"/>
                    </a:cubicBezTo>
                    <a:cubicBezTo>
                      <a:pt x="429" y="388"/>
                      <a:pt x="421" y="394"/>
                      <a:pt x="420" y="398"/>
                    </a:cubicBezTo>
                    <a:cubicBezTo>
                      <a:pt x="419" y="402"/>
                      <a:pt x="425" y="407"/>
                      <a:pt x="424" y="410"/>
                    </a:cubicBezTo>
                    <a:cubicBezTo>
                      <a:pt x="423" y="413"/>
                      <a:pt x="414" y="410"/>
                      <a:pt x="412" y="416"/>
                    </a:cubicBezTo>
                    <a:cubicBezTo>
                      <a:pt x="410" y="422"/>
                      <a:pt x="417" y="439"/>
                      <a:pt x="414" y="444"/>
                    </a:cubicBezTo>
                    <a:cubicBezTo>
                      <a:pt x="411" y="449"/>
                      <a:pt x="399" y="447"/>
                      <a:pt x="394" y="446"/>
                    </a:cubicBezTo>
                    <a:cubicBezTo>
                      <a:pt x="389" y="445"/>
                      <a:pt x="388" y="440"/>
                      <a:pt x="384" y="437"/>
                    </a:cubicBezTo>
                    <a:cubicBezTo>
                      <a:pt x="377" y="444"/>
                      <a:pt x="378" y="423"/>
                      <a:pt x="367" y="425"/>
                    </a:cubicBezTo>
                    <a:cubicBezTo>
                      <a:pt x="356" y="432"/>
                      <a:pt x="338" y="427"/>
                      <a:pt x="325" y="429"/>
                    </a:cubicBezTo>
                    <a:cubicBezTo>
                      <a:pt x="313" y="440"/>
                      <a:pt x="322" y="417"/>
                      <a:pt x="316" y="414"/>
                    </a:cubicBezTo>
                    <a:cubicBezTo>
                      <a:pt x="310" y="411"/>
                      <a:pt x="293" y="413"/>
                      <a:pt x="286" y="413"/>
                    </a:cubicBezTo>
                    <a:cubicBezTo>
                      <a:pt x="279" y="413"/>
                      <a:pt x="278" y="414"/>
                      <a:pt x="273" y="416"/>
                    </a:cubicBezTo>
                    <a:cubicBezTo>
                      <a:pt x="271" y="414"/>
                      <a:pt x="258" y="427"/>
                      <a:pt x="256" y="426"/>
                    </a:cubicBezTo>
                    <a:cubicBezTo>
                      <a:pt x="254" y="438"/>
                      <a:pt x="247" y="427"/>
                      <a:pt x="244" y="429"/>
                    </a:cubicBezTo>
                    <a:cubicBezTo>
                      <a:pt x="241" y="431"/>
                      <a:pt x="238" y="431"/>
                      <a:pt x="234" y="437"/>
                    </a:cubicBezTo>
                    <a:cubicBezTo>
                      <a:pt x="230" y="443"/>
                      <a:pt x="228" y="455"/>
                      <a:pt x="220" y="464"/>
                    </a:cubicBezTo>
                    <a:cubicBezTo>
                      <a:pt x="198" y="486"/>
                      <a:pt x="194" y="488"/>
                      <a:pt x="187" y="489"/>
                    </a:cubicBezTo>
                    <a:cubicBezTo>
                      <a:pt x="180" y="490"/>
                      <a:pt x="182" y="478"/>
                      <a:pt x="180" y="473"/>
                    </a:cubicBezTo>
                    <a:cubicBezTo>
                      <a:pt x="174" y="469"/>
                      <a:pt x="182" y="463"/>
                      <a:pt x="175" y="461"/>
                    </a:cubicBezTo>
                    <a:cubicBezTo>
                      <a:pt x="170" y="458"/>
                      <a:pt x="170" y="460"/>
                      <a:pt x="165" y="458"/>
                    </a:cubicBezTo>
                    <a:cubicBezTo>
                      <a:pt x="161" y="456"/>
                      <a:pt x="161" y="446"/>
                      <a:pt x="157" y="444"/>
                    </a:cubicBezTo>
                    <a:cubicBezTo>
                      <a:pt x="149" y="452"/>
                      <a:pt x="137" y="434"/>
                      <a:pt x="129" y="431"/>
                    </a:cubicBezTo>
                    <a:cubicBezTo>
                      <a:pt x="121" y="428"/>
                      <a:pt x="110" y="428"/>
                      <a:pt x="106" y="425"/>
                    </a:cubicBezTo>
                    <a:cubicBezTo>
                      <a:pt x="102" y="422"/>
                      <a:pt x="105" y="415"/>
                      <a:pt x="102" y="411"/>
                    </a:cubicBezTo>
                    <a:cubicBezTo>
                      <a:pt x="99" y="407"/>
                      <a:pt x="93" y="403"/>
                      <a:pt x="90" y="399"/>
                    </a:cubicBezTo>
                    <a:cubicBezTo>
                      <a:pt x="87" y="395"/>
                      <a:pt x="86" y="389"/>
                      <a:pt x="81" y="384"/>
                    </a:cubicBezTo>
                    <a:cubicBezTo>
                      <a:pt x="76" y="379"/>
                      <a:pt x="62" y="380"/>
                      <a:pt x="58" y="369"/>
                    </a:cubicBezTo>
                    <a:cubicBezTo>
                      <a:pt x="44" y="369"/>
                      <a:pt x="54" y="333"/>
                      <a:pt x="55" y="320"/>
                    </a:cubicBezTo>
                    <a:cubicBezTo>
                      <a:pt x="55" y="307"/>
                      <a:pt x="55" y="299"/>
                      <a:pt x="57" y="291"/>
                    </a:cubicBezTo>
                    <a:cubicBezTo>
                      <a:pt x="59" y="283"/>
                      <a:pt x="67" y="279"/>
                      <a:pt x="69" y="272"/>
                    </a:cubicBezTo>
                    <a:cubicBezTo>
                      <a:pt x="71" y="265"/>
                      <a:pt x="69" y="259"/>
                      <a:pt x="69" y="251"/>
                    </a:cubicBezTo>
                    <a:cubicBezTo>
                      <a:pt x="64" y="231"/>
                      <a:pt x="75" y="244"/>
                      <a:pt x="66" y="225"/>
                    </a:cubicBezTo>
                    <a:cubicBezTo>
                      <a:pt x="59" y="221"/>
                      <a:pt x="64" y="217"/>
                      <a:pt x="63" y="213"/>
                    </a:cubicBezTo>
                    <a:cubicBezTo>
                      <a:pt x="62" y="209"/>
                      <a:pt x="59" y="206"/>
                      <a:pt x="58" y="203"/>
                    </a:cubicBezTo>
                    <a:cubicBezTo>
                      <a:pt x="57" y="200"/>
                      <a:pt x="59" y="197"/>
                      <a:pt x="58" y="195"/>
                    </a:cubicBezTo>
                    <a:cubicBezTo>
                      <a:pt x="57" y="193"/>
                      <a:pt x="55" y="192"/>
                      <a:pt x="54" y="191"/>
                    </a:cubicBezTo>
                    <a:cubicBezTo>
                      <a:pt x="53" y="190"/>
                      <a:pt x="50" y="189"/>
                      <a:pt x="49" y="186"/>
                    </a:cubicBezTo>
                    <a:cubicBezTo>
                      <a:pt x="48" y="183"/>
                      <a:pt x="50" y="177"/>
                      <a:pt x="49" y="174"/>
                    </a:cubicBezTo>
                    <a:cubicBezTo>
                      <a:pt x="48" y="171"/>
                      <a:pt x="46" y="170"/>
                      <a:pt x="45" y="168"/>
                    </a:cubicBezTo>
                    <a:cubicBezTo>
                      <a:pt x="44" y="166"/>
                      <a:pt x="46" y="165"/>
                      <a:pt x="45" y="162"/>
                    </a:cubicBezTo>
                    <a:cubicBezTo>
                      <a:pt x="44" y="159"/>
                      <a:pt x="40" y="153"/>
                      <a:pt x="36" y="149"/>
                    </a:cubicBezTo>
                    <a:cubicBezTo>
                      <a:pt x="32" y="145"/>
                      <a:pt x="24" y="141"/>
                      <a:pt x="22" y="137"/>
                    </a:cubicBezTo>
                    <a:cubicBezTo>
                      <a:pt x="20" y="133"/>
                      <a:pt x="23" y="126"/>
                      <a:pt x="22" y="122"/>
                    </a:cubicBezTo>
                    <a:cubicBezTo>
                      <a:pt x="21" y="118"/>
                      <a:pt x="18" y="117"/>
                      <a:pt x="16" y="110"/>
                    </a:cubicBezTo>
                    <a:cubicBezTo>
                      <a:pt x="14" y="103"/>
                      <a:pt x="9" y="89"/>
                      <a:pt x="7" y="81"/>
                    </a:cubicBezTo>
                    <a:cubicBezTo>
                      <a:pt x="5" y="73"/>
                      <a:pt x="0" y="69"/>
                      <a:pt x="1" y="63"/>
                    </a:cubicBezTo>
                    <a:cubicBezTo>
                      <a:pt x="2" y="57"/>
                      <a:pt x="5" y="50"/>
                      <a:pt x="10" y="45"/>
                    </a:cubicBezTo>
                    <a:cubicBezTo>
                      <a:pt x="11" y="25"/>
                      <a:pt x="22" y="43"/>
                      <a:pt x="30" y="30"/>
                    </a:cubicBezTo>
                    <a:cubicBezTo>
                      <a:pt x="29" y="20"/>
                      <a:pt x="58" y="27"/>
                      <a:pt x="64" y="29"/>
                    </a:cubicBezTo>
                    <a:cubicBezTo>
                      <a:pt x="72" y="30"/>
                      <a:pt x="67" y="37"/>
                      <a:pt x="76" y="39"/>
                    </a:cubicBezTo>
                    <a:cubicBezTo>
                      <a:pt x="85" y="41"/>
                      <a:pt x="111" y="42"/>
                      <a:pt x="121" y="41"/>
                    </a:cubicBezTo>
                    <a:cubicBezTo>
                      <a:pt x="131" y="40"/>
                      <a:pt x="129" y="36"/>
                      <a:pt x="136" y="35"/>
                    </a:cubicBezTo>
                    <a:cubicBezTo>
                      <a:pt x="143" y="34"/>
                      <a:pt x="156" y="34"/>
                      <a:pt x="162" y="33"/>
                    </a:cubicBezTo>
                    <a:cubicBezTo>
                      <a:pt x="168" y="32"/>
                      <a:pt x="170" y="27"/>
                      <a:pt x="172" y="2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9" name="Freeform 14"/>
              <p:cNvSpPr>
                <a:spLocks/>
              </p:cNvSpPr>
              <p:nvPr/>
            </p:nvSpPr>
            <p:spPr bwMode="auto">
              <a:xfrm>
                <a:off x="9889991" y="5322900"/>
                <a:ext cx="2922978" cy="2211158"/>
              </a:xfrm>
              <a:custGeom>
                <a:avLst/>
                <a:gdLst/>
                <a:ahLst/>
                <a:cxnLst>
                  <a:cxn ang="0">
                    <a:pos x="102" y="92"/>
                  </a:cxn>
                  <a:cxn ang="0">
                    <a:pos x="306" y="82"/>
                  </a:cxn>
                  <a:cxn ang="0">
                    <a:pos x="323" y="20"/>
                  </a:cxn>
                  <a:cxn ang="0">
                    <a:pos x="396" y="22"/>
                  </a:cxn>
                  <a:cxn ang="0">
                    <a:pos x="443" y="37"/>
                  </a:cxn>
                  <a:cxn ang="0">
                    <a:pos x="512" y="11"/>
                  </a:cxn>
                  <a:cxn ang="0">
                    <a:pos x="549" y="26"/>
                  </a:cxn>
                  <a:cxn ang="0">
                    <a:pos x="609" y="46"/>
                  </a:cxn>
                  <a:cxn ang="0">
                    <a:pos x="647" y="56"/>
                  </a:cxn>
                  <a:cxn ang="0">
                    <a:pos x="687" y="113"/>
                  </a:cxn>
                  <a:cxn ang="0">
                    <a:pos x="738" y="143"/>
                  </a:cxn>
                  <a:cxn ang="0">
                    <a:pos x="755" y="169"/>
                  </a:cxn>
                  <a:cxn ang="0">
                    <a:pos x="740" y="185"/>
                  </a:cxn>
                  <a:cxn ang="0">
                    <a:pos x="696" y="196"/>
                  </a:cxn>
                  <a:cxn ang="0">
                    <a:pos x="659" y="191"/>
                  </a:cxn>
                  <a:cxn ang="0">
                    <a:pos x="626" y="220"/>
                  </a:cxn>
                  <a:cxn ang="0">
                    <a:pos x="563" y="248"/>
                  </a:cxn>
                  <a:cxn ang="0">
                    <a:pos x="608" y="266"/>
                  </a:cxn>
                  <a:cxn ang="0">
                    <a:pos x="608" y="310"/>
                  </a:cxn>
                  <a:cxn ang="0">
                    <a:pos x="614" y="340"/>
                  </a:cxn>
                  <a:cxn ang="0">
                    <a:pos x="648" y="374"/>
                  </a:cxn>
                  <a:cxn ang="0">
                    <a:pos x="650" y="430"/>
                  </a:cxn>
                  <a:cxn ang="0">
                    <a:pos x="662" y="460"/>
                  </a:cxn>
                  <a:cxn ang="0">
                    <a:pos x="636" y="511"/>
                  </a:cxn>
                  <a:cxn ang="0">
                    <a:pos x="648" y="533"/>
                  </a:cxn>
                  <a:cxn ang="0">
                    <a:pos x="659" y="560"/>
                  </a:cxn>
                  <a:cxn ang="0">
                    <a:pos x="638" y="566"/>
                  </a:cxn>
                  <a:cxn ang="0">
                    <a:pos x="594" y="566"/>
                  </a:cxn>
                  <a:cxn ang="0">
                    <a:pos x="551" y="548"/>
                  </a:cxn>
                  <a:cxn ang="0">
                    <a:pos x="506" y="529"/>
                  </a:cxn>
                  <a:cxn ang="0">
                    <a:pos x="471" y="523"/>
                  </a:cxn>
                  <a:cxn ang="0">
                    <a:pos x="431" y="545"/>
                  </a:cxn>
                  <a:cxn ang="0">
                    <a:pos x="390" y="553"/>
                  </a:cxn>
                  <a:cxn ang="0">
                    <a:pos x="348" y="536"/>
                  </a:cxn>
                  <a:cxn ang="0">
                    <a:pos x="315" y="563"/>
                  </a:cxn>
                  <a:cxn ang="0">
                    <a:pos x="270" y="566"/>
                  </a:cxn>
                  <a:cxn ang="0">
                    <a:pos x="240" y="559"/>
                  </a:cxn>
                  <a:cxn ang="0">
                    <a:pos x="177" y="461"/>
                  </a:cxn>
                  <a:cxn ang="0">
                    <a:pos x="155" y="409"/>
                  </a:cxn>
                  <a:cxn ang="0">
                    <a:pos x="96" y="352"/>
                  </a:cxn>
                  <a:cxn ang="0">
                    <a:pos x="39" y="337"/>
                  </a:cxn>
                  <a:cxn ang="0">
                    <a:pos x="29" y="304"/>
                  </a:cxn>
                  <a:cxn ang="0">
                    <a:pos x="8" y="277"/>
                  </a:cxn>
                  <a:cxn ang="0">
                    <a:pos x="11" y="244"/>
                  </a:cxn>
                  <a:cxn ang="0">
                    <a:pos x="2" y="199"/>
                  </a:cxn>
                  <a:cxn ang="0">
                    <a:pos x="27" y="176"/>
                  </a:cxn>
                  <a:cxn ang="0">
                    <a:pos x="35" y="143"/>
                  </a:cxn>
                  <a:cxn ang="0">
                    <a:pos x="72" y="101"/>
                  </a:cxn>
                </a:cxnLst>
                <a:rect l="0" t="0" r="r" b="b"/>
                <a:pathLst>
                  <a:path w="756" h="579">
                    <a:moveTo>
                      <a:pt x="72" y="101"/>
                    </a:moveTo>
                    <a:cubicBezTo>
                      <a:pt x="73" y="100"/>
                      <a:pt x="91" y="99"/>
                      <a:pt x="92" y="98"/>
                    </a:cubicBezTo>
                    <a:cubicBezTo>
                      <a:pt x="93" y="97"/>
                      <a:pt x="100" y="92"/>
                      <a:pt x="102" y="92"/>
                    </a:cubicBezTo>
                    <a:cubicBezTo>
                      <a:pt x="122" y="91"/>
                      <a:pt x="259" y="91"/>
                      <a:pt x="279" y="92"/>
                    </a:cubicBezTo>
                    <a:cubicBezTo>
                      <a:pt x="316" y="97"/>
                      <a:pt x="297" y="96"/>
                      <a:pt x="303" y="95"/>
                    </a:cubicBezTo>
                    <a:cubicBezTo>
                      <a:pt x="309" y="94"/>
                      <a:pt x="305" y="95"/>
                      <a:pt x="306" y="82"/>
                    </a:cubicBezTo>
                    <a:cubicBezTo>
                      <a:pt x="307" y="69"/>
                      <a:pt x="306" y="67"/>
                      <a:pt x="306" y="61"/>
                    </a:cubicBezTo>
                    <a:cubicBezTo>
                      <a:pt x="305" y="53"/>
                      <a:pt x="299" y="42"/>
                      <a:pt x="302" y="35"/>
                    </a:cubicBezTo>
                    <a:cubicBezTo>
                      <a:pt x="305" y="28"/>
                      <a:pt x="318" y="22"/>
                      <a:pt x="323" y="20"/>
                    </a:cubicBezTo>
                    <a:cubicBezTo>
                      <a:pt x="328" y="18"/>
                      <a:pt x="332" y="26"/>
                      <a:pt x="335" y="25"/>
                    </a:cubicBezTo>
                    <a:cubicBezTo>
                      <a:pt x="338" y="24"/>
                      <a:pt x="329" y="14"/>
                      <a:pt x="339" y="14"/>
                    </a:cubicBezTo>
                    <a:cubicBezTo>
                      <a:pt x="349" y="14"/>
                      <a:pt x="383" y="22"/>
                      <a:pt x="396" y="22"/>
                    </a:cubicBezTo>
                    <a:cubicBezTo>
                      <a:pt x="409" y="22"/>
                      <a:pt x="412" y="10"/>
                      <a:pt x="419" y="13"/>
                    </a:cubicBezTo>
                    <a:cubicBezTo>
                      <a:pt x="426" y="16"/>
                      <a:pt x="433" y="39"/>
                      <a:pt x="437" y="43"/>
                    </a:cubicBezTo>
                    <a:cubicBezTo>
                      <a:pt x="441" y="47"/>
                      <a:pt x="439" y="38"/>
                      <a:pt x="443" y="37"/>
                    </a:cubicBezTo>
                    <a:cubicBezTo>
                      <a:pt x="447" y="36"/>
                      <a:pt x="454" y="39"/>
                      <a:pt x="462" y="38"/>
                    </a:cubicBezTo>
                    <a:cubicBezTo>
                      <a:pt x="470" y="37"/>
                      <a:pt x="481" y="35"/>
                      <a:pt x="489" y="31"/>
                    </a:cubicBezTo>
                    <a:cubicBezTo>
                      <a:pt x="497" y="27"/>
                      <a:pt x="505" y="14"/>
                      <a:pt x="512" y="11"/>
                    </a:cubicBezTo>
                    <a:cubicBezTo>
                      <a:pt x="519" y="8"/>
                      <a:pt x="528" y="12"/>
                      <a:pt x="533" y="11"/>
                    </a:cubicBezTo>
                    <a:cubicBezTo>
                      <a:pt x="538" y="10"/>
                      <a:pt x="542" y="0"/>
                      <a:pt x="545" y="2"/>
                    </a:cubicBezTo>
                    <a:cubicBezTo>
                      <a:pt x="548" y="4"/>
                      <a:pt x="545" y="21"/>
                      <a:pt x="549" y="26"/>
                    </a:cubicBezTo>
                    <a:cubicBezTo>
                      <a:pt x="553" y="31"/>
                      <a:pt x="561" y="30"/>
                      <a:pt x="567" y="34"/>
                    </a:cubicBezTo>
                    <a:cubicBezTo>
                      <a:pt x="573" y="38"/>
                      <a:pt x="580" y="48"/>
                      <a:pt x="587" y="50"/>
                    </a:cubicBezTo>
                    <a:cubicBezTo>
                      <a:pt x="594" y="52"/>
                      <a:pt x="603" y="48"/>
                      <a:pt x="609" y="46"/>
                    </a:cubicBezTo>
                    <a:cubicBezTo>
                      <a:pt x="615" y="44"/>
                      <a:pt x="622" y="40"/>
                      <a:pt x="626" y="40"/>
                    </a:cubicBezTo>
                    <a:cubicBezTo>
                      <a:pt x="630" y="40"/>
                      <a:pt x="632" y="41"/>
                      <a:pt x="636" y="44"/>
                    </a:cubicBezTo>
                    <a:cubicBezTo>
                      <a:pt x="640" y="47"/>
                      <a:pt x="643" y="51"/>
                      <a:pt x="647" y="56"/>
                    </a:cubicBezTo>
                    <a:cubicBezTo>
                      <a:pt x="651" y="61"/>
                      <a:pt x="655" y="71"/>
                      <a:pt x="660" y="77"/>
                    </a:cubicBezTo>
                    <a:cubicBezTo>
                      <a:pt x="665" y="83"/>
                      <a:pt x="670" y="86"/>
                      <a:pt x="675" y="92"/>
                    </a:cubicBezTo>
                    <a:cubicBezTo>
                      <a:pt x="680" y="98"/>
                      <a:pt x="683" y="108"/>
                      <a:pt x="687" y="113"/>
                    </a:cubicBezTo>
                    <a:cubicBezTo>
                      <a:pt x="691" y="118"/>
                      <a:pt x="697" y="122"/>
                      <a:pt x="702" y="125"/>
                    </a:cubicBezTo>
                    <a:cubicBezTo>
                      <a:pt x="707" y="128"/>
                      <a:pt x="714" y="131"/>
                      <a:pt x="720" y="134"/>
                    </a:cubicBezTo>
                    <a:cubicBezTo>
                      <a:pt x="726" y="137"/>
                      <a:pt x="733" y="140"/>
                      <a:pt x="738" y="143"/>
                    </a:cubicBezTo>
                    <a:cubicBezTo>
                      <a:pt x="743" y="146"/>
                      <a:pt x="752" y="149"/>
                      <a:pt x="753" y="151"/>
                    </a:cubicBezTo>
                    <a:cubicBezTo>
                      <a:pt x="754" y="153"/>
                      <a:pt x="746" y="155"/>
                      <a:pt x="746" y="158"/>
                    </a:cubicBezTo>
                    <a:cubicBezTo>
                      <a:pt x="746" y="161"/>
                      <a:pt x="755" y="167"/>
                      <a:pt x="755" y="169"/>
                    </a:cubicBezTo>
                    <a:cubicBezTo>
                      <a:pt x="755" y="171"/>
                      <a:pt x="749" y="171"/>
                      <a:pt x="749" y="173"/>
                    </a:cubicBezTo>
                    <a:cubicBezTo>
                      <a:pt x="749" y="175"/>
                      <a:pt x="756" y="180"/>
                      <a:pt x="755" y="182"/>
                    </a:cubicBezTo>
                    <a:cubicBezTo>
                      <a:pt x="754" y="184"/>
                      <a:pt x="745" y="183"/>
                      <a:pt x="740" y="185"/>
                    </a:cubicBezTo>
                    <a:cubicBezTo>
                      <a:pt x="735" y="187"/>
                      <a:pt x="730" y="195"/>
                      <a:pt x="726" y="197"/>
                    </a:cubicBezTo>
                    <a:cubicBezTo>
                      <a:pt x="722" y="199"/>
                      <a:pt x="718" y="199"/>
                      <a:pt x="713" y="199"/>
                    </a:cubicBezTo>
                    <a:cubicBezTo>
                      <a:pt x="708" y="199"/>
                      <a:pt x="700" y="198"/>
                      <a:pt x="696" y="196"/>
                    </a:cubicBezTo>
                    <a:cubicBezTo>
                      <a:pt x="692" y="194"/>
                      <a:pt x="690" y="189"/>
                      <a:pt x="686" y="188"/>
                    </a:cubicBezTo>
                    <a:cubicBezTo>
                      <a:pt x="682" y="187"/>
                      <a:pt x="678" y="190"/>
                      <a:pt x="674" y="190"/>
                    </a:cubicBezTo>
                    <a:cubicBezTo>
                      <a:pt x="670" y="190"/>
                      <a:pt x="662" y="189"/>
                      <a:pt x="659" y="191"/>
                    </a:cubicBezTo>
                    <a:cubicBezTo>
                      <a:pt x="656" y="193"/>
                      <a:pt x="660" y="202"/>
                      <a:pt x="656" y="205"/>
                    </a:cubicBezTo>
                    <a:cubicBezTo>
                      <a:pt x="652" y="208"/>
                      <a:pt x="641" y="209"/>
                      <a:pt x="636" y="212"/>
                    </a:cubicBezTo>
                    <a:cubicBezTo>
                      <a:pt x="631" y="215"/>
                      <a:pt x="631" y="217"/>
                      <a:pt x="626" y="220"/>
                    </a:cubicBezTo>
                    <a:cubicBezTo>
                      <a:pt x="621" y="223"/>
                      <a:pt x="614" y="228"/>
                      <a:pt x="608" y="230"/>
                    </a:cubicBezTo>
                    <a:cubicBezTo>
                      <a:pt x="602" y="232"/>
                      <a:pt x="597" y="232"/>
                      <a:pt x="590" y="235"/>
                    </a:cubicBezTo>
                    <a:cubicBezTo>
                      <a:pt x="583" y="238"/>
                      <a:pt x="564" y="245"/>
                      <a:pt x="563" y="248"/>
                    </a:cubicBezTo>
                    <a:cubicBezTo>
                      <a:pt x="562" y="251"/>
                      <a:pt x="575" y="252"/>
                      <a:pt x="581" y="254"/>
                    </a:cubicBezTo>
                    <a:cubicBezTo>
                      <a:pt x="587" y="256"/>
                      <a:pt x="596" y="258"/>
                      <a:pt x="600" y="260"/>
                    </a:cubicBezTo>
                    <a:cubicBezTo>
                      <a:pt x="604" y="262"/>
                      <a:pt x="606" y="263"/>
                      <a:pt x="608" y="266"/>
                    </a:cubicBezTo>
                    <a:cubicBezTo>
                      <a:pt x="610" y="269"/>
                      <a:pt x="611" y="276"/>
                      <a:pt x="611" y="281"/>
                    </a:cubicBezTo>
                    <a:cubicBezTo>
                      <a:pt x="611" y="286"/>
                      <a:pt x="609" y="294"/>
                      <a:pt x="609" y="299"/>
                    </a:cubicBezTo>
                    <a:cubicBezTo>
                      <a:pt x="609" y="304"/>
                      <a:pt x="610" y="307"/>
                      <a:pt x="608" y="310"/>
                    </a:cubicBezTo>
                    <a:cubicBezTo>
                      <a:pt x="606" y="313"/>
                      <a:pt x="600" y="316"/>
                      <a:pt x="599" y="320"/>
                    </a:cubicBezTo>
                    <a:cubicBezTo>
                      <a:pt x="598" y="324"/>
                      <a:pt x="600" y="332"/>
                      <a:pt x="602" y="335"/>
                    </a:cubicBezTo>
                    <a:cubicBezTo>
                      <a:pt x="604" y="338"/>
                      <a:pt x="610" y="337"/>
                      <a:pt x="614" y="340"/>
                    </a:cubicBezTo>
                    <a:cubicBezTo>
                      <a:pt x="618" y="343"/>
                      <a:pt x="625" y="348"/>
                      <a:pt x="629" y="352"/>
                    </a:cubicBezTo>
                    <a:cubicBezTo>
                      <a:pt x="633" y="356"/>
                      <a:pt x="636" y="363"/>
                      <a:pt x="639" y="367"/>
                    </a:cubicBezTo>
                    <a:cubicBezTo>
                      <a:pt x="642" y="371"/>
                      <a:pt x="645" y="371"/>
                      <a:pt x="648" y="374"/>
                    </a:cubicBezTo>
                    <a:cubicBezTo>
                      <a:pt x="651" y="377"/>
                      <a:pt x="656" y="375"/>
                      <a:pt x="657" y="382"/>
                    </a:cubicBezTo>
                    <a:cubicBezTo>
                      <a:pt x="658" y="389"/>
                      <a:pt x="655" y="411"/>
                      <a:pt x="654" y="419"/>
                    </a:cubicBezTo>
                    <a:cubicBezTo>
                      <a:pt x="653" y="427"/>
                      <a:pt x="649" y="426"/>
                      <a:pt x="650" y="430"/>
                    </a:cubicBezTo>
                    <a:cubicBezTo>
                      <a:pt x="651" y="434"/>
                      <a:pt x="657" y="438"/>
                      <a:pt x="660" y="442"/>
                    </a:cubicBezTo>
                    <a:cubicBezTo>
                      <a:pt x="663" y="446"/>
                      <a:pt x="668" y="449"/>
                      <a:pt x="668" y="452"/>
                    </a:cubicBezTo>
                    <a:cubicBezTo>
                      <a:pt x="668" y="455"/>
                      <a:pt x="665" y="457"/>
                      <a:pt x="662" y="460"/>
                    </a:cubicBezTo>
                    <a:cubicBezTo>
                      <a:pt x="659" y="463"/>
                      <a:pt x="653" y="463"/>
                      <a:pt x="651" y="470"/>
                    </a:cubicBezTo>
                    <a:cubicBezTo>
                      <a:pt x="649" y="477"/>
                      <a:pt x="652" y="496"/>
                      <a:pt x="650" y="503"/>
                    </a:cubicBezTo>
                    <a:cubicBezTo>
                      <a:pt x="648" y="510"/>
                      <a:pt x="638" y="508"/>
                      <a:pt x="636" y="511"/>
                    </a:cubicBezTo>
                    <a:cubicBezTo>
                      <a:pt x="634" y="514"/>
                      <a:pt x="638" y="517"/>
                      <a:pt x="638" y="521"/>
                    </a:cubicBezTo>
                    <a:cubicBezTo>
                      <a:pt x="638" y="525"/>
                      <a:pt x="631" y="533"/>
                      <a:pt x="633" y="535"/>
                    </a:cubicBezTo>
                    <a:cubicBezTo>
                      <a:pt x="635" y="537"/>
                      <a:pt x="646" y="532"/>
                      <a:pt x="648" y="533"/>
                    </a:cubicBezTo>
                    <a:cubicBezTo>
                      <a:pt x="650" y="534"/>
                      <a:pt x="646" y="539"/>
                      <a:pt x="648" y="542"/>
                    </a:cubicBezTo>
                    <a:cubicBezTo>
                      <a:pt x="650" y="545"/>
                      <a:pt x="661" y="547"/>
                      <a:pt x="663" y="550"/>
                    </a:cubicBezTo>
                    <a:cubicBezTo>
                      <a:pt x="665" y="553"/>
                      <a:pt x="660" y="556"/>
                      <a:pt x="659" y="560"/>
                    </a:cubicBezTo>
                    <a:cubicBezTo>
                      <a:pt x="658" y="564"/>
                      <a:pt x="659" y="571"/>
                      <a:pt x="656" y="574"/>
                    </a:cubicBezTo>
                    <a:cubicBezTo>
                      <a:pt x="653" y="577"/>
                      <a:pt x="645" y="579"/>
                      <a:pt x="642" y="578"/>
                    </a:cubicBezTo>
                    <a:cubicBezTo>
                      <a:pt x="639" y="577"/>
                      <a:pt x="641" y="567"/>
                      <a:pt x="638" y="566"/>
                    </a:cubicBezTo>
                    <a:cubicBezTo>
                      <a:pt x="635" y="565"/>
                      <a:pt x="628" y="571"/>
                      <a:pt x="623" y="571"/>
                    </a:cubicBezTo>
                    <a:cubicBezTo>
                      <a:pt x="618" y="571"/>
                      <a:pt x="611" y="564"/>
                      <a:pt x="606" y="563"/>
                    </a:cubicBezTo>
                    <a:cubicBezTo>
                      <a:pt x="601" y="562"/>
                      <a:pt x="598" y="568"/>
                      <a:pt x="594" y="566"/>
                    </a:cubicBezTo>
                    <a:cubicBezTo>
                      <a:pt x="590" y="564"/>
                      <a:pt x="585" y="555"/>
                      <a:pt x="581" y="551"/>
                    </a:cubicBezTo>
                    <a:cubicBezTo>
                      <a:pt x="577" y="547"/>
                      <a:pt x="577" y="543"/>
                      <a:pt x="572" y="542"/>
                    </a:cubicBezTo>
                    <a:cubicBezTo>
                      <a:pt x="567" y="541"/>
                      <a:pt x="556" y="549"/>
                      <a:pt x="551" y="548"/>
                    </a:cubicBezTo>
                    <a:cubicBezTo>
                      <a:pt x="546" y="547"/>
                      <a:pt x="544" y="540"/>
                      <a:pt x="539" y="538"/>
                    </a:cubicBezTo>
                    <a:cubicBezTo>
                      <a:pt x="534" y="536"/>
                      <a:pt x="527" y="534"/>
                      <a:pt x="522" y="533"/>
                    </a:cubicBezTo>
                    <a:cubicBezTo>
                      <a:pt x="517" y="532"/>
                      <a:pt x="510" y="528"/>
                      <a:pt x="506" y="529"/>
                    </a:cubicBezTo>
                    <a:cubicBezTo>
                      <a:pt x="502" y="530"/>
                      <a:pt x="503" y="539"/>
                      <a:pt x="500" y="539"/>
                    </a:cubicBezTo>
                    <a:cubicBezTo>
                      <a:pt x="497" y="539"/>
                      <a:pt x="491" y="530"/>
                      <a:pt x="486" y="527"/>
                    </a:cubicBezTo>
                    <a:cubicBezTo>
                      <a:pt x="465" y="512"/>
                      <a:pt x="476" y="523"/>
                      <a:pt x="471" y="523"/>
                    </a:cubicBezTo>
                    <a:cubicBezTo>
                      <a:pt x="466" y="523"/>
                      <a:pt x="460" y="523"/>
                      <a:pt x="456" y="526"/>
                    </a:cubicBezTo>
                    <a:cubicBezTo>
                      <a:pt x="452" y="529"/>
                      <a:pt x="451" y="539"/>
                      <a:pt x="447" y="542"/>
                    </a:cubicBezTo>
                    <a:cubicBezTo>
                      <a:pt x="443" y="545"/>
                      <a:pt x="436" y="544"/>
                      <a:pt x="431" y="545"/>
                    </a:cubicBezTo>
                    <a:cubicBezTo>
                      <a:pt x="426" y="546"/>
                      <a:pt x="422" y="547"/>
                      <a:pt x="417" y="550"/>
                    </a:cubicBezTo>
                    <a:cubicBezTo>
                      <a:pt x="412" y="553"/>
                      <a:pt x="405" y="560"/>
                      <a:pt x="401" y="560"/>
                    </a:cubicBezTo>
                    <a:cubicBezTo>
                      <a:pt x="397" y="560"/>
                      <a:pt x="394" y="553"/>
                      <a:pt x="390" y="553"/>
                    </a:cubicBezTo>
                    <a:cubicBezTo>
                      <a:pt x="386" y="553"/>
                      <a:pt x="381" y="561"/>
                      <a:pt x="377" y="560"/>
                    </a:cubicBezTo>
                    <a:cubicBezTo>
                      <a:pt x="373" y="559"/>
                      <a:pt x="373" y="548"/>
                      <a:pt x="368" y="544"/>
                    </a:cubicBezTo>
                    <a:cubicBezTo>
                      <a:pt x="363" y="540"/>
                      <a:pt x="351" y="535"/>
                      <a:pt x="348" y="536"/>
                    </a:cubicBezTo>
                    <a:cubicBezTo>
                      <a:pt x="345" y="537"/>
                      <a:pt x="350" y="548"/>
                      <a:pt x="347" y="551"/>
                    </a:cubicBezTo>
                    <a:cubicBezTo>
                      <a:pt x="344" y="554"/>
                      <a:pt x="334" y="551"/>
                      <a:pt x="329" y="553"/>
                    </a:cubicBezTo>
                    <a:cubicBezTo>
                      <a:pt x="324" y="555"/>
                      <a:pt x="321" y="561"/>
                      <a:pt x="315" y="563"/>
                    </a:cubicBezTo>
                    <a:cubicBezTo>
                      <a:pt x="309" y="565"/>
                      <a:pt x="299" y="561"/>
                      <a:pt x="294" y="563"/>
                    </a:cubicBezTo>
                    <a:cubicBezTo>
                      <a:pt x="289" y="565"/>
                      <a:pt x="288" y="575"/>
                      <a:pt x="284" y="575"/>
                    </a:cubicBezTo>
                    <a:cubicBezTo>
                      <a:pt x="280" y="575"/>
                      <a:pt x="274" y="568"/>
                      <a:pt x="270" y="566"/>
                    </a:cubicBezTo>
                    <a:cubicBezTo>
                      <a:pt x="266" y="564"/>
                      <a:pt x="264" y="561"/>
                      <a:pt x="260" y="562"/>
                    </a:cubicBezTo>
                    <a:cubicBezTo>
                      <a:pt x="256" y="563"/>
                      <a:pt x="251" y="575"/>
                      <a:pt x="248" y="574"/>
                    </a:cubicBezTo>
                    <a:cubicBezTo>
                      <a:pt x="245" y="573"/>
                      <a:pt x="243" y="563"/>
                      <a:pt x="240" y="559"/>
                    </a:cubicBezTo>
                    <a:cubicBezTo>
                      <a:pt x="237" y="555"/>
                      <a:pt x="233" y="553"/>
                      <a:pt x="228" y="550"/>
                    </a:cubicBezTo>
                    <a:cubicBezTo>
                      <a:pt x="214" y="566"/>
                      <a:pt x="215" y="553"/>
                      <a:pt x="207" y="538"/>
                    </a:cubicBezTo>
                    <a:cubicBezTo>
                      <a:pt x="199" y="523"/>
                      <a:pt x="180" y="476"/>
                      <a:pt x="177" y="461"/>
                    </a:cubicBezTo>
                    <a:cubicBezTo>
                      <a:pt x="174" y="446"/>
                      <a:pt x="189" y="452"/>
                      <a:pt x="188" y="445"/>
                    </a:cubicBezTo>
                    <a:cubicBezTo>
                      <a:pt x="175" y="454"/>
                      <a:pt x="176" y="422"/>
                      <a:pt x="171" y="416"/>
                    </a:cubicBezTo>
                    <a:cubicBezTo>
                      <a:pt x="166" y="410"/>
                      <a:pt x="163" y="413"/>
                      <a:pt x="155" y="409"/>
                    </a:cubicBezTo>
                    <a:cubicBezTo>
                      <a:pt x="147" y="405"/>
                      <a:pt x="130" y="398"/>
                      <a:pt x="123" y="391"/>
                    </a:cubicBezTo>
                    <a:cubicBezTo>
                      <a:pt x="116" y="384"/>
                      <a:pt x="118" y="371"/>
                      <a:pt x="114" y="365"/>
                    </a:cubicBezTo>
                    <a:cubicBezTo>
                      <a:pt x="110" y="359"/>
                      <a:pt x="103" y="356"/>
                      <a:pt x="96" y="352"/>
                    </a:cubicBezTo>
                    <a:cubicBezTo>
                      <a:pt x="89" y="348"/>
                      <a:pt x="81" y="344"/>
                      <a:pt x="74" y="344"/>
                    </a:cubicBezTo>
                    <a:cubicBezTo>
                      <a:pt x="67" y="344"/>
                      <a:pt x="62" y="351"/>
                      <a:pt x="56" y="350"/>
                    </a:cubicBezTo>
                    <a:cubicBezTo>
                      <a:pt x="50" y="349"/>
                      <a:pt x="44" y="341"/>
                      <a:pt x="39" y="337"/>
                    </a:cubicBezTo>
                    <a:cubicBezTo>
                      <a:pt x="34" y="333"/>
                      <a:pt x="26" y="331"/>
                      <a:pt x="26" y="328"/>
                    </a:cubicBezTo>
                    <a:cubicBezTo>
                      <a:pt x="26" y="325"/>
                      <a:pt x="36" y="321"/>
                      <a:pt x="36" y="317"/>
                    </a:cubicBezTo>
                    <a:cubicBezTo>
                      <a:pt x="36" y="313"/>
                      <a:pt x="29" y="308"/>
                      <a:pt x="29" y="304"/>
                    </a:cubicBezTo>
                    <a:cubicBezTo>
                      <a:pt x="29" y="300"/>
                      <a:pt x="38" y="295"/>
                      <a:pt x="38" y="292"/>
                    </a:cubicBezTo>
                    <a:cubicBezTo>
                      <a:pt x="38" y="289"/>
                      <a:pt x="31" y="289"/>
                      <a:pt x="26" y="287"/>
                    </a:cubicBezTo>
                    <a:cubicBezTo>
                      <a:pt x="21" y="285"/>
                      <a:pt x="12" y="281"/>
                      <a:pt x="8" y="277"/>
                    </a:cubicBezTo>
                    <a:cubicBezTo>
                      <a:pt x="4" y="273"/>
                      <a:pt x="4" y="267"/>
                      <a:pt x="3" y="262"/>
                    </a:cubicBezTo>
                    <a:cubicBezTo>
                      <a:pt x="2" y="257"/>
                      <a:pt x="1" y="250"/>
                      <a:pt x="2" y="247"/>
                    </a:cubicBezTo>
                    <a:cubicBezTo>
                      <a:pt x="3" y="244"/>
                      <a:pt x="9" y="247"/>
                      <a:pt x="11" y="244"/>
                    </a:cubicBezTo>
                    <a:cubicBezTo>
                      <a:pt x="13" y="241"/>
                      <a:pt x="16" y="232"/>
                      <a:pt x="15" y="227"/>
                    </a:cubicBezTo>
                    <a:cubicBezTo>
                      <a:pt x="14" y="222"/>
                      <a:pt x="8" y="216"/>
                      <a:pt x="6" y="212"/>
                    </a:cubicBezTo>
                    <a:cubicBezTo>
                      <a:pt x="4" y="208"/>
                      <a:pt x="0" y="202"/>
                      <a:pt x="2" y="199"/>
                    </a:cubicBezTo>
                    <a:cubicBezTo>
                      <a:pt x="4" y="196"/>
                      <a:pt x="19" y="197"/>
                      <a:pt x="21" y="194"/>
                    </a:cubicBezTo>
                    <a:cubicBezTo>
                      <a:pt x="23" y="191"/>
                      <a:pt x="11" y="185"/>
                      <a:pt x="12" y="182"/>
                    </a:cubicBezTo>
                    <a:cubicBezTo>
                      <a:pt x="13" y="179"/>
                      <a:pt x="25" y="179"/>
                      <a:pt x="27" y="176"/>
                    </a:cubicBezTo>
                    <a:cubicBezTo>
                      <a:pt x="29" y="173"/>
                      <a:pt x="22" y="169"/>
                      <a:pt x="24" y="166"/>
                    </a:cubicBezTo>
                    <a:cubicBezTo>
                      <a:pt x="26" y="163"/>
                      <a:pt x="37" y="159"/>
                      <a:pt x="39" y="155"/>
                    </a:cubicBezTo>
                    <a:cubicBezTo>
                      <a:pt x="41" y="151"/>
                      <a:pt x="33" y="147"/>
                      <a:pt x="35" y="143"/>
                    </a:cubicBezTo>
                    <a:cubicBezTo>
                      <a:pt x="37" y="139"/>
                      <a:pt x="51" y="137"/>
                      <a:pt x="54" y="133"/>
                    </a:cubicBezTo>
                    <a:cubicBezTo>
                      <a:pt x="60" y="125"/>
                      <a:pt x="44" y="122"/>
                      <a:pt x="53" y="116"/>
                    </a:cubicBezTo>
                    <a:cubicBezTo>
                      <a:pt x="56" y="109"/>
                      <a:pt x="83" y="101"/>
                      <a:pt x="72" y="101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0" name="Freeform 17"/>
              <p:cNvSpPr/>
              <p:nvPr/>
            </p:nvSpPr>
            <p:spPr>
              <a:xfrm>
                <a:off x="7286844" y="1963639"/>
                <a:ext cx="2477996" cy="1530802"/>
              </a:xfrm>
              <a:custGeom>
                <a:avLst/>
                <a:gdLst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66725 w 1423987"/>
                  <a:gd name="connsiteY32" fmla="*/ 638175 h 895350"/>
                  <a:gd name="connsiteX33" fmla="*/ 457200 w 1423987"/>
                  <a:gd name="connsiteY33" fmla="*/ 595313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57200 w 1423987"/>
                  <a:gd name="connsiteY33" fmla="*/ 595313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19200 w 1423987"/>
                  <a:gd name="connsiteY36" fmla="*/ 566738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19226 w 1423987"/>
                  <a:gd name="connsiteY2" fmla="*/ 304800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19200 w 1423987"/>
                  <a:gd name="connsiteY36" fmla="*/ 566738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33382 w 1419269"/>
                  <a:gd name="connsiteY3" fmla="*/ 333375 h 895350"/>
                  <a:gd name="connsiteX4" fmla="*/ 19094 w 1419269"/>
                  <a:gd name="connsiteY4" fmla="*/ 371475 h 895350"/>
                  <a:gd name="connsiteX5" fmla="*/ 47669 w 1419269"/>
                  <a:gd name="connsiteY5" fmla="*/ 385763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33382 w 1419269"/>
                  <a:gd name="connsiteY3" fmla="*/ 333375 h 895350"/>
                  <a:gd name="connsiteX4" fmla="*/ 19094 w 1419269"/>
                  <a:gd name="connsiteY4" fmla="*/ 371475 h 895350"/>
                  <a:gd name="connsiteX5" fmla="*/ 28795 w 1419269"/>
                  <a:gd name="connsiteY5" fmla="*/ 390526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21585 w 1419269"/>
                  <a:gd name="connsiteY3" fmla="*/ 333375 h 895350"/>
                  <a:gd name="connsiteX4" fmla="*/ 19094 w 1419269"/>
                  <a:gd name="connsiteY4" fmla="*/ 371475 h 895350"/>
                  <a:gd name="connsiteX5" fmla="*/ 28795 w 1419269"/>
                  <a:gd name="connsiteY5" fmla="*/ 390526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1419269" h="895350">
                    <a:moveTo>
                      <a:pt x="19094" y="242888"/>
                    </a:moveTo>
                    <a:lnTo>
                      <a:pt x="0" y="280988"/>
                    </a:lnTo>
                    <a:lnTo>
                      <a:pt x="14508" y="304800"/>
                    </a:lnTo>
                    <a:lnTo>
                      <a:pt x="21585" y="333375"/>
                    </a:lnTo>
                    <a:lnTo>
                      <a:pt x="19094" y="371475"/>
                    </a:lnTo>
                    <a:lnTo>
                      <a:pt x="28795" y="390526"/>
                    </a:lnTo>
                    <a:lnTo>
                      <a:pt x="52432" y="457200"/>
                    </a:lnTo>
                    <a:lnTo>
                      <a:pt x="61957" y="485775"/>
                    </a:lnTo>
                    <a:lnTo>
                      <a:pt x="71482" y="538163"/>
                    </a:lnTo>
                    <a:lnTo>
                      <a:pt x="71482" y="538163"/>
                    </a:lnTo>
                    <a:lnTo>
                      <a:pt x="90532" y="590550"/>
                    </a:lnTo>
                    <a:lnTo>
                      <a:pt x="95294" y="628650"/>
                    </a:lnTo>
                    <a:lnTo>
                      <a:pt x="95294" y="685800"/>
                    </a:lnTo>
                    <a:lnTo>
                      <a:pt x="52432" y="738188"/>
                    </a:lnTo>
                    <a:lnTo>
                      <a:pt x="23857" y="809625"/>
                    </a:lnTo>
                    <a:lnTo>
                      <a:pt x="28619" y="847725"/>
                    </a:lnTo>
                    <a:lnTo>
                      <a:pt x="71482" y="809625"/>
                    </a:lnTo>
                    <a:lnTo>
                      <a:pt x="114344" y="809625"/>
                    </a:lnTo>
                    <a:lnTo>
                      <a:pt x="157207" y="833438"/>
                    </a:lnTo>
                    <a:lnTo>
                      <a:pt x="185782" y="881063"/>
                    </a:lnTo>
                    <a:lnTo>
                      <a:pt x="219119" y="895350"/>
                    </a:lnTo>
                    <a:lnTo>
                      <a:pt x="219119" y="895350"/>
                    </a:lnTo>
                    <a:lnTo>
                      <a:pt x="261982" y="876300"/>
                    </a:lnTo>
                    <a:lnTo>
                      <a:pt x="271507" y="833438"/>
                    </a:lnTo>
                    <a:lnTo>
                      <a:pt x="271507" y="833438"/>
                    </a:lnTo>
                    <a:lnTo>
                      <a:pt x="333419" y="857250"/>
                    </a:lnTo>
                    <a:lnTo>
                      <a:pt x="333419" y="857250"/>
                    </a:lnTo>
                    <a:lnTo>
                      <a:pt x="385807" y="838200"/>
                    </a:lnTo>
                    <a:lnTo>
                      <a:pt x="409619" y="819150"/>
                    </a:lnTo>
                    <a:lnTo>
                      <a:pt x="438194" y="781050"/>
                    </a:lnTo>
                    <a:lnTo>
                      <a:pt x="442957" y="728663"/>
                    </a:lnTo>
                    <a:lnTo>
                      <a:pt x="476294" y="690563"/>
                    </a:lnTo>
                    <a:cubicBezTo>
                      <a:pt x="476250" y="671513"/>
                      <a:pt x="476207" y="652462"/>
                      <a:pt x="476163" y="633412"/>
                    </a:cubicBezTo>
                    <a:lnTo>
                      <a:pt x="461919" y="585788"/>
                    </a:lnTo>
                    <a:lnTo>
                      <a:pt x="447719" y="542925"/>
                    </a:lnTo>
                    <a:lnTo>
                      <a:pt x="490582" y="523875"/>
                    </a:lnTo>
                    <a:lnTo>
                      <a:pt x="514482" y="566738"/>
                    </a:lnTo>
                    <a:lnTo>
                      <a:pt x="552494" y="566738"/>
                    </a:lnTo>
                    <a:lnTo>
                      <a:pt x="585832" y="519113"/>
                    </a:lnTo>
                    <a:cubicBezTo>
                      <a:pt x="630272" y="514175"/>
                      <a:pt x="628694" y="499975"/>
                      <a:pt x="628694" y="519113"/>
                    </a:cubicBezTo>
                    <a:lnTo>
                      <a:pt x="647744" y="547688"/>
                    </a:lnTo>
                    <a:lnTo>
                      <a:pt x="704894" y="619125"/>
                    </a:lnTo>
                    <a:lnTo>
                      <a:pt x="714419" y="647700"/>
                    </a:lnTo>
                    <a:lnTo>
                      <a:pt x="785857" y="676275"/>
                    </a:lnTo>
                    <a:lnTo>
                      <a:pt x="823957" y="633413"/>
                    </a:lnTo>
                    <a:lnTo>
                      <a:pt x="866819" y="633413"/>
                    </a:lnTo>
                    <a:lnTo>
                      <a:pt x="938257" y="671513"/>
                    </a:lnTo>
                    <a:lnTo>
                      <a:pt x="976357" y="666750"/>
                    </a:lnTo>
                    <a:lnTo>
                      <a:pt x="1000169" y="714375"/>
                    </a:lnTo>
                    <a:lnTo>
                      <a:pt x="1066844" y="723900"/>
                    </a:lnTo>
                    <a:lnTo>
                      <a:pt x="1128757" y="700088"/>
                    </a:lnTo>
                    <a:lnTo>
                      <a:pt x="1238383" y="704850"/>
                    </a:lnTo>
                    <a:lnTo>
                      <a:pt x="1290682" y="742950"/>
                    </a:lnTo>
                    <a:lnTo>
                      <a:pt x="1333544" y="738188"/>
                    </a:lnTo>
                    <a:cubicBezTo>
                      <a:pt x="1331957" y="744538"/>
                      <a:pt x="1326037" y="752079"/>
                      <a:pt x="1328782" y="757238"/>
                    </a:cubicBezTo>
                    <a:cubicBezTo>
                      <a:pt x="1331527" y="762397"/>
                      <a:pt x="1342937" y="765175"/>
                      <a:pt x="1350015" y="769144"/>
                    </a:cubicBezTo>
                    <a:lnTo>
                      <a:pt x="1409744" y="762000"/>
                    </a:lnTo>
                    <a:lnTo>
                      <a:pt x="1404982" y="723900"/>
                    </a:lnTo>
                    <a:lnTo>
                      <a:pt x="1362119" y="690563"/>
                    </a:lnTo>
                    <a:cubicBezTo>
                      <a:pt x="1357357" y="676275"/>
                      <a:pt x="1349041" y="660797"/>
                      <a:pt x="1347832" y="647700"/>
                    </a:cubicBezTo>
                    <a:cubicBezTo>
                      <a:pt x="1346623" y="634603"/>
                      <a:pt x="1352521" y="623887"/>
                      <a:pt x="1354865" y="611981"/>
                    </a:cubicBezTo>
                    <a:lnTo>
                      <a:pt x="1352594" y="552450"/>
                    </a:lnTo>
                    <a:lnTo>
                      <a:pt x="1290682" y="585788"/>
                    </a:lnTo>
                    <a:lnTo>
                      <a:pt x="1271632" y="557213"/>
                    </a:lnTo>
                    <a:lnTo>
                      <a:pt x="1252582" y="476250"/>
                    </a:lnTo>
                    <a:lnTo>
                      <a:pt x="1295444" y="457200"/>
                    </a:lnTo>
                    <a:lnTo>
                      <a:pt x="1366882" y="457200"/>
                    </a:lnTo>
                    <a:lnTo>
                      <a:pt x="1414507" y="423863"/>
                    </a:lnTo>
                    <a:lnTo>
                      <a:pt x="1419269" y="371475"/>
                    </a:lnTo>
                    <a:lnTo>
                      <a:pt x="1347832" y="390525"/>
                    </a:lnTo>
                    <a:lnTo>
                      <a:pt x="1328782" y="376238"/>
                    </a:lnTo>
                    <a:lnTo>
                      <a:pt x="1252582" y="347663"/>
                    </a:lnTo>
                    <a:lnTo>
                      <a:pt x="1209719" y="361950"/>
                    </a:lnTo>
                    <a:lnTo>
                      <a:pt x="1195432" y="419100"/>
                    </a:lnTo>
                    <a:lnTo>
                      <a:pt x="1166857" y="423863"/>
                    </a:lnTo>
                    <a:lnTo>
                      <a:pt x="1147807" y="338138"/>
                    </a:lnTo>
                    <a:lnTo>
                      <a:pt x="1104944" y="304800"/>
                    </a:lnTo>
                    <a:lnTo>
                      <a:pt x="1052557" y="328613"/>
                    </a:lnTo>
                    <a:lnTo>
                      <a:pt x="1028744" y="361950"/>
                    </a:lnTo>
                    <a:lnTo>
                      <a:pt x="1028744" y="361950"/>
                    </a:lnTo>
                    <a:lnTo>
                      <a:pt x="985882" y="381000"/>
                    </a:lnTo>
                    <a:lnTo>
                      <a:pt x="933494" y="385763"/>
                    </a:lnTo>
                    <a:lnTo>
                      <a:pt x="914444" y="314325"/>
                    </a:lnTo>
                    <a:lnTo>
                      <a:pt x="938257" y="195263"/>
                    </a:lnTo>
                    <a:lnTo>
                      <a:pt x="914444" y="123825"/>
                    </a:lnTo>
                    <a:lnTo>
                      <a:pt x="909682" y="61913"/>
                    </a:lnTo>
                    <a:lnTo>
                      <a:pt x="862057" y="4763"/>
                    </a:lnTo>
                    <a:lnTo>
                      <a:pt x="766807" y="42863"/>
                    </a:lnTo>
                    <a:lnTo>
                      <a:pt x="728707" y="66675"/>
                    </a:lnTo>
                    <a:lnTo>
                      <a:pt x="609644" y="9525"/>
                    </a:lnTo>
                    <a:lnTo>
                      <a:pt x="509632" y="0"/>
                    </a:lnTo>
                    <a:lnTo>
                      <a:pt x="385807" y="80963"/>
                    </a:lnTo>
                    <a:lnTo>
                      <a:pt x="390569" y="161925"/>
                    </a:lnTo>
                    <a:lnTo>
                      <a:pt x="314369" y="152400"/>
                    </a:lnTo>
                    <a:lnTo>
                      <a:pt x="166732" y="190500"/>
                    </a:lnTo>
                    <a:lnTo>
                      <a:pt x="19094" y="24288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wrap="none" lIns="0" tIns="0" rIns="0" bIns="0" anchor="ctr"/>
              <a:lstStyle/>
              <a:p>
                <a:pPr>
                  <a:defRPr/>
                </a:pPr>
                <a:endParaRPr lang="en-US" sz="150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197" name="object 104"/>
            <p:cNvSpPr txBox="1">
              <a:spLocks noChangeArrowheads="1"/>
            </p:cNvSpPr>
            <p:nvPr/>
          </p:nvSpPr>
          <p:spPr bwMode="auto">
            <a:xfrm>
              <a:off x="5368443" y="1198957"/>
              <a:ext cx="588665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станай</a:t>
              </a:r>
              <a:endPara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107(79%)</a:t>
              </a:r>
            </a:p>
          </p:txBody>
        </p:sp>
        <p:sp>
          <p:nvSpPr>
            <p:cNvPr id="3198" name="object 104"/>
            <p:cNvSpPr txBox="1">
              <a:spLocks noChangeArrowheads="1"/>
            </p:cNvSpPr>
            <p:nvPr/>
          </p:nvSpPr>
          <p:spPr bwMode="auto">
            <a:xfrm>
              <a:off x="4641276" y="1868154"/>
              <a:ext cx="623259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1D8A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төбе</a:t>
              </a:r>
              <a:endParaRPr lang="ru-RU" altLang="ru-RU" sz="500" b="1" u="sng" dirty="0">
                <a:solidFill>
                  <a:srgbClr val="1D8A4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1D8A4A"/>
                  </a:solidFill>
                  <a:latin typeface="Arial Narrow" pitchFamily="34" charset="0"/>
                  <a:cs typeface="Arial" panose="020B0604020202020204" pitchFamily="34" charset="0"/>
                </a:rPr>
                <a:t>90(83%)</a:t>
              </a:r>
            </a:p>
          </p:txBody>
        </p:sp>
        <p:sp>
          <p:nvSpPr>
            <p:cNvPr id="3199" name="object 104"/>
            <p:cNvSpPr txBox="1">
              <a:spLocks noChangeArrowheads="1"/>
            </p:cNvSpPr>
            <p:nvPr/>
          </p:nvSpPr>
          <p:spPr bwMode="auto">
            <a:xfrm>
              <a:off x="3766476" y="2834939"/>
              <a:ext cx="647418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ңғыстау</a:t>
              </a:r>
              <a:endPara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21(64%)</a:t>
              </a:r>
            </a:p>
          </p:txBody>
        </p:sp>
        <p:sp>
          <p:nvSpPr>
            <p:cNvPr id="3200" name="object 104"/>
            <p:cNvSpPr txBox="1">
              <a:spLocks noChangeArrowheads="1"/>
            </p:cNvSpPr>
            <p:nvPr/>
          </p:nvSpPr>
          <p:spPr bwMode="auto">
            <a:xfrm>
              <a:off x="3670819" y="2011871"/>
              <a:ext cx="751994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>
                  <a:solidFill>
                    <a:srgbClr val="1D8A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ырау</a:t>
              </a: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1D8A4A"/>
                  </a:solidFill>
                  <a:latin typeface="Arial Narrow" pitchFamily="34" charset="0"/>
                  <a:cs typeface="Arial" panose="020B0604020202020204" pitchFamily="34" charset="0"/>
                </a:rPr>
                <a:t>30(86%)</a:t>
              </a:r>
            </a:p>
          </p:txBody>
        </p:sp>
        <p:sp>
          <p:nvSpPr>
            <p:cNvPr id="3201" name="object 104"/>
            <p:cNvSpPr txBox="1">
              <a:spLocks noChangeArrowheads="1"/>
            </p:cNvSpPr>
            <p:nvPr/>
          </p:nvSpPr>
          <p:spPr bwMode="auto">
            <a:xfrm>
              <a:off x="3318915" y="1576101"/>
              <a:ext cx="1032334" cy="32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600" b="1" u="sng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-</a:t>
              </a:r>
              <a:r>
                <a:rPr lang="ru-RU" altLang="ru-RU" sz="6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endParaRPr lang="ru-RU" altLang="ru-RU" sz="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67(68%)</a:t>
              </a:r>
            </a:p>
          </p:txBody>
        </p:sp>
        <p:sp>
          <p:nvSpPr>
            <p:cNvPr id="3202" name="object 104"/>
            <p:cNvSpPr txBox="1">
              <a:spLocks noChangeArrowheads="1"/>
            </p:cNvSpPr>
            <p:nvPr/>
          </p:nvSpPr>
          <p:spPr bwMode="auto">
            <a:xfrm>
              <a:off x="6938593" y="1849013"/>
              <a:ext cx="692749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ағанды</a:t>
              </a:r>
              <a:endPara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85(59%)</a:t>
              </a:r>
            </a:p>
          </p:txBody>
        </p:sp>
        <p:sp>
          <p:nvSpPr>
            <p:cNvPr id="3204" name="object 104"/>
            <p:cNvSpPr txBox="1">
              <a:spLocks noChangeArrowheads="1"/>
            </p:cNvSpPr>
            <p:nvPr/>
          </p:nvSpPr>
          <p:spPr bwMode="auto">
            <a:xfrm>
              <a:off x="7475620" y="2865706"/>
              <a:ext cx="605926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маты</a:t>
              </a: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178(78%)</a:t>
              </a:r>
            </a:p>
          </p:txBody>
        </p:sp>
        <p:sp>
          <p:nvSpPr>
            <p:cNvPr id="3205" name="object 104"/>
            <p:cNvSpPr txBox="1">
              <a:spLocks noChangeArrowheads="1"/>
            </p:cNvSpPr>
            <p:nvPr/>
          </p:nvSpPr>
          <p:spPr bwMode="auto">
            <a:xfrm>
              <a:off x="6744667" y="2920834"/>
              <a:ext cx="531063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мбыл</a:t>
              </a: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38(68%)</a:t>
              </a:r>
            </a:p>
          </p:txBody>
        </p:sp>
        <p:sp>
          <p:nvSpPr>
            <p:cNvPr id="3206" name="object 104"/>
            <p:cNvSpPr txBox="1">
              <a:spLocks noChangeArrowheads="1"/>
            </p:cNvSpPr>
            <p:nvPr/>
          </p:nvSpPr>
          <p:spPr bwMode="auto">
            <a:xfrm>
              <a:off x="6108019" y="3368233"/>
              <a:ext cx="621343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уркістан</a:t>
              </a:r>
              <a:endParaRPr lang="ru-RU" altLang="ru-RU" sz="5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C00000"/>
                  </a:solidFill>
                  <a:latin typeface="Arial Narrow" pitchFamily="34" charset="0"/>
                  <a:cs typeface="Arial" panose="020B0604020202020204" pitchFamily="34" charset="0"/>
                </a:rPr>
                <a:t>85(54%)</a:t>
              </a:r>
            </a:p>
          </p:txBody>
        </p:sp>
        <p:sp>
          <p:nvSpPr>
            <p:cNvPr id="3207" name="object 104"/>
            <p:cNvSpPr txBox="1">
              <a:spLocks noChangeArrowheads="1"/>
            </p:cNvSpPr>
            <p:nvPr/>
          </p:nvSpPr>
          <p:spPr bwMode="auto">
            <a:xfrm>
              <a:off x="5334209" y="2765516"/>
              <a:ext cx="835532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1D8A4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зылорда</a:t>
              </a:r>
              <a:endParaRPr lang="ru-RU" altLang="ru-RU" sz="500" b="1" u="sng" dirty="0">
                <a:solidFill>
                  <a:srgbClr val="1D8A4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1D8A4A"/>
                  </a:solidFill>
                  <a:latin typeface="Arial Narrow" pitchFamily="34" charset="0"/>
                  <a:cs typeface="Arial" panose="020B0604020202020204" pitchFamily="34" charset="0"/>
                </a:rPr>
                <a:t>44(80%)</a:t>
              </a:r>
            </a:p>
          </p:txBody>
        </p:sp>
        <p:sp>
          <p:nvSpPr>
            <p:cNvPr id="3208" name="object 104"/>
            <p:cNvSpPr txBox="1">
              <a:spLocks noChangeArrowheads="1"/>
            </p:cNvSpPr>
            <p:nvPr/>
          </p:nvSpPr>
          <p:spPr bwMode="auto">
            <a:xfrm>
              <a:off x="6262377" y="1340381"/>
              <a:ext cx="579552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қмола</a:t>
              </a:r>
              <a:endPara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153(73%)</a:t>
              </a:r>
            </a:p>
          </p:txBody>
        </p:sp>
        <p:sp>
          <p:nvSpPr>
            <p:cNvPr id="3209" name="object 104"/>
            <p:cNvSpPr txBox="1">
              <a:spLocks noChangeArrowheads="1"/>
            </p:cNvSpPr>
            <p:nvPr/>
          </p:nvSpPr>
          <p:spPr bwMode="auto">
            <a:xfrm>
              <a:off x="6025878" y="800584"/>
              <a:ext cx="810510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-</a:t>
              </a:r>
              <a:r>
                <a:rPr lang="ru-RU" altLang="ru-RU" sz="500" b="1" u="sng" dirty="0" err="1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endPara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75(69%)</a:t>
              </a:r>
            </a:p>
          </p:txBody>
        </p:sp>
        <p:sp>
          <p:nvSpPr>
            <p:cNvPr id="3210" name="object 104"/>
            <p:cNvSpPr txBox="1">
              <a:spLocks noChangeArrowheads="1"/>
            </p:cNvSpPr>
            <p:nvPr/>
          </p:nvSpPr>
          <p:spPr bwMode="auto">
            <a:xfrm>
              <a:off x="7167574" y="1204840"/>
              <a:ext cx="582125" cy="3082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12065" rIns="0" bIns="0">
              <a:spAutoFit/>
            </a:bodyPr>
            <a:lstStyle>
              <a:lvl1pPr marL="190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>
                <a:spcBef>
                  <a:spcPts val="85"/>
                </a:spcBef>
              </a:pPr>
              <a:r>
                <a:rPr lang="ru-RU" altLang="ru-RU" sz="500" b="1" u="sng" dirty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авлодар </a:t>
              </a:r>
            </a:p>
            <a:p>
              <a:pPr algn="ctr">
                <a:spcBef>
                  <a:spcPts val="85"/>
                </a:spcBef>
              </a:pPr>
              <a:r>
                <a:rPr lang="ru-RU" altLang="ru-RU" sz="1000" b="1" dirty="0">
                  <a:solidFill>
                    <a:srgbClr val="002060"/>
                  </a:solidFill>
                  <a:latin typeface="Arial Narrow" pitchFamily="34" charset="0"/>
                  <a:cs typeface="Arial" panose="020B0604020202020204" pitchFamily="34" charset="0"/>
                </a:rPr>
                <a:t>83(62%)</a:t>
              </a:r>
            </a:p>
          </p:txBody>
        </p:sp>
      </p:grpSp>
      <p:sp>
        <p:nvSpPr>
          <p:cNvPr id="5" name="Полилиния 4"/>
          <p:cNvSpPr/>
          <p:nvPr/>
        </p:nvSpPr>
        <p:spPr>
          <a:xfrm>
            <a:off x="4346223" y="1608343"/>
            <a:ext cx="873849" cy="718879"/>
          </a:xfrm>
          <a:custGeom>
            <a:avLst/>
            <a:gdLst>
              <a:gd name="connsiteX0" fmla="*/ 78734 w 1243165"/>
              <a:gd name="connsiteY0" fmla="*/ 90796 h 1003002"/>
              <a:gd name="connsiteX1" fmla="*/ 104928 w 1243165"/>
              <a:gd name="connsiteY1" fmla="*/ 88415 h 1003002"/>
              <a:gd name="connsiteX2" fmla="*/ 112072 w 1243165"/>
              <a:gd name="connsiteY2" fmla="*/ 86033 h 1003002"/>
              <a:gd name="connsiteX3" fmla="*/ 119215 w 1243165"/>
              <a:gd name="connsiteY3" fmla="*/ 88415 h 1003002"/>
              <a:gd name="connsiteX4" fmla="*/ 135884 w 1243165"/>
              <a:gd name="connsiteY4" fmla="*/ 90796 h 1003002"/>
              <a:gd name="connsiteX5" fmla="*/ 154934 w 1243165"/>
              <a:gd name="connsiteY5" fmla="*/ 90796 h 1003002"/>
              <a:gd name="connsiteX6" fmla="*/ 159697 w 1243165"/>
              <a:gd name="connsiteY6" fmla="*/ 83652 h 1003002"/>
              <a:gd name="connsiteX7" fmla="*/ 166840 w 1243165"/>
              <a:gd name="connsiteY7" fmla="*/ 81271 h 1003002"/>
              <a:gd name="connsiteX8" fmla="*/ 183509 w 1243165"/>
              <a:gd name="connsiteY8" fmla="*/ 90796 h 1003002"/>
              <a:gd name="connsiteX9" fmla="*/ 190653 w 1243165"/>
              <a:gd name="connsiteY9" fmla="*/ 93177 h 1003002"/>
              <a:gd name="connsiteX10" fmla="*/ 193034 w 1243165"/>
              <a:gd name="connsiteY10" fmla="*/ 86033 h 1003002"/>
              <a:gd name="connsiteX11" fmla="*/ 195415 w 1243165"/>
              <a:gd name="connsiteY11" fmla="*/ 71746 h 1003002"/>
              <a:gd name="connsiteX12" fmla="*/ 209703 w 1243165"/>
              <a:gd name="connsiteY12" fmla="*/ 64602 h 1003002"/>
              <a:gd name="connsiteX13" fmla="*/ 219228 w 1243165"/>
              <a:gd name="connsiteY13" fmla="*/ 74127 h 1003002"/>
              <a:gd name="connsiteX14" fmla="*/ 233515 w 1243165"/>
              <a:gd name="connsiteY14" fmla="*/ 86033 h 1003002"/>
              <a:gd name="connsiteX15" fmla="*/ 262090 w 1243165"/>
              <a:gd name="connsiteY15" fmla="*/ 83652 h 1003002"/>
              <a:gd name="connsiteX16" fmla="*/ 269234 w 1243165"/>
              <a:gd name="connsiteY16" fmla="*/ 81271 h 1003002"/>
              <a:gd name="connsiteX17" fmla="*/ 273997 w 1243165"/>
              <a:gd name="connsiteY17" fmla="*/ 74127 h 1003002"/>
              <a:gd name="connsiteX18" fmla="*/ 278759 w 1243165"/>
              <a:gd name="connsiteY18" fmla="*/ 59840 h 1003002"/>
              <a:gd name="connsiteX19" fmla="*/ 281140 w 1243165"/>
              <a:gd name="connsiteY19" fmla="*/ 52696 h 1003002"/>
              <a:gd name="connsiteX20" fmla="*/ 290665 w 1243165"/>
              <a:gd name="connsiteY20" fmla="*/ 38408 h 1003002"/>
              <a:gd name="connsiteX21" fmla="*/ 297809 w 1243165"/>
              <a:gd name="connsiteY21" fmla="*/ 36027 h 1003002"/>
              <a:gd name="connsiteX22" fmla="*/ 316859 w 1243165"/>
              <a:gd name="connsiteY22" fmla="*/ 33646 h 1003002"/>
              <a:gd name="connsiteX23" fmla="*/ 328765 w 1243165"/>
              <a:gd name="connsiteY23" fmla="*/ 9833 h 1003002"/>
              <a:gd name="connsiteX24" fmla="*/ 333528 w 1243165"/>
              <a:gd name="connsiteY24" fmla="*/ 2690 h 1003002"/>
              <a:gd name="connsiteX25" fmla="*/ 340672 w 1243165"/>
              <a:gd name="connsiteY25" fmla="*/ 308 h 1003002"/>
              <a:gd name="connsiteX26" fmla="*/ 359722 w 1243165"/>
              <a:gd name="connsiteY26" fmla="*/ 2690 h 1003002"/>
              <a:gd name="connsiteX27" fmla="*/ 381153 w 1243165"/>
              <a:gd name="connsiteY27" fmla="*/ 21740 h 1003002"/>
              <a:gd name="connsiteX28" fmla="*/ 393059 w 1243165"/>
              <a:gd name="connsiteY28" fmla="*/ 12215 h 1003002"/>
              <a:gd name="connsiteX29" fmla="*/ 400203 w 1243165"/>
              <a:gd name="connsiteY29" fmla="*/ 9833 h 1003002"/>
              <a:gd name="connsiteX30" fmla="*/ 407347 w 1243165"/>
              <a:gd name="connsiteY30" fmla="*/ 5071 h 1003002"/>
              <a:gd name="connsiteX31" fmla="*/ 459734 w 1243165"/>
              <a:gd name="connsiteY31" fmla="*/ 12215 h 1003002"/>
              <a:gd name="connsiteX32" fmla="*/ 476403 w 1243165"/>
              <a:gd name="connsiteY32" fmla="*/ 21740 h 1003002"/>
              <a:gd name="connsiteX33" fmla="*/ 483547 w 1243165"/>
              <a:gd name="connsiteY33" fmla="*/ 36027 h 1003002"/>
              <a:gd name="connsiteX34" fmla="*/ 493072 w 1243165"/>
              <a:gd name="connsiteY34" fmla="*/ 40790 h 1003002"/>
              <a:gd name="connsiteX35" fmla="*/ 500215 w 1243165"/>
              <a:gd name="connsiteY35" fmla="*/ 45552 h 1003002"/>
              <a:gd name="connsiteX36" fmla="*/ 535934 w 1243165"/>
              <a:gd name="connsiteY36" fmla="*/ 43171 h 1003002"/>
              <a:gd name="connsiteX37" fmla="*/ 543078 w 1243165"/>
              <a:gd name="connsiteY37" fmla="*/ 40790 h 1003002"/>
              <a:gd name="connsiteX38" fmla="*/ 557365 w 1243165"/>
              <a:gd name="connsiteY38" fmla="*/ 43171 h 1003002"/>
              <a:gd name="connsiteX39" fmla="*/ 559747 w 1243165"/>
              <a:gd name="connsiteY39" fmla="*/ 50315 h 1003002"/>
              <a:gd name="connsiteX40" fmla="*/ 562128 w 1243165"/>
              <a:gd name="connsiteY40" fmla="*/ 64602 h 1003002"/>
              <a:gd name="connsiteX41" fmla="*/ 554984 w 1243165"/>
              <a:gd name="connsiteY41" fmla="*/ 66983 h 1003002"/>
              <a:gd name="connsiteX42" fmla="*/ 612134 w 1243165"/>
              <a:gd name="connsiteY42" fmla="*/ 76508 h 1003002"/>
              <a:gd name="connsiteX43" fmla="*/ 616897 w 1243165"/>
              <a:gd name="connsiteY43" fmla="*/ 83652 h 1003002"/>
              <a:gd name="connsiteX44" fmla="*/ 619278 w 1243165"/>
              <a:gd name="connsiteY44" fmla="*/ 90796 h 1003002"/>
              <a:gd name="connsiteX45" fmla="*/ 621659 w 1243165"/>
              <a:gd name="connsiteY45" fmla="*/ 114608 h 1003002"/>
              <a:gd name="connsiteX46" fmla="*/ 628803 w 1243165"/>
              <a:gd name="connsiteY46" fmla="*/ 116990 h 1003002"/>
              <a:gd name="connsiteX47" fmla="*/ 662140 w 1243165"/>
              <a:gd name="connsiteY47" fmla="*/ 119371 h 1003002"/>
              <a:gd name="connsiteX48" fmla="*/ 676428 w 1243165"/>
              <a:gd name="connsiteY48" fmla="*/ 124133 h 1003002"/>
              <a:gd name="connsiteX49" fmla="*/ 683572 w 1243165"/>
              <a:gd name="connsiteY49" fmla="*/ 126515 h 1003002"/>
              <a:gd name="connsiteX50" fmla="*/ 683572 w 1243165"/>
              <a:gd name="connsiteY50" fmla="*/ 147946 h 1003002"/>
              <a:gd name="connsiteX51" fmla="*/ 669284 w 1243165"/>
              <a:gd name="connsiteY51" fmla="*/ 157471 h 1003002"/>
              <a:gd name="connsiteX52" fmla="*/ 666903 w 1243165"/>
              <a:gd name="connsiteY52" fmla="*/ 164615 h 1003002"/>
              <a:gd name="connsiteX53" fmla="*/ 669284 w 1243165"/>
              <a:gd name="connsiteY53" fmla="*/ 176521 h 1003002"/>
              <a:gd name="connsiteX54" fmla="*/ 676428 w 1243165"/>
              <a:gd name="connsiteY54" fmla="*/ 174140 h 1003002"/>
              <a:gd name="connsiteX55" fmla="*/ 693097 w 1243165"/>
              <a:gd name="connsiteY55" fmla="*/ 171758 h 1003002"/>
              <a:gd name="connsiteX56" fmla="*/ 700240 w 1243165"/>
              <a:gd name="connsiteY56" fmla="*/ 169377 h 1003002"/>
              <a:gd name="connsiteX57" fmla="*/ 726434 w 1243165"/>
              <a:gd name="connsiteY57" fmla="*/ 164615 h 1003002"/>
              <a:gd name="connsiteX58" fmla="*/ 740722 w 1243165"/>
              <a:gd name="connsiteY58" fmla="*/ 159852 h 1003002"/>
              <a:gd name="connsiteX59" fmla="*/ 733578 w 1243165"/>
              <a:gd name="connsiteY59" fmla="*/ 174140 h 1003002"/>
              <a:gd name="connsiteX60" fmla="*/ 731197 w 1243165"/>
              <a:gd name="connsiteY60" fmla="*/ 181283 h 1003002"/>
              <a:gd name="connsiteX61" fmla="*/ 733578 w 1243165"/>
              <a:gd name="connsiteY61" fmla="*/ 188427 h 1003002"/>
              <a:gd name="connsiteX62" fmla="*/ 764534 w 1243165"/>
              <a:gd name="connsiteY62" fmla="*/ 178902 h 1003002"/>
              <a:gd name="connsiteX63" fmla="*/ 790728 w 1243165"/>
              <a:gd name="connsiteY63" fmla="*/ 181283 h 1003002"/>
              <a:gd name="connsiteX64" fmla="*/ 800253 w 1243165"/>
              <a:gd name="connsiteY64" fmla="*/ 183665 h 1003002"/>
              <a:gd name="connsiteX65" fmla="*/ 807397 w 1243165"/>
              <a:gd name="connsiteY65" fmla="*/ 190808 h 1003002"/>
              <a:gd name="connsiteX66" fmla="*/ 805015 w 1243165"/>
              <a:gd name="connsiteY66" fmla="*/ 200333 h 1003002"/>
              <a:gd name="connsiteX67" fmla="*/ 802634 w 1243165"/>
              <a:gd name="connsiteY67" fmla="*/ 207477 h 1003002"/>
              <a:gd name="connsiteX68" fmla="*/ 809778 w 1243165"/>
              <a:gd name="connsiteY68" fmla="*/ 212240 h 1003002"/>
              <a:gd name="connsiteX69" fmla="*/ 826447 w 1243165"/>
              <a:gd name="connsiteY69" fmla="*/ 209858 h 1003002"/>
              <a:gd name="connsiteX70" fmla="*/ 831209 w 1243165"/>
              <a:gd name="connsiteY70" fmla="*/ 202715 h 1003002"/>
              <a:gd name="connsiteX71" fmla="*/ 852640 w 1243165"/>
              <a:gd name="connsiteY71" fmla="*/ 207477 h 1003002"/>
              <a:gd name="connsiteX72" fmla="*/ 850259 w 1243165"/>
              <a:gd name="connsiteY72" fmla="*/ 214621 h 1003002"/>
              <a:gd name="connsiteX73" fmla="*/ 835972 w 1243165"/>
              <a:gd name="connsiteY73" fmla="*/ 221765 h 1003002"/>
              <a:gd name="connsiteX74" fmla="*/ 869309 w 1243165"/>
              <a:gd name="connsiteY74" fmla="*/ 224146 h 1003002"/>
              <a:gd name="connsiteX75" fmla="*/ 874072 w 1243165"/>
              <a:gd name="connsiteY75" fmla="*/ 217002 h 1003002"/>
              <a:gd name="connsiteX76" fmla="*/ 881215 w 1243165"/>
              <a:gd name="connsiteY76" fmla="*/ 214621 h 1003002"/>
              <a:gd name="connsiteX77" fmla="*/ 905028 w 1243165"/>
              <a:gd name="connsiteY77" fmla="*/ 219383 h 1003002"/>
              <a:gd name="connsiteX78" fmla="*/ 914553 w 1243165"/>
              <a:gd name="connsiteY78" fmla="*/ 228908 h 1003002"/>
              <a:gd name="connsiteX79" fmla="*/ 924078 w 1243165"/>
              <a:gd name="connsiteY79" fmla="*/ 233671 h 1003002"/>
              <a:gd name="connsiteX80" fmla="*/ 931222 w 1243165"/>
              <a:gd name="connsiteY80" fmla="*/ 238433 h 1003002"/>
              <a:gd name="connsiteX81" fmla="*/ 933603 w 1243165"/>
              <a:gd name="connsiteY81" fmla="*/ 255102 h 1003002"/>
              <a:gd name="connsiteX82" fmla="*/ 938365 w 1243165"/>
              <a:gd name="connsiteY82" fmla="*/ 262246 h 1003002"/>
              <a:gd name="connsiteX83" fmla="*/ 955034 w 1243165"/>
              <a:gd name="connsiteY83" fmla="*/ 259865 h 1003002"/>
              <a:gd name="connsiteX84" fmla="*/ 962178 w 1243165"/>
              <a:gd name="connsiteY84" fmla="*/ 255102 h 1003002"/>
              <a:gd name="connsiteX85" fmla="*/ 971703 w 1243165"/>
              <a:gd name="connsiteY85" fmla="*/ 252721 h 1003002"/>
              <a:gd name="connsiteX86" fmla="*/ 978847 w 1243165"/>
              <a:gd name="connsiteY86" fmla="*/ 245577 h 1003002"/>
              <a:gd name="connsiteX87" fmla="*/ 985990 w 1243165"/>
              <a:gd name="connsiteY87" fmla="*/ 240815 h 1003002"/>
              <a:gd name="connsiteX88" fmla="*/ 988372 w 1243165"/>
              <a:gd name="connsiteY88" fmla="*/ 233671 h 1003002"/>
              <a:gd name="connsiteX89" fmla="*/ 1002659 w 1243165"/>
              <a:gd name="connsiteY89" fmla="*/ 226527 h 1003002"/>
              <a:gd name="connsiteX90" fmla="*/ 1005040 w 1243165"/>
              <a:gd name="connsiteY90" fmla="*/ 217002 h 1003002"/>
              <a:gd name="connsiteX91" fmla="*/ 1007422 w 1243165"/>
              <a:gd name="connsiteY91" fmla="*/ 197952 h 1003002"/>
              <a:gd name="connsiteX92" fmla="*/ 1016947 w 1243165"/>
              <a:gd name="connsiteY92" fmla="*/ 190808 h 1003002"/>
              <a:gd name="connsiteX93" fmla="*/ 1021709 w 1243165"/>
              <a:gd name="connsiteY93" fmla="*/ 183665 h 1003002"/>
              <a:gd name="connsiteX94" fmla="*/ 1033615 w 1243165"/>
              <a:gd name="connsiteY94" fmla="*/ 181283 h 1003002"/>
              <a:gd name="connsiteX95" fmla="*/ 1059809 w 1243165"/>
              <a:gd name="connsiteY95" fmla="*/ 174140 h 1003002"/>
              <a:gd name="connsiteX96" fmla="*/ 1114578 w 1243165"/>
              <a:gd name="connsiteY96" fmla="*/ 176521 h 1003002"/>
              <a:gd name="connsiteX97" fmla="*/ 1116959 w 1243165"/>
              <a:gd name="connsiteY97" fmla="*/ 186046 h 1003002"/>
              <a:gd name="connsiteX98" fmla="*/ 1124103 w 1243165"/>
              <a:gd name="connsiteY98" fmla="*/ 188427 h 1003002"/>
              <a:gd name="connsiteX99" fmla="*/ 1136009 w 1243165"/>
              <a:gd name="connsiteY99" fmla="*/ 190808 h 1003002"/>
              <a:gd name="connsiteX100" fmla="*/ 1133628 w 1243165"/>
              <a:gd name="connsiteY100" fmla="*/ 205096 h 1003002"/>
              <a:gd name="connsiteX101" fmla="*/ 1166965 w 1243165"/>
              <a:gd name="connsiteY101" fmla="*/ 217002 h 1003002"/>
              <a:gd name="connsiteX102" fmla="*/ 1169347 w 1243165"/>
              <a:gd name="connsiteY102" fmla="*/ 231290 h 1003002"/>
              <a:gd name="connsiteX103" fmla="*/ 1176490 w 1243165"/>
              <a:gd name="connsiteY103" fmla="*/ 236052 h 1003002"/>
              <a:gd name="connsiteX104" fmla="*/ 1243165 w 1243165"/>
              <a:gd name="connsiteY104" fmla="*/ 240815 h 1003002"/>
              <a:gd name="connsiteX105" fmla="*/ 1240784 w 1243165"/>
              <a:gd name="connsiteY105" fmla="*/ 274152 h 1003002"/>
              <a:gd name="connsiteX106" fmla="*/ 1233640 w 1243165"/>
              <a:gd name="connsiteY106" fmla="*/ 281296 h 1003002"/>
              <a:gd name="connsiteX107" fmla="*/ 1209828 w 1243165"/>
              <a:gd name="connsiteY107" fmla="*/ 288440 h 1003002"/>
              <a:gd name="connsiteX108" fmla="*/ 1197922 w 1243165"/>
              <a:gd name="connsiteY108" fmla="*/ 300346 h 1003002"/>
              <a:gd name="connsiteX109" fmla="*/ 1200303 w 1243165"/>
              <a:gd name="connsiteY109" fmla="*/ 307490 h 1003002"/>
              <a:gd name="connsiteX110" fmla="*/ 1214590 w 1243165"/>
              <a:gd name="connsiteY110" fmla="*/ 312252 h 1003002"/>
              <a:gd name="connsiteX111" fmla="*/ 1205065 w 1243165"/>
              <a:gd name="connsiteY111" fmla="*/ 321777 h 1003002"/>
              <a:gd name="connsiteX112" fmla="*/ 1190778 w 1243165"/>
              <a:gd name="connsiteY112" fmla="*/ 331302 h 1003002"/>
              <a:gd name="connsiteX113" fmla="*/ 1183634 w 1243165"/>
              <a:gd name="connsiteY113" fmla="*/ 336065 h 1003002"/>
              <a:gd name="connsiteX114" fmla="*/ 1183634 w 1243165"/>
              <a:gd name="connsiteY114" fmla="*/ 364640 h 1003002"/>
              <a:gd name="connsiteX115" fmla="*/ 1190778 w 1243165"/>
              <a:gd name="connsiteY115" fmla="*/ 367021 h 1003002"/>
              <a:gd name="connsiteX116" fmla="*/ 1202684 w 1243165"/>
              <a:gd name="connsiteY116" fmla="*/ 369402 h 1003002"/>
              <a:gd name="connsiteX117" fmla="*/ 1202684 w 1243165"/>
              <a:gd name="connsiteY117" fmla="*/ 393215 h 1003002"/>
              <a:gd name="connsiteX118" fmla="*/ 1195540 w 1243165"/>
              <a:gd name="connsiteY118" fmla="*/ 395596 h 1003002"/>
              <a:gd name="connsiteX119" fmla="*/ 1181253 w 1243165"/>
              <a:gd name="connsiteY119" fmla="*/ 409883 h 1003002"/>
              <a:gd name="connsiteX120" fmla="*/ 1183634 w 1243165"/>
              <a:gd name="connsiteY120" fmla="*/ 421790 h 1003002"/>
              <a:gd name="connsiteX121" fmla="*/ 1190778 w 1243165"/>
              <a:gd name="connsiteY121" fmla="*/ 426552 h 1003002"/>
              <a:gd name="connsiteX122" fmla="*/ 1195540 w 1243165"/>
              <a:gd name="connsiteY122" fmla="*/ 436077 h 1003002"/>
              <a:gd name="connsiteX123" fmla="*/ 1193159 w 1243165"/>
              <a:gd name="connsiteY123" fmla="*/ 459890 h 1003002"/>
              <a:gd name="connsiteX124" fmla="*/ 1181253 w 1243165"/>
              <a:gd name="connsiteY124" fmla="*/ 462271 h 1003002"/>
              <a:gd name="connsiteX125" fmla="*/ 1164584 w 1243165"/>
              <a:gd name="connsiteY125" fmla="*/ 464652 h 1003002"/>
              <a:gd name="connsiteX126" fmla="*/ 1155059 w 1243165"/>
              <a:gd name="connsiteY126" fmla="*/ 469415 h 1003002"/>
              <a:gd name="connsiteX127" fmla="*/ 1138390 w 1243165"/>
              <a:gd name="connsiteY127" fmla="*/ 481321 h 1003002"/>
              <a:gd name="connsiteX128" fmla="*/ 1133628 w 1243165"/>
              <a:gd name="connsiteY128" fmla="*/ 488465 h 1003002"/>
              <a:gd name="connsiteX129" fmla="*/ 1131247 w 1243165"/>
              <a:gd name="connsiteY129" fmla="*/ 502752 h 1003002"/>
              <a:gd name="connsiteX130" fmla="*/ 1119340 w 1243165"/>
              <a:gd name="connsiteY130" fmla="*/ 505133 h 1003002"/>
              <a:gd name="connsiteX131" fmla="*/ 1105053 w 1243165"/>
              <a:gd name="connsiteY131" fmla="*/ 509896 h 1003002"/>
              <a:gd name="connsiteX132" fmla="*/ 1093147 w 1243165"/>
              <a:gd name="connsiteY132" fmla="*/ 524183 h 1003002"/>
              <a:gd name="connsiteX133" fmla="*/ 1086003 w 1243165"/>
              <a:gd name="connsiteY133" fmla="*/ 528946 h 1003002"/>
              <a:gd name="connsiteX134" fmla="*/ 1071715 w 1243165"/>
              <a:gd name="connsiteY134" fmla="*/ 543233 h 1003002"/>
              <a:gd name="connsiteX135" fmla="*/ 1040759 w 1243165"/>
              <a:gd name="connsiteY135" fmla="*/ 547996 h 1003002"/>
              <a:gd name="connsiteX136" fmla="*/ 1026472 w 1243165"/>
              <a:gd name="connsiteY136" fmla="*/ 552758 h 1003002"/>
              <a:gd name="connsiteX137" fmla="*/ 1047903 w 1243165"/>
              <a:gd name="connsiteY137" fmla="*/ 567046 h 1003002"/>
              <a:gd name="connsiteX138" fmla="*/ 1033615 w 1243165"/>
              <a:gd name="connsiteY138" fmla="*/ 578952 h 1003002"/>
              <a:gd name="connsiteX139" fmla="*/ 1026472 w 1243165"/>
              <a:gd name="connsiteY139" fmla="*/ 600383 h 1003002"/>
              <a:gd name="connsiteX140" fmla="*/ 1031234 w 1243165"/>
              <a:gd name="connsiteY140" fmla="*/ 607527 h 1003002"/>
              <a:gd name="connsiteX141" fmla="*/ 1038378 w 1243165"/>
              <a:gd name="connsiteY141" fmla="*/ 609908 h 1003002"/>
              <a:gd name="connsiteX142" fmla="*/ 1071715 w 1243165"/>
              <a:gd name="connsiteY142" fmla="*/ 612290 h 1003002"/>
              <a:gd name="connsiteX143" fmla="*/ 1076478 w 1243165"/>
              <a:gd name="connsiteY143" fmla="*/ 619433 h 1003002"/>
              <a:gd name="connsiteX144" fmla="*/ 1064572 w 1243165"/>
              <a:gd name="connsiteY144" fmla="*/ 636102 h 1003002"/>
              <a:gd name="connsiteX145" fmla="*/ 1062190 w 1243165"/>
              <a:gd name="connsiteY145" fmla="*/ 655152 h 1003002"/>
              <a:gd name="connsiteX146" fmla="*/ 1102672 w 1243165"/>
              <a:gd name="connsiteY146" fmla="*/ 657533 h 1003002"/>
              <a:gd name="connsiteX147" fmla="*/ 1109815 w 1243165"/>
              <a:gd name="connsiteY147" fmla="*/ 688490 h 1003002"/>
              <a:gd name="connsiteX148" fmla="*/ 1107434 w 1243165"/>
              <a:gd name="connsiteY148" fmla="*/ 698015 h 1003002"/>
              <a:gd name="connsiteX149" fmla="*/ 1100290 w 1243165"/>
              <a:gd name="connsiteY149" fmla="*/ 702777 h 1003002"/>
              <a:gd name="connsiteX150" fmla="*/ 1095528 w 1243165"/>
              <a:gd name="connsiteY150" fmla="*/ 709921 h 1003002"/>
              <a:gd name="connsiteX151" fmla="*/ 1102672 w 1243165"/>
              <a:gd name="connsiteY151" fmla="*/ 714683 h 1003002"/>
              <a:gd name="connsiteX152" fmla="*/ 1109815 w 1243165"/>
              <a:gd name="connsiteY152" fmla="*/ 717065 h 1003002"/>
              <a:gd name="connsiteX153" fmla="*/ 1114578 w 1243165"/>
              <a:gd name="connsiteY153" fmla="*/ 724208 h 1003002"/>
              <a:gd name="connsiteX154" fmla="*/ 1114578 w 1243165"/>
              <a:gd name="connsiteY154" fmla="*/ 812315 h 1003002"/>
              <a:gd name="connsiteX155" fmla="*/ 1112197 w 1243165"/>
              <a:gd name="connsiteY155" fmla="*/ 857558 h 1003002"/>
              <a:gd name="connsiteX156" fmla="*/ 1102672 w 1243165"/>
              <a:gd name="connsiteY156" fmla="*/ 871846 h 1003002"/>
              <a:gd name="connsiteX157" fmla="*/ 1095528 w 1243165"/>
              <a:gd name="connsiteY157" fmla="*/ 881371 h 1003002"/>
              <a:gd name="connsiteX158" fmla="*/ 1090765 w 1243165"/>
              <a:gd name="connsiteY158" fmla="*/ 888515 h 1003002"/>
              <a:gd name="connsiteX159" fmla="*/ 1076478 w 1243165"/>
              <a:gd name="connsiteY159" fmla="*/ 902802 h 1003002"/>
              <a:gd name="connsiteX160" fmla="*/ 1074097 w 1243165"/>
              <a:gd name="connsiteY160" fmla="*/ 909946 h 1003002"/>
              <a:gd name="connsiteX161" fmla="*/ 1066953 w 1243165"/>
              <a:gd name="connsiteY161" fmla="*/ 912327 h 1003002"/>
              <a:gd name="connsiteX162" fmla="*/ 1052665 w 1243165"/>
              <a:gd name="connsiteY162" fmla="*/ 921852 h 1003002"/>
              <a:gd name="connsiteX163" fmla="*/ 1040759 w 1243165"/>
              <a:gd name="connsiteY163" fmla="*/ 936140 h 1003002"/>
              <a:gd name="connsiteX164" fmla="*/ 1038378 w 1243165"/>
              <a:gd name="connsiteY164" fmla="*/ 957571 h 1003002"/>
              <a:gd name="connsiteX165" fmla="*/ 1033615 w 1243165"/>
              <a:gd name="connsiteY165" fmla="*/ 964715 h 1003002"/>
              <a:gd name="connsiteX166" fmla="*/ 1026472 w 1243165"/>
              <a:gd name="connsiteY166" fmla="*/ 967096 h 1003002"/>
              <a:gd name="connsiteX167" fmla="*/ 985990 w 1243165"/>
              <a:gd name="connsiteY167" fmla="*/ 969477 h 1003002"/>
              <a:gd name="connsiteX168" fmla="*/ 974084 w 1243165"/>
              <a:gd name="connsiteY168" fmla="*/ 971858 h 1003002"/>
              <a:gd name="connsiteX169" fmla="*/ 966940 w 1243165"/>
              <a:gd name="connsiteY169" fmla="*/ 976621 h 1003002"/>
              <a:gd name="connsiteX170" fmla="*/ 959797 w 1243165"/>
              <a:gd name="connsiteY170" fmla="*/ 979002 h 1003002"/>
              <a:gd name="connsiteX171" fmla="*/ 935984 w 1243165"/>
              <a:gd name="connsiteY171" fmla="*/ 976621 h 1003002"/>
              <a:gd name="connsiteX172" fmla="*/ 928840 w 1243165"/>
              <a:gd name="connsiteY172" fmla="*/ 967096 h 1003002"/>
              <a:gd name="connsiteX173" fmla="*/ 914553 w 1243165"/>
              <a:gd name="connsiteY173" fmla="*/ 959952 h 1003002"/>
              <a:gd name="connsiteX174" fmla="*/ 895503 w 1243165"/>
              <a:gd name="connsiteY174" fmla="*/ 962333 h 1003002"/>
              <a:gd name="connsiteX175" fmla="*/ 874072 w 1243165"/>
              <a:gd name="connsiteY175" fmla="*/ 979002 h 1003002"/>
              <a:gd name="connsiteX176" fmla="*/ 866928 w 1243165"/>
              <a:gd name="connsiteY176" fmla="*/ 981383 h 1003002"/>
              <a:gd name="connsiteX177" fmla="*/ 857403 w 1243165"/>
              <a:gd name="connsiteY177" fmla="*/ 986146 h 1003002"/>
              <a:gd name="connsiteX178" fmla="*/ 847878 w 1243165"/>
              <a:gd name="connsiteY178" fmla="*/ 988527 h 1003002"/>
              <a:gd name="connsiteX179" fmla="*/ 840734 w 1243165"/>
              <a:gd name="connsiteY179" fmla="*/ 990908 h 1003002"/>
              <a:gd name="connsiteX180" fmla="*/ 824065 w 1243165"/>
              <a:gd name="connsiteY180" fmla="*/ 995671 h 1003002"/>
              <a:gd name="connsiteX181" fmla="*/ 816922 w 1243165"/>
              <a:gd name="connsiteY181" fmla="*/ 1002815 h 1003002"/>
              <a:gd name="connsiteX182" fmla="*/ 793109 w 1243165"/>
              <a:gd name="connsiteY182" fmla="*/ 993290 h 1003002"/>
              <a:gd name="connsiteX183" fmla="*/ 785965 w 1243165"/>
              <a:gd name="connsiteY183" fmla="*/ 990908 h 1003002"/>
              <a:gd name="connsiteX184" fmla="*/ 776440 w 1243165"/>
              <a:gd name="connsiteY184" fmla="*/ 988527 h 1003002"/>
              <a:gd name="connsiteX185" fmla="*/ 762153 w 1243165"/>
              <a:gd name="connsiteY185" fmla="*/ 983765 h 1003002"/>
              <a:gd name="connsiteX186" fmla="*/ 740722 w 1243165"/>
              <a:gd name="connsiteY186" fmla="*/ 988527 h 1003002"/>
              <a:gd name="connsiteX187" fmla="*/ 733578 w 1243165"/>
              <a:gd name="connsiteY187" fmla="*/ 993290 h 1003002"/>
              <a:gd name="connsiteX188" fmla="*/ 719290 w 1243165"/>
              <a:gd name="connsiteY188" fmla="*/ 976621 h 1003002"/>
              <a:gd name="connsiteX189" fmla="*/ 726434 w 1243165"/>
              <a:gd name="connsiteY189" fmla="*/ 971858 h 1003002"/>
              <a:gd name="connsiteX190" fmla="*/ 740722 w 1243165"/>
              <a:gd name="connsiteY190" fmla="*/ 967096 h 1003002"/>
              <a:gd name="connsiteX191" fmla="*/ 735959 w 1243165"/>
              <a:gd name="connsiteY191" fmla="*/ 955190 h 1003002"/>
              <a:gd name="connsiteX192" fmla="*/ 728815 w 1243165"/>
              <a:gd name="connsiteY192" fmla="*/ 952808 h 1003002"/>
              <a:gd name="connsiteX193" fmla="*/ 690715 w 1243165"/>
              <a:gd name="connsiteY193" fmla="*/ 955190 h 1003002"/>
              <a:gd name="connsiteX194" fmla="*/ 676428 w 1243165"/>
              <a:gd name="connsiteY194" fmla="*/ 962333 h 1003002"/>
              <a:gd name="connsiteX195" fmla="*/ 664522 w 1243165"/>
              <a:gd name="connsiteY195" fmla="*/ 971858 h 1003002"/>
              <a:gd name="connsiteX196" fmla="*/ 657378 w 1243165"/>
              <a:gd name="connsiteY196" fmla="*/ 976621 h 1003002"/>
              <a:gd name="connsiteX197" fmla="*/ 640709 w 1243165"/>
              <a:gd name="connsiteY197" fmla="*/ 974240 h 1003002"/>
              <a:gd name="connsiteX198" fmla="*/ 633565 w 1243165"/>
              <a:gd name="connsiteY198" fmla="*/ 967096 h 1003002"/>
              <a:gd name="connsiteX199" fmla="*/ 624040 w 1243165"/>
              <a:gd name="connsiteY199" fmla="*/ 945665 h 1003002"/>
              <a:gd name="connsiteX200" fmla="*/ 619278 w 1243165"/>
              <a:gd name="connsiteY200" fmla="*/ 936140 h 1003002"/>
              <a:gd name="connsiteX201" fmla="*/ 609753 w 1243165"/>
              <a:gd name="connsiteY201" fmla="*/ 921852 h 1003002"/>
              <a:gd name="connsiteX202" fmla="*/ 607372 w 1243165"/>
              <a:gd name="connsiteY202" fmla="*/ 912327 h 1003002"/>
              <a:gd name="connsiteX203" fmla="*/ 597847 w 1243165"/>
              <a:gd name="connsiteY203" fmla="*/ 895658 h 1003002"/>
              <a:gd name="connsiteX204" fmla="*/ 595465 w 1243165"/>
              <a:gd name="connsiteY204" fmla="*/ 888515 h 1003002"/>
              <a:gd name="connsiteX205" fmla="*/ 583559 w 1243165"/>
              <a:gd name="connsiteY205" fmla="*/ 874227 h 1003002"/>
              <a:gd name="connsiteX206" fmla="*/ 578797 w 1243165"/>
              <a:gd name="connsiteY206" fmla="*/ 864702 h 1003002"/>
              <a:gd name="connsiteX207" fmla="*/ 576415 w 1243165"/>
              <a:gd name="connsiteY207" fmla="*/ 855177 h 1003002"/>
              <a:gd name="connsiteX208" fmla="*/ 562128 w 1243165"/>
              <a:gd name="connsiteY208" fmla="*/ 831365 h 1003002"/>
              <a:gd name="connsiteX209" fmla="*/ 554984 w 1243165"/>
              <a:gd name="connsiteY209" fmla="*/ 817077 h 1003002"/>
              <a:gd name="connsiteX210" fmla="*/ 538315 w 1243165"/>
              <a:gd name="connsiteY210" fmla="*/ 802790 h 1003002"/>
              <a:gd name="connsiteX211" fmla="*/ 516884 w 1243165"/>
              <a:gd name="connsiteY211" fmla="*/ 786121 h 1003002"/>
              <a:gd name="connsiteX212" fmla="*/ 516884 w 1243165"/>
              <a:gd name="connsiteY212" fmla="*/ 786121 h 1003002"/>
              <a:gd name="connsiteX213" fmla="*/ 507359 w 1243165"/>
              <a:gd name="connsiteY213" fmla="*/ 778977 h 1003002"/>
              <a:gd name="connsiteX214" fmla="*/ 500215 w 1243165"/>
              <a:gd name="connsiteY214" fmla="*/ 771833 h 1003002"/>
              <a:gd name="connsiteX215" fmla="*/ 493072 w 1243165"/>
              <a:gd name="connsiteY215" fmla="*/ 769452 h 1003002"/>
              <a:gd name="connsiteX216" fmla="*/ 485928 w 1243165"/>
              <a:gd name="connsiteY216" fmla="*/ 762308 h 1003002"/>
              <a:gd name="connsiteX217" fmla="*/ 476403 w 1243165"/>
              <a:gd name="connsiteY217" fmla="*/ 757546 h 1003002"/>
              <a:gd name="connsiteX218" fmla="*/ 469259 w 1243165"/>
              <a:gd name="connsiteY218" fmla="*/ 748021 h 1003002"/>
              <a:gd name="connsiteX219" fmla="*/ 457353 w 1243165"/>
              <a:gd name="connsiteY219" fmla="*/ 724208 h 1003002"/>
              <a:gd name="connsiteX220" fmla="*/ 457353 w 1243165"/>
              <a:gd name="connsiteY220" fmla="*/ 724208 h 1003002"/>
              <a:gd name="connsiteX221" fmla="*/ 452590 w 1243165"/>
              <a:gd name="connsiteY221" fmla="*/ 709921 h 1003002"/>
              <a:gd name="connsiteX222" fmla="*/ 450209 w 1243165"/>
              <a:gd name="connsiteY222" fmla="*/ 702777 h 1003002"/>
              <a:gd name="connsiteX223" fmla="*/ 428778 w 1243165"/>
              <a:gd name="connsiteY223" fmla="*/ 695633 h 1003002"/>
              <a:gd name="connsiteX224" fmla="*/ 433540 w 1243165"/>
              <a:gd name="connsiteY224" fmla="*/ 667058 h 1003002"/>
              <a:gd name="connsiteX225" fmla="*/ 443065 w 1243165"/>
              <a:gd name="connsiteY225" fmla="*/ 645627 h 1003002"/>
              <a:gd name="connsiteX226" fmla="*/ 447828 w 1243165"/>
              <a:gd name="connsiteY226" fmla="*/ 626577 h 1003002"/>
              <a:gd name="connsiteX227" fmla="*/ 445447 w 1243165"/>
              <a:gd name="connsiteY227" fmla="*/ 612290 h 1003002"/>
              <a:gd name="connsiteX228" fmla="*/ 400203 w 1243165"/>
              <a:gd name="connsiteY228" fmla="*/ 600383 h 1003002"/>
              <a:gd name="connsiteX229" fmla="*/ 385915 w 1243165"/>
              <a:gd name="connsiteY229" fmla="*/ 598002 h 1003002"/>
              <a:gd name="connsiteX230" fmla="*/ 364484 w 1243165"/>
              <a:gd name="connsiteY230" fmla="*/ 590858 h 1003002"/>
              <a:gd name="connsiteX231" fmla="*/ 357340 w 1243165"/>
              <a:gd name="connsiteY231" fmla="*/ 588477 h 1003002"/>
              <a:gd name="connsiteX232" fmla="*/ 345434 w 1243165"/>
              <a:gd name="connsiteY232" fmla="*/ 586096 h 1003002"/>
              <a:gd name="connsiteX233" fmla="*/ 335909 w 1243165"/>
              <a:gd name="connsiteY233" fmla="*/ 583715 h 1003002"/>
              <a:gd name="connsiteX234" fmla="*/ 321622 w 1243165"/>
              <a:gd name="connsiteY234" fmla="*/ 581333 h 1003002"/>
              <a:gd name="connsiteX235" fmla="*/ 309715 w 1243165"/>
              <a:gd name="connsiteY235" fmla="*/ 576571 h 1003002"/>
              <a:gd name="connsiteX236" fmla="*/ 307334 w 1243165"/>
              <a:gd name="connsiteY236" fmla="*/ 552758 h 1003002"/>
              <a:gd name="connsiteX237" fmla="*/ 314478 w 1243165"/>
              <a:gd name="connsiteY237" fmla="*/ 550377 h 1003002"/>
              <a:gd name="connsiteX238" fmla="*/ 328765 w 1243165"/>
              <a:gd name="connsiteY238" fmla="*/ 540852 h 1003002"/>
              <a:gd name="connsiteX239" fmla="*/ 335909 w 1243165"/>
              <a:gd name="connsiteY239" fmla="*/ 536090 h 1003002"/>
              <a:gd name="connsiteX240" fmla="*/ 343053 w 1243165"/>
              <a:gd name="connsiteY240" fmla="*/ 531327 h 1003002"/>
              <a:gd name="connsiteX241" fmla="*/ 345434 w 1243165"/>
              <a:gd name="connsiteY241" fmla="*/ 524183 h 1003002"/>
              <a:gd name="connsiteX242" fmla="*/ 316859 w 1243165"/>
              <a:gd name="connsiteY242" fmla="*/ 509896 h 1003002"/>
              <a:gd name="connsiteX243" fmla="*/ 304953 w 1243165"/>
              <a:gd name="connsiteY243" fmla="*/ 502752 h 1003002"/>
              <a:gd name="connsiteX244" fmla="*/ 290665 w 1243165"/>
              <a:gd name="connsiteY244" fmla="*/ 493227 h 1003002"/>
              <a:gd name="connsiteX245" fmla="*/ 285903 w 1243165"/>
              <a:gd name="connsiteY245" fmla="*/ 467033 h 1003002"/>
              <a:gd name="connsiteX246" fmla="*/ 271615 w 1243165"/>
              <a:gd name="connsiteY246" fmla="*/ 457508 h 1003002"/>
              <a:gd name="connsiteX247" fmla="*/ 250184 w 1243165"/>
              <a:gd name="connsiteY247" fmla="*/ 450365 h 1003002"/>
              <a:gd name="connsiteX248" fmla="*/ 243040 w 1243165"/>
              <a:gd name="connsiteY248" fmla="*/ 443221 h 1003002"/>
              <a:gd name="connsiteX249" fmla="*/ 235897 w 1243165"/>
              <a:gd name="connsiteY249" fmla="*/ 438458 h 1003002"/>
              <a:gd name="connsiteX250" fmla="*/ 233515 w 1243165"/>
              <a:gd name="connsiteY250" fmla="*/ 428933 h 1003002"/>
              <a:gd name="connsiteX251" fmla="*/ 223990 w 1243165"/>
              <a:gd name="connsiteY251" fmla="*/ 400358 h 1003002"/>
              <a:gd name="connsiteX252" fmla="*/ 214465 w 1243165"/>
              <a:gd name="connsiteY252" fmla="*/ 397977 h 1003002"/>
              <a:gd name="connsiteX253" fmla="*/ 202559 w 1243165"/>
              <a:gd name="connsiteY253" fmla="*/ 381308 h 1003002"/>
              <a:gd name="connsiteX254" fmla="*/ 154934 w 1243165"/>
              <a:gd name="connsiteY254" fmla="*/ 376546 h 1003002"/>
              <a:gd name="connsiteX255" fmla="*/ 135884 w 1243165"/>
              <a:gd name="connsiteY255" fmla="*/ 369402 h 1003002"/>
              <a:gd name="connsiteX256" fmla="*/ 133503 w 1243165"/>
              <a:gd name="connsiteY256" fmla="*/ 362258 h 1003002"/>
              <a:gd name="connsiteX257" fmla="*/ 131122 w 1243165"/>
              <a:gd name="connsiteY257" fmla="*/ 350352 h 1003002"/>
              <a:gd name="connsiteX258" fmla="*/ 109690 w 1243165"/>
              <a:gd name="connsiteY258" fmla="*/ 333683 h 1003002"/>
              <a:gd name="connsiteX259" fmla="*/ 104928 w 1243165"/>
              <a:gd name="connsiteY259" fmla="*/ 317015 h 1003002"/>
              <a:gd name="connsiteX260" fmla="*/ 97784 w 1243165"/>
              <a:gd name="connsiteY260" fmla="*/ 309871 h 1003002"/>
              <a:gd name="connsiteX261" fmla="*/ 90640 w 1243165"/>
              <a:gd name="connsiteY261" fmla="*/ 307490 h 1003002"/>
              <a:gd name="connsiteX262" fmla="*/ 62065 w 1243165"/>
              <a:gd name="connsiteY262" fmla="*/ 302727 h 1003002"/>
              <a:gd name="connsiteX263" fmla="*/ 59684 w 1243165"/>
              <a:gd name="connsiteY263" fmla="*/ 295583 h 1003002"/>
              <a:gd name="connsiteX264" fmla="*/ 71590 w 1243165"/>
              <a:gd name="connsiteY264" fmla="*/ 286058 h 1003002"/>
              <a:gd name="connsiteX265" fmla="*/ 66828 w 1243165"/>
              <a:gd name="connsiteY265" fmla="*/ 276533 h 1003002"/>
              <a:gd name="connsiteX266" fmla="*/ 57303 w 1243165"/>
              <a:gd name="connsiteY266" fmla="*/ 269390 h 1003002"/>
              <a:gd name="connsiteX267" fmla="*/ 47778 w 1243165"/>
              <a:gd name="connsiteY267" fmla="*/ 267008 h 1003002"/>
              <a:gd name="connsiteX268" fmla="*/ 33490 w 1243165"/>
              <a:gd name="connsiteY268" fmla="*/ 262246 h 1003002"/>
              <a:gd name="connsiteX269" fmla="*/ 23965 w 1243165"/>
              <a:gd name="connsiteY269" fmla="*/ 257483 h 1003002"/>
              <a:gd name="connsiteX270" fmla="*/ 16822 w 1243165"/>
              <a:gd name="connsiteY270" fmla="*/ 252721 h 1003002"/>
              <a:gd name="connsiteX271" fmla="*/ 9678 w 1243165"/>
              <a:gd name="connsiteY271" fmla="*/ 250340 h 1003002"/>
              <a:gd name="connsiteX272" fmla="*/ 2534 w 1243165"/>
              <a:gd name="connsiteY272" fmla="*/ 245577 h 1003002"/>
              <a:gd name="connsiteX273" fmla="*/ 7297 w 1243165"/>
              <a:gd name="connsiteY273" fmla="*/ 231290 h 1003002"/>
              <a:gd name="connsiteX274" fmla="*/ 16822 w 1243165"/>
              <a:gd name="connsiteY274" fmla="*/ 228908 h 1003002"/>
              <a:gd name="connsiteX275" fmla="*/ 31109 w 1243165"/>
              <a:gd name="connsiteY275" fmla="*/ 224146 h 1003002"/>
              <a:gd name="connsiteX276" fmla="*/ 76353 w 1243165"/>
              <a:gd name="connsiteY276" fmla="*/ 217002 h 1003002"/>
              <a:gd name="connsiteX277" fmla="*/ 107309 w 1243165"/>
              <a:gd name="connsiteY277" fmla="*/ 209858 h 1003002"/>
              <a:gd name="connsiteX278" fmla="*/ 109690 w 1243165"/>
              <a:gd name="connsiteY278" fmla="*/ 202715 h 1003002"/>
              <a:gd name="connsiteX279" fmla="*/ 102547 w 1243165"/>
              <a:gd name="connsiteY279" fmla="*/ 188427 h 1003002"/>
              <a:gd name="connsiteX280" fmla="*/ 100165 w 1243165"/>
              <a:gd name="connsiteY280" fmla="*/ 174140 h 1003002"/>
              <a:gd name="connsiteX281" fmla="*/ 95403 w 1243165"/>
              <a:gd name="connsiteY281" fmla="*/ 166996 h 1003002"/>
              <a:gd name="connsiteX282" fmla="*/ 93022 w 1243165"/>
              <a:gd name="connsiteY282" fmla="*/ 152708 h 1003002"/>
              <a:gd name="connsiteX283" fmla="*/ 90640 w 1243165"/>
              <a:gd name="connsiteY283" fmla="*/ 145565 h 1003002"/>
              <a:gd name="connsiteX284" fmla="*/ 88259 w 1243165"/>
              <a:gd name="connsiteY284" fmla="*/ 105083 h 1003002"/>
              <a:gd name="connsiteX285" fmla="*/ 81115 w 1243165"/>
              <a:gd name="connsiteY285" fmla="*/ 102702 h 1003002"/>
              <a:gd name="connsiteX286" fmla="*/ 76353 w 1243165"/>
              <a:gd name="connsiteY286" fmla="*/ 95558 h 1003002"/>
              <a:gd name="connsiteX287" fmla="*/ 78734 w 1243165"/>
              <a:gd name="connsiteY287" fmla="*/ 90796 h 1003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</a:cxnLst>
            <a:rect l="l" t="t" r="r" b="b"/>
            <a:pathLst>
              <a:path w="1243165" h="1003002">
                <a:moveTo>
                  <a:pt x="78734" y="90796"/>
                </a:moveTo>
                <a:cubicBezTo>
                  <a:pt x="83497" y="89605"/>
                  <a:pt x="96249" y="89655"/>
                  <a:pt x="104928" y="88415"/>
                </a:cubicBezTo>
                <a:cubicBezTo>
                  <a:pt x="107413" y="88060"/>
                  <a:pt x="109562" y="86033"/>
                  <a:pt x="112072" y="86033"/>
                </a:cubicBezTo>
                <a:cubicBezTo>
                  <a:pt x="114582" y="86033"/>
                  <a:pt x="116754" y="87923"/>
                  <a:pt x="119215" y="88415"/>
                </a:cubicBezTo>
                <a:cubicBezTo>
                  <a:pt x="124719" y="89516"/>
                  <a:pt x="130328" y="90002"/>
                  <a:pt x="135884" y="90796"/>
                </a:cubicBezTo>
                <a:cubicBezTo>
                  <a:pt x="143209" y="93237"/>
                  <a:pt x="146465" y="95635"/>
                  <a:pt x="154934" y="90796"/>
                </a:cubicBezTo>
                <a:cubicBezTo>
                  <a:pt x="157419" y="89376"/>
                  <a:pt x="157462" y="85440"/>
                  <a:pt x="159697" y="83652"/>
                </a:cubicBezTo>
                <a:cubicBezTo>
                  <a:pt x="161657" y="82084"/>
                  <a:pt x="164459" y="82065"/>
                  <a:pt x="166840" y="81271"/>
                </a:cubicBezTo>
                <a:cubicBezTo>
                  <a:pt x="174012" y="86052"/>
                  <a:pt x="175053" y="87172"/>
                  <a:pt x="183509" y="90796"/>
                </a:cubicBezTo>
                <a:cubicBezTo>
                  <a:pt x="185816" y="91785"/>
                  <a:pt x="188272" y="92383"/>
                  <a:pt x="190653" y="93177"/>
                </a:cubicBezTo>
                <a:cubicBezTo>
                  <a:pt x="191447" y="90796"/>
                  <a:pt x="192490" y="88483"/>
                  <a:pt x="193034" y="86033"/>
                </a:cubicBezTo>
                <a:cubicBezTo>
                  <a:pt x="194081" y="81320"/>
                  <a:pt x="193256" y="76064"/>
                  <a:pt x="195415" y="71746"/>
                </a:cubicBezTo>
                <a:cubicBezTo>
                  <a:pt x="197262" y="68052"/>
                  <a:pt x="206321" y="65729"/>
                  <a:pt x="209703" y="64602"/>
                </a:cubicBezTo>
                <a:cubicBezTo>
                  <a:pt x="223311" y="69137"/>
                  <a:pt x="211971" y="63241"/>
                  <a:pt x="219228" y="74127"/>
                </a:cubicBezTo>
                <a:cubicBezTo>
                  <a:pt x="222895" y="79627"/>
                  <a:pt x="228244" y="82519"/>
                  <a:pt x="233515" y="86033"/>
                </a:cubicBezTo>
                <a:cubicBezTo>
                  <a:pt x="243040" y="85239"/>
                  <a:pt x="252616" y="84915"/>
                  <a:pt x="262090" y="83652"/>
                </a:cubicBezTo>
                <a:cubicBezTo>
                  <a:pt x="264578" y="83320"/>
                  <a:pt x="267274" y="82839"/>
                  <a:pt x="269234" y="81271"/>
                </a:cubicBezTo>
                <a:cubicBezTo>
                  <a:pt x="271469" y="79483"/>
                  <a:pt x="272409" y="76508"/>
                  <a:pt x="273997" y="74127"/>
                </a:cubicBezTo>
                <a:lnTo>
                  <a:pt x="278759" y="59840"/>
                </a:lnTo>
                <a:lnTo>
                  <a:pt x="281140" y="52696"/>
                </a:lnTo>
                <a:cubicBezTo>
                  <a:pt x="283636" y="45208"/>
                  <a:pt x="283023" y="43503"/>
                  <a:pt x="290665" y="38408"/>
                </a:cubicBezTo>
                <a:cubicBezTo>
                  <a:pt x="292754" y="37016"/>
                  <a:pt x="295339" y="36476"/>
                  <a:pt x="297809" y="36027"/>
                </a:cubicBezTo>
                <a:cubicBezTo>
                  <a:pt x="304105" y="34882"/>
                  <a:pt x="310509" y="34440"/>
                  <a:pt x="316859" y="33646"/>
                </a:cubicBezTo>
                <a:cubicBezTo>
                  <a:pt x="320628" y="18569"/>
                  <a:pt x="317425" y="26842"/>
                  <a:pt x="328765" y="9833"/>
                </a:cubicBezTo>
                <a:cubicBezTo>
                  <a:pt x="330352" y="7452"/>
                  <a:pt x="330813" y="3595"/>
                  <a:pt x="333528" y="2690"/>
                </a:cubicBezTo>
                <a:lnTo>
                  <a:pt x="340672" y="308"/>
                </a:lnTo>
                <a:cubicBezTo>
                  <a:pt x="347022" y="1102"/>
                  <a:pt x="355441" y="-2067"/>
                  <a:pt x="359722" y="2690"/>
                </a:cubicBezTo>
                <a:cubicBezTo>
                  <a:pt x="382517" y="28018"/>
                  <a:pt x="337425" y="27205"/>
                  <a:pt x="381153" y="21740"/>
                </a:cubicBezTo>
                <a:cubicBezTo>
                  <a:pt x="399111" y="15752"/>
                  <a:pt x="377672" y="24525"/>
                  <a:pt x="393059" y="12215"/>
                </a:cubicBezTo>
                <a:cubicBezTo>
                  <a:pt x="395019" y="10647"/>
                  <a:pt x="397958" y="10956"/>
                  <a:pt x="400203" y="9833"/>
                </a:cubicBezTo>
                <a:cubicBezTo>
                  <a:pt x="402763" y="8553"/>
                  <a:pt x="404966" y="6658"/>
                  <a:pt x="407347" y="5071"/>
                </a:cubicBezTo>
                <a:cubicBezTo>
                  <a:pt x="417574" y="5801"/>
                  <a:pt x="447290" y="5993"/>
                  <a:pt x="459734" y="12215"/>
                </a:cubicBezTo>
                <a:cubicBezTo>
                  <a:pt x="471819" y="18257"/>
                  <a:pt x="466306" y="15008"/>
                  <a:pt x="476403" y="21740"/>
                </a:cubicBezTo>
                <a:cubicBezTo>
                  <a:pt x="478029" y="26617"/>
                  <a:pt x="479285" y="32476"/>
                  <a:pt x="483547" y="36027"/>
                </a:cubicBezTo>
                <a:cubicBezTo>
                  <a:pt x="486274" y="38300"/>
                  <a:pt x="489990" y="39029"/>
                  <a:pt x="493072" y="40790"/>
                </a:cubicBezTo>
                <a:cubicBezTo>
                  <a:pt x="495557" y="42210"/>
                  <a:pt x="497834" y="43965"/>
                  <a:pt x="500215" y="45552"/>
                </a:cubicBezTo>
                <a:cubicBezTo>
                  <a:pt x="512121" y="44758"/>
                  <a:pt x="524074" y="44489"/>
                  <a:pt x="535934" y="43171"/>
                </a:cubicBezTo>
                <a:cubicBezTo>
                  <a:pt x="538429" y="42894"/>
                  <a:pt x="540568" y="40790"/>
                  <a:pt x="543078" y="40790"/>
                </a:cubicBezTo>
                <a:cubicBezTo>
                  <a:pt x="547906" y="40790"/>
                  <a:pt x="552603" y="42377"/>
                  <a:pt x="557365" y="43171"/>
                </a:cubicBezTo>
                <a:cubicBezTo>
                  <a:pt x="558159" y="45552"/>
                  <a:pt x="558624" y="48070"/>
                  <a:pt x="559747" y="50315"/>
                </a:cubicBezTo>
                <a:cubicBezTo>
                  <a:pt x="562378" y="55577"/>
                  <a:pt x="568504" y="58226"/>
                  <a:pt x="562128" y="64602"/>
                </a:cubicBezTo>
                <a:cubicBezTo>
                  <a:pt x="560353" y="66377"/>
                  <a:pt x="557365" y="66189"/>
                  <a:pt x="554984" y="66983"/>
                </a:cubicBezTo>
                <a:cubicBezTo>
                  <a:pt x="562402" y="67690"/>
                  <a:pt x="598824" y="63199"/>
                  <a:pt x="612134" y="76508"/>
                </a:cubicBezTo>
                <a:cubicBezTo>
                  <a:pt x="614158" y="78532"/>
                  <a:pt x="615309" y="81271"/>
                  <a:pt x="616897" y="83652"/>
                </a:cubicBezTo>
                <a:cubicBezTo>
                  <a:pt x="617691" y="86033"/>
                  <a:pt x="618896" y="88315"/>
                  <a:pt x="619278" y="90796"/>
                </a:cubicBezTo>
                <a:cubicBezTo>
                  <a:pt x="620491" y="98680"/>
                  <a:pt x="618933" y="107111"/>
                  <a:pt x="621659" y="114608"/>
                </a:cubicBezTo>
                <a:cubicBezTo>
                  <a:pt x="622517" y="116967"/>
                  <a:pt x="626310" y="116697"/>
                  <a:pt x="628803" y="116990"/>
                </a:cubicBezTo>
                <a:cubicBezTo>
                  <a:pt x="639867" y="118292"/>
                  <a:pt x="651028" y="118577"/>
                  <a:pt x="662140" y="119371"/>
                </a:cubicBezTo>
                <a:lnTo>
                  <a:pt x="676428" y="124133"/>
                </a:lnTo>
                <a:lnTo>
                  <a:pt x="683572" y="126515"/>
                </a:lnTo>
                <a:cubicBezTo>
                  <a:pt x="685981" y="133741"/>
                  <a:pt x="689250" y="139835"/>
                  <a:pt x="683572" y="147946"/>
                </a:cubicBezTo>
                <a:cubicBezTo>
                  <a:pt x="680290" y="152635"/>
                  <a:pt x="669284" y="157471"/>
                  <a:pt x="669284" y="157471"/>
                </a:cubicBezTo>
                <a:cubicBezTo>
                  <a:pt x="668490" y="159852"/>
                  <a:pt x="666903" y="162105"/>
                  <a:pt x="666903" y="164615"/>
                </a:cubicBezTo>
                <a:cubicBezTo>
                  <a:pt x="666903" y="168662"/>
                  <a:pt x="666422" y="173659"/>
                  <a:pt x="669284" y="176521"/>
                </a:cubicBezTo>
                <a:cubicBezTo>
                  <a:pt x="671059" y="178296"/>
                  <a:pt x="673967" y="174632"/>
                  <a:pt x="676428" y="174140"/>
                </a:cubicBezTo>
                <a:cubicBezTo>
                  <a:pt x="681932" y="173039"/>
                  <a:pt x="687541" y="172552"/>
                  <a:pt x="693097" y="171758"/>
                </a:cubicBezTo>
                <a:cubicBezTo>
                  <a:pt x="695478" y="170964"/>
                  <a:pt x="697790" y="169921"/>
                  <a:pt x="700240" y="169377"/>
                </a:cubicBezTo>
                <a:cubicBezTo>
                  <a:pt x="710038" y="167200"/>
                  <a:pt x="716904" y="167214"/>
                  <a:pt x="726434" y="164615"/>
                </a:cubicBezTo>
                <a:cubicBezTo>
                  <a:pt x="731277" y="163294"/>
                  <a:pt x="740722" y="159852"/>
                  <a:pt x="740722" y="159852"/>
                </a:cubicBezTo>
                <a:cubicBezTo>
                  <a:pt x="734733" y="177813"/>
                  <a:pt x="742812" y="155671"/>
                  <a:pt x="733578" y="174140"/>
                </a:cubicBezTo>
                <a:cubicBezTo>
                  <a:pt x="732456" y="176385"/>
                  <a:pt x="731991" y="178902"/>
                  <a:pt x="731197" y="181283"/>
                </a:cubicBezTo>
                <a:cubicBezTo>
                  <a:pt x="731991" y="183664"/>
                  <a:pt x="731108" y="187978"/>
                  <a:pt x="733578" y="188427"/>
                </a:cubicBezTo>
                <a:cubicBezTo>
                  <a:pt x="754263" y="192188"/>
                  <a:pt x="754484" y="188952"/>
                  <a:pt x="764534" y="178902"/>
                </a:cubicBezTo>
                <a:cubicBezTo>
                  <a:pt x="773265" y="179696"/>
                  <a:pt x="782038" y="180124"/>
                  <a:pt x="790728" y="181283"/>
                </a:cubicBezTo>
                <a:cubicBezTo>
                  <a:pt x="793972" y="181716"/>
                  <a:pt x="797411" y="182041"/>
                  <a:pt x="800253" y="183665"/>
                </a:cubicBezTo>
                <a:cubicBezTo>
                  <a:pt x="803177" y="185336"/>
                  <a:pt x="805016" y="188427"/>
                  <a:pt x="807397" y="190808"/>
                </a:cubicBezTo>
                <a:cubicBezTo>
                  <a:pt x="806603" y="193983"/>
                  <a:pt x="805914" y="197186"/>
                  <a:pt x="805015" y="200333"/>
                </a:cubicBezTo>
                <a:cubicBezTo>
                  <a:pt x="804325" y="202747"/>
                  <a:pt x="801702" y="205146"/>
                  <a:pt x="802634" y="207477"/>
                </a:cubicBezTo>
                <a:cubicBezTo>
                  <a:pt x="803697" y="210134"/>
                  <a:pt x="807397" y="210652"/>
                  <a:pt x="809778" y="212240"/>
                </a:cubicBezTo>
                <a:cubicBezTo>
                  <a:pt x="815334" y="211446"/>
                  <a:pt x="821318" y="212138"/>
                  <a:pt x="826447" y="209858"/>
                </a:cubicBezTo>
                <a:cubicBezTo>
                  <a:pt x="829062" y="208696"/>
                  <a:pt x="828457" y="203501"/>
                  <a:pt x="831209" y="202715"/>
                </a:cubicBezTo>
                <a:cubicBezTo>
                  <a:pt x="832620" y="202312"/>
                  <a:pt x="850270" y="206885"/>
                  <a:pt x="852640" y="207477"/>
                </a:cubicBezTo>
                <a:cubicBezTo>
                  <a:pt x="851846" y="209858"/>
                  <a:pt x="851827" y="212661"/>
                  <a:pt x="850259" y="214621"/>
                </a:cubicBezTo>
                <a:cubicBezTo>
                  <a:pt x="846903" y="218815"/>
                  <a:pt x="840676" y="220196"/>
                  <a:pt x="835972" y="221765"/>
                </a:cubicBezTo>
                <a:cubicBezTo>
                  <a:pt x="848301" y="229984"/>
                  <a:pt x="846727" y="231094"/>
                  <a:pt x="869309" y="224146"/>
                </a:cubicBezTo>
                <a:cubicBezTo>
                  <a:pt x="872045" y="223304"/>
                  <a:pt x="871837" y="218790"/>
                  <a:pt x="874072" y="217002"/>
                </a:cubicBezTo>
                <a:cubicBezTo>
                  <a:pt x="876032" y="215434"/>
                  <a:pt x="878834" y="215415"/>
                  <a:pt x="881215" y="214621"/>
                </a:cubicBezTo>
                <a:cubicBezTo>
                  <a:pt x="881780" y="214702"/>
                  <a:pt x="900872" y="216415"/>
                  <a:pt x="905028" y="219383"/>
                </a:cubicBezTo>
                <a:cubicBezTo>
                  <a:pt x="908682" y="221993"/>
                  <a:pt x="910961" y="226214"/>
                  <a:pt x="914553" y="228908"/>
                </a:cubicBezTo>
                <a:cubicBezTo>
                  <a:pt x="917393" y="231038"/>
                  <a:pt x="920996" y="231910"/>
                  <a:pt x="924078" y="233671"/>
                </a:cubicBezTo>
                <a:cubicBezTo>
                  <a:pt x="926563" y="235091"/>
                  <a:pt x="928841" y="236846"/>
                  <a:pt x="931222" y="238433"/>
                </a:cubicBezTo>
                <a:cubicBezTo>
                  <a:pt x="932016" y="243989"/>
                  <a:pt x="931990" y="249726"/>
                  <a:pt x="933603" y="255102"/>
                </a:cubicBezTo>
                <a:cubicBezTo>
                  <a:pt x="934425" y="257843"/>
                  <a:pt x="935571" y="261625"/>
                  <a:pt x="938365" y="262246"/>
                </a:cubicBezTo>
                <a:cubicBezTo>
                  <a:pt x="943844" y="263464"/>
                  <a:pt x="949478" y="260659"/>
                  <a:pt x="955034" y="259865"/>
                </a:cubicBezTo>
                <a:cubicBezTo>
                  <a:pt x="957415" y="258277"/>
                  <a:pt x="959547" y="256229"/>
                  <a:pt x="962178" y="255102"/>
                </a:cubicBezTo>
                <a:cubicBezTo>
                  <a:pt x="965186" y="253813"/>
                  <a:pt x="968861" y="254345"/>
                  <a:pt x="971703" y="252721"/>
                </a:cubicBezTo>
                <a:cubicBezTo>
                  <a:pt x="974627" y="251050"/>
                  <a:pt x="976260" y="247733"/>
                  <a:pt x="978847" y="245577"/>
                </a:cubicBezTo>
                <a:cubicBezTo>
                  <a:pt x="981045" y="243745"/>
                  <a:pt x="983609" y="242402"/>
                  <a:pt x="985990" y="240815"/>
                </a:cubicBezTo>
                <a:cubicBezTo>
                  <a:pt x="986784" y="238434"/>
                  <a:pt x="986804" y="235631"/>
                  <a:pt x="988372" y="233671"/>
                </a:cubicBezTo>
                <a:cubicBezTo>
                  <a:pt x="991730" y="229473"/>
                  <a:pt x="997951" y="228096"/>
                  <a:pt x="1002659" y="226527"/>
                </a:cubicBezTo>
                <a:cubicBezTo>
                  <a:pt x="1003453" y="223352"/>
                  <a:pt x="1004502" y="220230"/>
                  <a:pt x="1005040" y="217002"/>
                </a:cubicBezTo>
                <a:cubicBezTo>
                  <a:pt x="1006092" y="210690"/>
                  <a:pt x="1004774" y="203778"/>
                  <a:pt x="1007422" y="197952"/>
                </a:cubicBezTo>
                <a:cubicBezTo>
                  <a:pt x="1009064" y="194339"/>
                  <a:pt x="1014141" y="193614"/>
                  <a:pt x="1016947" y="190808"/>
                </a:cubicBezTo>
                <a:cubicBezTo>
                  <a:pt x="1018970" y="188785"/>
                  <a:pt x="1019224" y="185085"/>
                  <a:pt x="1021709" y="183665"/>
                </a:cubicBezTo>
                <a:cubicBezTo>
                  <a:pt x="1025223" y="181657"/>
                  <a:pt x="1029710" y="182348"/>
                  <a:pt x="1033615" y="181283"/>
                </a:cubicBezTo>
                <a:cubicBezTo>
                  <a:pt x="1066831" y="172224"/>
                  <a:pt x="1030816" y="179938"/>
                  <a:pt x="1059809" y="174140"/>
                </a:cubicBezTo>
                <a:lnTo>
                  <a:pt x="1114578" y="176521"/>
                </a:lnTo>
                <a:cubicBezTo>
                  <a:pt x="1117782" y="177188"/>
                  <a:pt x="1114915" y="183490"/>
                  <a:pt x="1116959" y="186046"/>
                </a:cubicBezTo>
                <a:cubicBezTo>
                  <a:pt x="1118527" y="188006"/>
                  <a:pt x="1121668" y="187818"/>
                  <a:pt x="1124103" y="188427"/>
                </a:cubicBezTo>
                <a:cubicBezTo>
                  <a:pt x="1128029" y="189409"/>
                  <a:pt x="1132040" y="190014"/>
                  <a:pt x="1136009" y="190808"/>
                </a:cubicBezTo>
                <a:cubicBezTo>
                  <a:pt x="1135215" y="195571"/>
                  <a:pt x="1133628" y="200268"/>
                  <a:pt x="1133628" y="205096"/>
                </a:cubicBezTo>
                <a:cubicBezTo>
                  <a:pt x="1133628" y="224285"/>
                  <a:pt x="1148212" y="215560"/>
                  <a:pt x="1166965" y="217002"/>
                </a:cubicBezTo>
                <a:cubicBezTo>
                  <a:pt x="1167759" y="221765"/>
                  <a:pt x="1167188" y="226971"/>
                  <a:pt x="1169347" y="231290"/>
                </a:cubicBezTo>
                <a:cubicBezTo>
                  <a:pt x="1170627" y="233849"/>
                  <a:pt x="1173652" y="235686"/>
                  <a:pt x="1176490" y="236052"/>
                </a:cubicBezTo>
                <a:cubicBezTo>
                  <a:pt x="1198588" y="238903"/>
                  <a:pt x="1220940" y="239227"/>
                  <a:pt x="1243165" y="240815"/>
                </a:cubicBezTo>
                <a:cubicBezTo>
                  <a:pt x="1242371" y="251927"/>
                  <a:pt x="1243336" y="263308"/>
                  <a:pt x="1240784" y="274152"/>
                </a:cubicBezTo>
                <a:cubicBezTo>
                  <a:pt x="1240013" y="277430"/>
                  <a:pt x="1236584" y="279661"/>
                  <a:pt x="1233640" y="281296"/>
                </a:cubicBezTo>
                <a:cubicBezTo>
                  <a:pt x="1228901" y="283929"/>
                  <a:pt x="1215974" y="286903"/>
                  <a:pt x="1209828" y="288440"/>
                </a:cubicBezTo>
                <a:cubicBezTo>
                  <a:pt x="1205660" y="291218"/>
                  <a:pt x="1198914" y="294392"/>
                  <a:pt x="1197922" y="300346"/>
                </a:cubicBezTo>
                <a:cubicBezTo>
                  <a:pt x="1197509" y="302822"/>
                  <a:pt x="1198260" y="306031"/>
                  <a:pt x="1200303" y="307490"/>
                </a:cubicBezTo>
                <a:cubicBezTo>
                  <a:pt x="1204388" y="310408"/>
                  <a:pt x="1214590" y="312252"/>
                  <a:pt x="1214590" y="312252"/>
                </a:cubicBezTo>
                <a:cubicBezTo>
                  <a:pt x="1209395" y="327839"/>
                  <a:pt x="1216611" y="312540"/>
                  <a:pt x="1205065" y="321777"/>
                </a:cubicBezTo>
                <a:cubicBezTo>
                  <a:pt x="1190115" y="333737"/>
                  <a:pt x="1212654" y="325834"/>
                  <a:pt x="1190778" y="331302"/>
                </a:cubicBezTo>
                <a:cubicBezTo>
                  <a:pt x="1188397" y="332890"/>
                  <a:pt x="1185422" y="333830"/>
                  <a:pt x="1183634" y="336065"/>
                </a:cubicBezTo>
                <a:cubicBezTo>
                  <a:pt x="1178417" y="342586"/>
                  <a:pt x="1182588" y="362025"/>
                  <a:pt x="1183634" y="364640"/>
                </a:cubicBezTo>
                <a:cubicBezTo>
                  <a:pt x="1184566" y="366971"/>
                  <a:pt x="1188343" y="366412"/>
                  <a:pt x="1190778" y="367021"/>
                </a:cubicBezTo>
                <a:cubicBezTo>
                  <a:pt x="1194704" y="368003"/>
                  <a:pt x="1198715" y="368608"/>
                  <a:pt x="1202684" y="369402"/>
                </a:cubicBezTo>
                <a:cubicBezTo>
                  <a:pt x="1208968" y="378828"/>
                  <a:pt x="1211634" y="378895"/>
                  <a:pt x="1202684" y="393215"/>
                </a:cubicBezTo>
                <a:cubicBezTo>
                  <a:pt x="1201354" y="395344"/>
                  <a:pt x="1197921" y="394802"/>
                  <a:pt x="1195540" y="395596"/>
                </a:cubicBezTo>
                <a:cubicBezTo>
                  <a:pt x="1190373" y="399041"/>
                  <a:pt x="1182794" y="402949"/>
                  <a:pt x="1181253" y="409883"/>
                </a:cubicBezTo>
                <a:cubicBezTo>
                  <a:pt x="1180375" y="413834"/>
                  <a:pt x="1181626" y="418276"/>
                  <a:pt x="1183634" y="421790"/>
                </a:cubicBezTo>
                <a:cubicBezTo>
                  <a:pt x="1185054" y="424275"/>
                  <a:pt x="1188397" y="424965"/>
                  <a:pt x="1190778" y="426552"/>
                </a:cubicBezTo>
                <a:cubicBezTo>
                  <a:pt x="1192365" y="429727"/>
                  <a:pt x="1195287" y="432536"/>
                  <a:pt x="1195540" y="436077"/>
                </a:cubicBezTo>
                <a:cubicBezTo>
                  <a:pt x="1196108" y="444034"/>
                  <a:pt x="1196979" y="452887"/>
                  <a:pt x="1193159" y="459890"/>
                </a:cubicBezTo>
                <a:cubicBezTo>
                  <a:pt x="1191221" y="463443"/>
                  <a:pt x="1185245" y="461606"/>
                  <a:pt x="1181253" y="462271"/>
                </a:cubicBezTo>
                <a:cubicBezTo>
                  <a:pt x="1175717" y="463194"/>
                  <a:pt x="1170140" y="463858"/>
                  <a:pt x="1164584" y="464652"/>
                </a:cubicBezTo>
                <a:cubicBezTo>
                  <a:pt x="1161409" y="466240"/>
                  <a:pt x="1157948" y="467352"/>
                  <a:pt x="1155059" y="469415"/>
                </a:cubicBezTo>
                <a:cubicBezTo>
                  <a:pt x="1132533" y="485505"/>
                  <a:pt x="1164496" y="468267"/>
                  <a:pt x="1138390" y="481321"/>
                </a:cubicBezTo>
                <a:cubicBezTo>
                  <a:pt x="1136803" y="483702"/>
                  <a:pt x="1134533" y="485750"/>
                  <a:pt x="1133628" y="488465"/>
                </a:cubicBezTo>
                <a:cubicBezTo>
                  <a:pt x="1132101" y="493045"/>
                  <a:pt x="1134389" y="499086"/>
                  <a:pt x="1131247" y="502752"/>
                </a:cubicBezTo>
                <a:cubicBezTo>
                  <a:pt x="1128613" y="505825"/>
                  <a:pt x="1123245" y="504068"/>
                  <a:pt x="1119340" y="505133"/>
                </a:cubicBezTo>
                <a:cubicBezTo>
                  <a:pt x="1114497" y="506454"/>
                  <a:pt x="1105053" y="509896"/>
                  <a:pt x="1105053" y="509896"/>
                </a:cubicBezTo>
                <a:cubicBezTo>
                  <a:pt x="1100370" y="516920"/>
                  <a:pt x="1100022" y="518454"/>
                  <a:pt x="1093147" y="524183"/>
                </a:cubicBezTo>
                <a:cubicBezTo>
                  <a:pt x="1090948" y="526015"/>
                  <a:pt x="1088142" y="527045"/>
                  <a:pt x="1086003" y="528946"/>
                </a:cubicBezTo>
                <a:cubicBezTo>
                  <a:pt x="1080969" y="533421"/>
                  <a:pt x="1078104" y="541102"/>
                  <a:pt x="1071715" y="543233"/>
                </a:cubicBezTo>
                <a:cubicBezTo>
                  <a:pt x="1057004" y="548139"/>
                  <a:pt x="1067069" y="545365"/>
                  <a:pt x="1040759" y="547996"/>
                </a:cubicBezTo>
                <a:cubicBezTo>
                  <a:pt x="1035997" y="549583"/>
                  <a:pt x="1024608" y="548097"/>
                  <a:pt x="1026472" y="552758"/>
                </a:cubicBezTo>
                <a:cubicBezTo>
                  <a:pt x="1033318" y="569876"/>
                  <a:pt x="1027002" y="564061"/>
                  <a:pt x="1047903" y="567046"/>
                </a:cubicBezTo>
                <a:cubicBezTo>
                  <a:pt x="1043799" y="569781"/>
                  <a:pt x="1035907" y="574367"/>
                  <a:pt x="1033615" y="578952"/>
                </a:cubicBezTo>
                <a:cubicBezTo>
                  <a:pt x="1030248" y="585687"/>
                  <a:pt x="1026472" y="600383"/>
                  <a:pt x="1026472" y="600383"/>
                </a:cubicBezTo>
                <a:cubicBezTo>
                  <a:pt x="1028059" y="602764"/>
                  <a:pt x="1028999" y="605739"/>
                  <a:pt x="1031234" y="607527"/>
                </a:cubicBezTo>
                <a:cubicBezTo>
                  <a:pt x="1033194" y="609095"/>
                  <a:pt x="1035885" y="609615"/>
                  <a:pt x="1038378" y="609908"/>
                </a:cubicBezTo>
                <a:cubicBezTo>
                  <a:pt x="1049442" y="611210"/>
                  <a:pt x="1060603" y="611496"/>
                  <a:pt x="1071715" y="612290"/>
                </a:cubicBezTo>
                <a:cubicBezTo>
                  <a:pt x="1073303" y="614671"/>
                  <a:pt x="1076478" y="616571"/>
                  <a:pt x="1076478" y="619433"/>
                </a:cubicBezTo>
                <a:cubicBezTo>
                  <a:pt x="1076478" y="630113"/>
                  <a:pt x="1071372" y="631569"/>
                  <a:pt x="1064572" y="636102"/>
                </a:cubicBezTo>
                <a:cubicBezTo>
                  <a:pt x="1060917" y="641585"/>
                  <a:pt x="1046556" y="652807"/>
                  <a:pt x="1062190" y="655152"/>
                </a:cubicBezTo>
                <a:cubicBezTo>
                  <a:pt x="1075558" y="657157"/>
                  <a:pt x="1089178" y="656739"/>
                  <a:pt x="1102672" y="657533"/>
                </a:cubicBezTo>
                <a:cubicBezTo>
                  <a:pt x="1109209" y="677146"/>
                  <a:pt x="1106724" y="666851"/>
                  <a:pt x="1109815" y="688490"/>
                </a:cubicBezTo>
                <a:cubicBezTo>
                  <a:pt x="1109021" y="691665"/>
                  <a:pt x="1109249" y="695292"/>
                  <a:pt x="1107434" y="698015"/>
                </a:cubicBezTo>
                <a:cubicBezTo>
                  <a:pt x="1105846" y="700396"/>
                  <a:pt x="1102314" y="700753"/>
                  <a:pt x="1100290" y="702777"/>
                </a:cubicBezTo>
                <a:cubicBezTo>
                  <a:pt x="1098266" y="704801"/>
                  <a:pt x="1097115" y="707540"/>
                  <a:pt x="1095528" y="709921"/>
                </a:cubicBezTo>
                <a:cubicBezTo>
                  <a:pt x="1097909" y="711508"/>
                  <a:pt x="1100112" y="713403"/>
                  <a:pt x="1102672" y="714683"/>
                </a:cubicBezTo>
                <a:cubicBezTo>
                  <a:pt x="1104917" y="715806"/>
                  <a:pt x="1107855" y="715497"/>
                  <a:pt x="1109815" y="717065"/>
                </a:cubicBezTo>
                <a:cubicBezTo>
                  <a:pt x="1112050" y="718853"/>
                  <a:pt x="1112990" y="721827"/>
                  <a:pt x="1114578" y="724208"/>
                </a:cubicBezTo>
                <a:cubicBezTo>
                  <a:pt x="1120222" y="763724"/>
                  <a:pt x="1117594" y="738407"/>
                  <a:pt x="1114578" y="812315"/>
                </a:cubicBezTo>
                <a:cubicBezTo>
                  <a:pt x="1113962" y="827404"/>
                  <a:pt x="1115159" y="842749"/>
                  <a:pt x="1112197" y="857558"/>
                </a:cubicBezTo>
                <a:cubicBezTo>
                  <a:pt x="1111074" y="863171"/>
                  <a:pt x="1106106" y="867267"/>
                  <a:pt x="1102672" y="871846"/>
                </a:cubicBezTo>
                <a:cubicBezTo>
                  <a:pt x="1100291" y="875021"/>
                  <a:pt x="1097835" y="878142"/>
                  <a:pt x="1095528" y="881371"/>
                </a:cubicBezTo>
                <a:cubicBezTo>
                  <a:pt x="1093864" y="883700"/>
                  <a:pt x="1092789" y="886491"/>
                  <a:pt x="1090765" y="888515"/>
                </a:cubicBezTo>
                <a:cubicBezTo>
                  <a:pt x="1069873" y="909407"/>
                  <a:pt x="1099828" y="871670"/>
                  <a:pt x="1076478" y="902802"/>
                </a:cubicBezTo>
                <a:cubicBezTo>
                  <a:pt x="1075684" y="905183"/>
                  <a:pt x="1075872" y="908171"/>
                  <a:pt x="1074097" y="909946"/>
                </a:cubicBezTo>
                <a:cubicBezTo>
                  <a:pt x="1072322" y="911721"/>
                  <a:pt x="1069147" y="911108"/>
                  <a:pt x="1066953" y="912327"/>
                </a:cubicBezTo>
                <a:cubicBezTo>
                  <a:pt x="1061949" y="915107"/>
                  <a:pt x="1056712" y="917804"/>
                  <a:pt x="1052665" y="921852"/>
                </a:cubicBezTo>
                <a:cubicBezTo>
                  <a:pt x="1043498" y="931020"/>
                  <a:pt x="1047390" y="926194"/>
                  <a:pt x="1040759" y="936140"/>
                </a:cubicBezTo>
                <a:cubicBezTo>
                  <a:pt x="1039965" y="943284"/>
                  <a:pt x="1040121" y="950598"/>
                  <a:pt x="1038378" y="957571"/>
                </a:cubicBezTo>
                <a:cubicBezTo>
                  <a:pt x="1037684" y="960348"/>
                  <a:pt x="1035850" y="962927"/>
                  <a:pt x="1033615" y="964715"/>
                </a:cubicBezTo>
                <a:cubicBezTo>
                  <a:pt x="1031655" y="966283"/>
                  <a:pt x="1028969" y="966846"/>
                  <a:pt x="1026472" y="967096"/>
                </a:cubicBezTo>
                <a:cubicBezTo>
                  <a:pt x="1013022" y="968441"/>
                  <a:pt x="999484" y="968683"/>
                  <a:pt x="985990" y="969477"/>
                </a:cubicBezTo>
                <a:cubicBezTo>
                  <a:pt x="982021" y="970271"/>
                  <a:pt x="977874" y="970437"/>
                  <a:pt x="974084" y="971858"/>
                </a:cubicBezTo>
                <a:cubicBezTo>
                  <a:pt x="971404" y="972863"/>
                  <a:pt x="969500" y="975341"/>
                  <a:pt x="966940" y="976621"/>
                </a:cubicBezTo>
                <a:cubicBezTo>
                  <a:pt x="964695" y="977743"/>
                  <a:pt x="962178" y="978208"/>
                  <a:pt x="959797" y="979002"/>
                </a:cubicBezTo>
                <a:cubicBezTo>
                  <a:pt x="951859" y="978208"/>
                  <a:pt x="943430" y="979485"/>
                  <a:pt x="935984" y="976621"/>
                </a:cubicBezTo>
                <a:cubicBezTo>
                  <a:pt x="932280" y="975196"/>
                  <a:pt x="931646" y="969902"/>
                  <a:pt x="928840" y="967096"/>
                </a:cubicBezTo>
                <a:cubicBezTo>
                  <a:pt x="924223" y="962478"/>
                  <a:pt x="920365" y="961889"/>
                  <a:pt x="914553" y="959952"/>
                </a:cubicBezTo>
                <a:cubicBezTo>
                  <a:pt x="908203" y="960746"/>
                  <a:pt x="901530" y="960181"/>
                  <a:pt x="895503" y="962333"/>
                </a:cubicBezTo>
                <a:cubicBezTo>
                  <a:pt x="875012" y="969651"/>
                  <a:pt x="887263" y="970208"/>
                  <a:pt x="874072" y="979002"/>
                </a:cubicBezTo>
                <a:cubicBezTo>
                  <a:pt x="871983" y="980394"/>
                  <a:pt x="869235" y="980394"/>
                  <a:pt x="866928" y="981383"/>
                </a:cubicBezTo>
                <a:cubicBezTo>
                  <a:pt x="863665" y="982781"/>
                  <a:pt x="860727" y="984900"/>
                  <a:pt x="857403" y="986146"/>
                </a:cubicBezTo>
                <a:cubicBezTo>
                  <a:pt x="854339" y="987295"/>
                  <a:pt x="851025" y="987628"/>
                  <a:pt x="847878" y="988527"/>
                </a:cubicBezTo>
                <a:cubicBezTo>
                  <a:pt x="845464" y="989217"/>
                  <a:pt x="843148" y="990218"/>
                  <a:pt x="840734" y="990908"/>
                </a:cubicBezTo>
                <a:cubicBezTo>
                  <a:pt x="819803" y="996889"/>
                  <a:pt x="841194" y="989962"/>
                  <a:pt x="824065" y="995671"/>
                </a:cubicBezTo>
                <a:cubicBezTo>
                  <a:pt x="821684" y="998052"/>
                  <a:pt x="820273" y="1002480"/>
                  <a:pt x="816922" y="1002815"/>
                </a:cubicBezTo>
                <a:cubicBezTo>
                  <a:pt x="803286" y="1004178"/>
                  <a:pt x="802196" y="997834"/>
                  <a:pt x="793109" y="993290"/>
                </a:cubicBezTo>
                <a:cubicBezTo>
                  <a:pt x="790864" y="992167"/>
                  <a:pt x="788379" y="991598"/>
                  <a:pt x="785965" y="990908"/>
                </a:cubicBezTo>
                <a:cubicBezTo>
                  <a:pt x="782818" y="990009"/>
                  <a:pt x="779575" y="989467"/>
                  <a:pt x="776440" y="988527"/>
                </a:cubicBezTo>
                <a:cubicBezTo>
                  <a:pt x="771632" y="987085"/>
                  <a:pt x="762153" y="983765"/>
                  <a:pt x="762153" y="983765"/>
                </a:cubicBezTo>
                <a:cubicBezTo>
                  <a:pt x="756667" y="984679"/>
                  <a:pt x="746584" y="985596"/>
                  <a:pt x="740722" y="988527"/>
                </a:cubicBezTo>
                <a:cubicBezTo>
                  <a:pt x="738162" y="989807"/>
                  <a:pt x="735959" y="991702"/>
                  <a:pt x="733578" y="993290"/>
                </a:cubicBezTo>
                <a:cubicBezTo>
                  <a:pt x="719299" y="991250"/>
                  <a:pt x="709819" y="995563"/>
                  <a:pt x="719290" y="976621"/>
                </a:cubicBezTo>
                <a:cubicBezTo>
                  <a:pt x="720570" y="974061"/>
                  <a:pt x="723819" y="973020"/>
                  <a:pt x="726434" y="971858"/>
                </a:cubicBezTo>
                <a:cubicBezTo>
                  <a:pt x="731022" y="969819"/>
                  <a:pt x="740722" y="967096"/>
                  <a:pt x="740722" y="967096"/>
                </a:cubicBezTo>
                <a:cubicBezTo>
                  <a:pt x="739134" y="963127"/>
                  <a:pt x="738695" y="958474"/>
                  <a:pt x="735959" y="955190"/>
                </a:cubicBezTo>
                <a:cubicBezTo>
                  <a:pt x="734352" y="953262"/>
                  <a:pt x="731325" y="952808"/>
                  <a:pt x="728815" y="952808"/>
                </a:cubicBezTo>
                <a:cubicBezTo>
                  <a:pt x="716090" y="952808"/>
                  <a:pt x="703415" y="954396"/>
                  <a:pt x="690715" y="955190"/>
                </a:cubicBezTo>
                <a:cubicBezTo>
                  <a:pt x="684906" y="957126"/>
                  <a:pt x="681043" y="957718"/>
                  <a:pt x="676428" y="962333"/>
                </a:cubicBezTo>
                <a:cubicBezTo>
                  <a:pt x="665656" y="973104"/>
                  <a:pt x="678429" y="967222"/>
                  <a:pt x="664522" y="971858"/>
                </a:cubicBezTo>
                <a:cubicBezTo>
                  <a:pt x="662141" y="973446"/>
                  <a:pt x="660226" y="976336"/>
                  <a:pt x="657378" y="976621"/>
                </a:cubicBezTo>
                <a:cubicBezTo>
                  <a:pt x="651793" y="977180"/>
                  <a:pt x="645920" y="976324"/>
                  <a:pt x="640709" y="974240"/>
                </a:cubicBezTo>
                <a:cubicBezTo>
                  <a:pt x="637582" y="972989"/>
                  <a:pt x="635721" y="969683"/>
                  <a:pt x="633565" y="967096"/>
                </a:cubicBezTo>
                <a:cubicBezTo>
                  <a:pt x="626519" y="958640"/>
                  <a:pt x="628830" y="957641"/>
                  <a:pt x="624040" y="945665"/>
                </a:cubicBezTo>
                <a:cubicBezTo>
                  <a:pt x="622722" y="942369"/>
                  <a:pt x="621104" y="939184"/>
                  <a:pt x="619278" y="936140"/>
                </a:cubicBezTo>
                <a:cubicBezTo>
                  <a:pt x="616333" y="931232"/>
                  <a:pt x="609753" y="921852"/>
                  <a:pt x="609753" y="921852"/>
                </a:cubicBezTo>
                <a:cubicBezTo>
                  <a:pt x="608959" y="918677"/>
                  <a:pt x="608521" y="915391"/>
                  <a:pt x="607372" y="912327"/>
                </a:cubicBezTo>
                <a:cubicBezTo>
                  <a:pt x="601116" y="895644"/>
                  <a:pt x="604750" y="909463"/>
                  <a:pt x="597847" y="895658"/>
                </a:cubicBezTo>
                <a:cubicBezTo>
                  <a:pt x="596724" y="893413"/>
                  <a:pt x="596588" y="890760"/>
                  <a:pt x="595465" y="888515"/>
                </a:cubicBezTo>
                <a:cubicBezTo>
                  <a:pt x="592148" y="881882"/>
                  <a:pt x="588828" y="879496"/>
                  <a:pt x="583559" y="874227"/>
                </a:cubicBezTo>
                <a:cubicBezTo>
                  <a:pt x="581972" y="871052"/>
                  <a:pt x="580043" y="868026"/>
                  <a:pt x="578797" y="864702"/>
                </a:cubicBezTo>
                <a:cubicBezTo>
                  <a:pt x="577648" y="861638"/>
                  <a:pt x="577879" y="858104"/>
                  <a:pt x="576415" y="855177"/>
                </a:cubicBezTo>
                <a:cubicBezTo>
                  <a:pt x="559499" y="821348"/>
                  <a:pt x="572812" y="856297"/>
                  <a:pt x="562128" y="831365"/>
                </a:cubicBezTo>
                <a:cubicBezTo>
                  <a:pt x="558338" y="822520"/>
                  <a:pt x="561715" y="825154"/>
                  <a:pt x="554984" y="817077"/>
                </a:cubicBezTo>
                <a:cubicBezTo>
                  <a:pt x="547594" y="808210"/>
                  <a:pt x="547517" y="810677"/>
                  <a:pt x="538315" y="802790"/>
                </a:cubicBezTo>
                <a:cubicBezTo>
                  <a:pt x="518726" y="785999"/>
                  <a:pt x="548250" y="807031"/>
                  <a:pt x="516884" y="786121"/>
                </a:cubicBezTo>
                <a:lnTo>
                  <a:pt x="516884" y="786121"/>
                </a:lnTo>
                <a:cubicBezTo>
                  <a:pt x="513709" y="783740"/>
                  <a:pt x="510372" y="781560"/>
                  <a:pt x="507359" y="778977"/>
                </a:cubicBezTo>
                <a:cubicBezTo>
                  <a:pt x="504802" y="776785"/>
                  <a:pt x="503017" y="773701"/>
                  <a:pt x="500215" y="771833"/>
                </a:cubicBezTo>
                <a:cubicBezTo>
                  <a:pt x="498127" y="770441"/>
                  <a:pt x="495453" y="770246"/>
                  <a:pt x="493072" y="769452"/>
                </a:cubicBezTo>
                <a:cubicBezTo>
                  <a:pt x="490691" y="767071"/>
                  <a:pt x="488668" y="764265"/>
                  <a:pt x="485928" y="762308"/>
                </a:cubicBezTo>
                <a:cubicBezTo>
                  <a:pt x="483039" y="760245"/>
                  <a:pt x="479098" y="759856"/>
                  <a:pt x="476403" y="757546"/>
                </a:cubicBezTo>
                <a:cubicBezTo>
                  <a:pt x="473390" y="754963"/>
                  <a:pt x="471640" y="751196"/>
                  <a:pt x="469259" y="748021"/>
                </a:cubicBezTo>
                <a:cubicBezTo>
                  <a:pt x="465490" y="732943"/>
                  <a:pt x="468693" y="741219"/>
                  <a:pt x="457353" y="724208"/>
                </a:cubicBezTo>
                <a:lnTo>
                  <a:pt x="457353" y="724208"/>
                </a:lnTo>
                <a:lnTo>
                  <a:pt x="452590" y="709921"/>
                </a:lnTo>
                <a:cubicBezTo>
                  <a:pt x="451796" y="707540"/>
                  <a:pt x="452590" y="703571"/>
                  <a:pt x="450209" y="702777"/>
                </a:cubicBezTo>
                <a:lnTo>
                  <a:pt x="428778" y="695633"/>
                </a:lnTo>
                <a:cubicBezTo>
                  <a:pt x="429799" y="688483"/>
                  <a:pt x="431452" y="674714"/>
                  <a:pt x="433540" y="667058"/>
                </a:cubicBezTo>
                <a:cubicBezTo>
                  <a:pt x="440909" y="640038"/>
                  <a:pt x="434549" y="662659"/>
                  <a:pt x="443065" y="645627"/>
                </a:cubicBezTo>
                <a:cubicBezTo>
                  <a:pt x="445508" y="640742"/>
                  <a:pt x="446921" y="631112"/>
                  <a:pt x="447828" y="626577"/>
                </a:cubicBezTo>
                <a:cubicBezTo>
                  <a:pt x="447034" y="621815"/>
                  <a:pt x="446394" y="617024"/>
                  <a:pt x="445447" y="612290"/>
                </a:cubicBezTo>
                <a:cubicBezTo>
                  <a:pt x="440778" y="588949"/>
                  <a:pt x="441153" y="602659"/>
                  <a:pt x="400203" y="600383"/>
                </a:cubicBezTo>
                <a:cubicBezTo>
                  <a:pt x="395440" y="599589"/>
                  <a:pt x="390599" y="599173"/>
                  <a:pt x="385915" y="598002"/>
                </a:cubicBezTo>
                <a:cubicBezTo>
                  <a:pt x="385886" y="597995"/>
                  <a:pt x="368070" y="592053"/>
                  <a:pt x="364484" y="590858"/>
                </a:cubicBezTo>
                <a:cubicBezTo>
                  <a:pt x="362103" y="590064"/>
                  <a:pt x="359801" y="588969"/>
                  <a:pt x="357340" y="588477"/>
                </a:cubicBezTo>
                <a:cubicBezTo>
                  <a:pt x="353371" y="587683"/>
                  <a:pt x="349385" y="586974"/>
                  <a:pt x="345434" y="586096"/>
                </a:cubicBezTo>
                <a:cubicBezTo>
                  <a:pt x="342239" y="585386"/>
                  <a:pt x="339118" y="584357"/>
                  <a:pt x="335909" y="583715"/>
                </a:cubicBezTo>
                <a:cubicBezTo>
                  <a:pt x="331175" y="582768"/>
                  <a:pt x="326384" y="582127"/>
                  <a:pt x="321622" y="581333"/>
                </a:cubicBezTo>
                <a:cubicBezTo>
                  <a:pt x="317653" y="579746"/>
                  <a:pt x="313193" y="579056"/>
                  <a:pt x="309715" y="576571"/>
                </a:cubicBezTo>
                <a:cubicBezTo>
                  <a:pt x="302177" y="571187"/>
                  <a:pt x="303888" y="559650"/>
                  <a:pt x="307334" y="552758"/>
                </a:cubicBezTo>
                <a:cubicBezTo>
                  <a:pt x="308457" y="550513"/>
                  <a:pt x="312284" y="551596"/>
                  <a:pt x="314478" y="550377"/>
                </a:cubicBezTo>
                <a:cubicBezTo>
                  <a:pt x="319481" y="547597"/>
                  <a:pt x="324003" y="544027"/>
                  <a:pt x="328765" y="540852"/>
                </a:cubicBezTo>
                <a:lnTo>
                  <a:pt x="335909" y="536090"/>
                </a:lnTo>
                <a:lnTo>
                  <a:pt x="343053" y="531327"/>
                </a:lnTo>
                <a:cubicBezTo>
                  <a:pt x="343847" y="528946"/>
                  <a:pt x="345434" y="526693"/>
                  <a:pt x="345434" y="524183"/>
                </a:cubicBezTo>
                <a:cubicBezTo>
                  <a:pt x="345434" y="504053"/>
                  <a:pt x="338201" y="511836"/>
                  <a:pt x="316859" y="509896"/>
                </a:cubicBezTo>
                <a:cubicBezTo>
                  <a:pt x="312890" y="507515"/>
                  <a:pt x="308858" y="505237"/>
                  <a:pt x="304953" y="502752"/>
                </a:cubicBezTo>
                <a:cubicBezTo>
                  <a:pt x="300124" y="499679"/>
                  <a:pt x="290665" y="493227"/>
                  <a:pt x="290665" y="493227"/>
                </a:cubicBezTo>
                <a:cubicBezTo>
                  <a:pt x="290596" y="492814"/>
                  <a:pt x="286734" y="468696"/>
                  <a:pt x="285903" y="467033"/>
                </a:cubicBezTo>
                <a:cubicBezTo>
                  <a:pt x="281390" y="458008"/>
                  <a:pt x="278669" y="461035"/>
                  <a:pt x="271615" y="457508"/>
                </a:cubicBezTo>
                <a:cubicBezTo>
                  <a:pt x="254877" y="449138"/>
                  <a:pt x="276706" y="454785"/>
                  <a:pt x="250184" y="450365"/>
                </a:cubicBezTo>
                <a:cubicBezTo>
                  <a:pt x="247803" y="447984"/>
                  <a:pt x="245627" y="445377"/>
                  <a:pt x="243040" y="443221"/>
                </a:cubicBezTo>
                <a:cubicBezTo>
                  <a:pt x="240842" y="441389"/>
                  <a:pt x="237484" y="440839"/>
                  <a:pt x="235897" y="438458"/>
                </a:cubicBezTo>
                <a:cubicBezTo>
                  <a:pt x="234082" y="435735"/>
                  <a:pt x="234309" y="432108"/>
                  <a:pt x="233515" y="428933"/>
                </a:cubicBezTo>
                <a:cubicBezTo>
                  <a:pt x="231805" y="411829"/>
                  <a:pt x="237428" y="406117"/>
                  <a:pt x="223990" y="400358"/>
                </a:cubicBezTo>
                <a:cubicBezTo>
                  <a:pt x="220982" y="399069"/>
                  <a:pt x="217640" y="398771"/>
                  <a:pt x="214465" y="397977"/>
                </a:cubicBezTo>
                <a:cubicBezTo>
                  <a:pt x="212025" y="391878"/>
                  <a:pt x="210993" y="382775"/>
                  <a:pt x="202559" y="381308"/>
                </a:cubicBezTo>
                <a:cubicBezTo>
                  <a:pt x="186841" y="378574"/>
                  <a:pt x="154934" y="376546"/>
                  <a:pt x="154934" y="376546"/>
                </a:cubicBezTo>
                <a:cubicBezTo>
                  <a:pt x="148479" y="375255"/>
                  <a:pt x="140556" y="375242"/>
                  <a:pt x="135884" y="369402"/>
                </a:cubicBezTo>
                <a:cubicBezTo>
                  <a:pt x="134316" y="367442"/>
                  <a:pt x="134112" y="364693"/>
                  <a:pt x="133503" y="362258"/>
                </a:cubicBezTo>
                <a:cubicBezTo>
                  <a:pt x="132521" y="358332"/>
                  <a:pt x="133713" y="353461"/>
                  <a:pt x="131122" y="350352"/>
                </a:cubicBezTo>
                <a:cubicBezTo>
                  <a:pt x="125328" y="343399"/>
                  <a:pt x="109690" y="333683"/>
                  <a:pt x="109690" y="333683"/>
                </a:cubicBezTo>
                <a:cubicBezTo>
                  <a:pt x="109372" y="332413"/>
                  <a:pt x="106295" y="319065"/>
                  <a:pt x="104928" y="317015"/>
                </a:cubicBezTo>
                <a:cubicBezTo>
                  <a:pt x="103060" y="314213"/>
                  <a:pt x="100586" y="311739"/>
                  <a:pt x="97784" y="309871"/>
                </a:cubicBezTo>
                <a:cubicBezTo>
                  <a:pt x="95695" y="308479"/>
                  <a:pt x="93101" y="307982"/>
                  <a:pt x="90640" y="307490"/>
                </a:cubicBezTo>
                <a:cubicBezTo>
                  <a:pt x="81171" y="305596"/>
                  <a:pt x="62065" y="302727"/>
                  <a:pt x="62065" y="302727"/>
                </a:cubicBezTo>
                <a:cubicBezTo>
                  <a:pt x="61271" y="300346"/>
                  <a:pt x="59271" y="298059"/>
                  <a:pt x="59684" y="295583"/>
                </a:cubicBezTo>
                <a:cubicBezTo>
                  <a:pt x="60951" y="287982"/>
                  <a:pt x="66019" y="287916"/>
                  <a:pt x="71590" y="286058"/>
                </a:cubicBezTo>
                <a:cubicBezTo>
                  <a:pt x="70003" y="282883"/>
                  <a:pt x="69138" y="279228"/>
                  <a:pt x="66828" y="276533"/>
                </a:cubicBezTo>
                <a:cubicBezTo>
                  <a:pt x="64245" y="273520"/>
                  <a:pt x="60853" y="271165"/>
                  <a:pt x="57303" y="269390"/>
                </a:cubicBezTo>
                <a:cubicBezTo>
                  <a:pt x="54376" y="267926"/>
                  <a:pt x="50913" y="267948"/>
                  <a:pt x="47778" y="267008"/>
                </a:cubicBezTo>
                <a:cubicBezTo>
                  <a:pt x="42970" y="265565"/>
                  <a:pt x="37980" y="264491"/>
                  <a:pt x="33490" y="262246"/>
                </a:cubicBezTo>
                <a:cubicBezTo>
                  <a:pt x="30315" y="260658"/>
                  <a:pt x="27047" y="259244"/>
                  <a:pt x="23965" y="257483"/>
                </a:cubicBezTo>
                <a:cubicBezTo>
                  <a:pt x="21480" y="256063"/>
                  <a:pt x="19382" y="254001"/>
                  <a:pt x="16822" y="252721"/>
                </a:cubicBezTo>
                <a:cubicBezTo>
                  <a:pt x="14577" y="251599"/>
                  <a:pt x="12059" y="251134"/>
                  <a:pt x="9678" y="250340"/>
                </a:cubicBezTo>
                <a:cubicBezTo>
                  <a:pt x="7297" y="248752"/>
                  <a:pt x="4322" y="247812"/>
                  <a:pt x="2534" y="245577"/>
                </a:cubicBezTo>
                <a:cubicBezTo>
                  <a:pt x="-2659" y="239085"/>
                  <a:pt x="722" y="235047"/>
                  <a:pt x="7297" y="231290"/>
                </a:cubicBezTo>
                <a:cubicBezTo>
                  <a:pt x="10139" y="229666"/>
                  <a:pt x="13687" y="229848"/>
                  <a:pt x="16822" y="228908"/>
                </a:cubicBezTo>
                <a:cubicBezTo>
                  <a:pt x="21630" y="227465"/>
                  <a:pt x="26187" y="225130"/>
                  <a:pt x="31109" y="224146"/>
                </a:cubicBezTo>
                <a:cubicBezTo>
                  <a:pt x="63640" y="217640"/>
                  <a:pt x="12335" y="227672"/>
                  <a:pt x="76353" y="217002"/>
                </a:cubicBezTo>
                <a:cubicBezTo>
                  <a:pt x="97377" y="213498"/>
                  <a:pt x="94114" y="214258"/>
                  <a:pt x="107309" y="209858"/>
                </a:cubicBezTo>
                <a:cubicBezTo>
                  <a:pt x="108103" y="207477"/>
                  <a:pt x="109690" y="205225"/>
                  <a:pt x="109690" y="202715"/>
                </a:cubicBezTo>
                <a:cubicBezTo>
                  <a:pt x="109690" y="197785"/>
                  <a:pt x="104955" y="192039"/>
                  <a:pt x="102547" y="188427"/>
                </a:cubicBezTo>
                <a:cubicBezTo>
                  <a:pt x="101753" y="183665"/>
                  <a:pt x="101692" y="178720"/>
                  <a:pt x="100165" y="174140"/>
                </a:cubicBezTo>
                <a:cubicBezTo>
                  <a:pt x="99260" y="171425"/>
                  <a:pt x="96308" y="169711"/>
                  <a:pt x="95403" y="166996"/>
                </a:cubicBezTo>
                <a:cubicBezTo>
                  <a:pt x="93876" y="162415"/>
                  <a:pt x="94070" y="157421"/>
                  <a:pt x="93022" y="152708"/>
                </a:cubicBezTo>
                <a:cubicBezTo>
                  <a:pt x="92477" y="150258"/>
                  <a:pt x="91434" y="147946"/>
                  <a:pt x="90640" y="145565"/>
                </a:cubicBezTo>
                <a:cubicBezTo>
                  <a:pt x="89846" y="132071"/>
                  <a:pt x="91191" y="118278"/>
                  <a:pt x="88259" y="105083"/>
                </a:cubicBezTo>
                <a:cubicBezTo>
                  <a:pt x="87714" y="102633"/>
                  <a:pt x="83075" y="104270"/>
                  <a:pt x="81115" y="102702"/>
                </a:cubicBezTo>
                <a:cubicBezTo>
                  <a:pt x="78880" y="100914"/>
                  <a:pt x="77940" y="97939"/>
                  <a:pt x="76353" y="95558"/>
                </a:cubicBezTo>
                <a:cubicBezTo>
                  <a:pt x="82100" y="86938"/>
                  <a:pt x="73971" y="91987"/>
                  <a:pt x="78734" y="9079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6350" cap="flat" cmpd="sng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endParaRPr lang="ru-RU" sz="150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4" name="object 7"/>
          <p:cNvSpPr>
            <a:spLocks/>
          </p:cNvSpPr>
          <p:nvPr/>
        </p:nvSpPr>
        <p:spPr bwMode="auto">
          <a:xfrm>
            <a:off x="7273285" y="516612"/>
            <a:ext cx="119078" cy="127368"/>
          </a:xfrm>
          <a:custGeom>
            <a:avLst/>
            <a:gdLst>
              <a:gd name="T0" fmla="*/ 44452 w 186054"/>
              <a:gd name="T1" fmla="*/ 47730 h 198754"/>
              <a:gd name="T2" fmla="*/ 44054 w 186054"/>
              <a:gd name="T3" fmla="*/ 48040 h 198754"/>
              <a:gd name="T4" fmla="*/ 44018 w 186054"/>
              <a:gd name="T5" fmla="*/ 48326 h 198754"/>
              <a:gd name="T6" fmla="*/ 44452 w 186054"/>
              <a:gd name="T7" fmla="*/ 47730 h 198754"/>
              <a:gd name="T8" fmla="*/ 41997 w 186054"/>
              <a:gd name="T9" fmla="*/ 0 h 198754"/>
              <a:gd name="T10" fmla="*/ 38217 w 186054"/>
              <a:gd name="T11" fmla="*/ 597 h 198754"/>
              <a:gd name="T12" fmla="*/ 34299 w 186054"/>
              <a:gd name="T13" fmla="*/ 1398 h 198754"/>
              <a:gd name="T14" fmla="*/ 31441 w 186054"/>
              <a:gd name="T15" fmla="*/ 1947 h 198754"/>
              <a:gd name="T16" fmla="*/ 22126 w 186054"/>
              <a:gd name="T17" fmla="*/ 4393 h 198754"/>
              <a:gd name="T18" fmla="*/ 20864 w 186054"/>
              <a:gd name="T19" fmla="*/ 4989 h 198754"/>
              <a:gd name="T20" fmla="*/ 19201 w 186054"/>
              <a:gd name="T21" fmla="*/ 5586 h 198754"/>
              <a:gd name="T22" fmla="*/ 10406 w 186054"/>
              <a:gd name="T23" fmla="*/ 9251 h 198754"/>
              <a:gd name="T24" fmla="*/ 0 w 186054"/>
              <a:gd name="T25" fmla="*/ 20713 h 198754"/>
              <a:gd name="T26" fmla="*/ 1300 w 186054"/>
              <a:gd name="T27" fmla="*/ 27275 h 198754"/>
              <a:gd name="T28" fmla="*/ 7172 w 186054"/>
              <a:gd name="T29" fmla="*/ 33700 h 198754"/>
              <a:gd name="T30" fmla="*/ 8800 w 186054"/>
              <a:gd name="T31" fmla="*/ 34925 h 198754"/>
              <a:gd name="T32" fmla="*/ 10643 w 186054"/>
              <a:gd name="T33" fmla="*/ 35844 h 198754"/>
              <a:gd name="T34" fmla="*/ 12091 w 186054"/>
              <a:gd name="T35" fmla="*/ 37071 h 198754"/>
              <a:gd name="T36" fmla="*/ 13504 w 186054"/>
              <a:gd name="T37" fmla="*/ 37638 h 198754"/>
              <a:gd name="T38" fmla="*/ 15133 w 186054"/>
              <a:gd name="T39" fmla="*/ 38427 h 198754"/>
              <a:gd name="T40" fmla="*/ 16799 w 186054"/>
              <a:gd name="T41" fmla="*/ 39266 h 198754"/>
              <a:gd name="T42" fmla="*/ 18318 w 186054"/>
              <a:gd name="T43" fmla="*/ 39985 h 198754"/>
              <a:gd name="T44" fmla="*/ 19962 w 186054"/>
              <a:gd name="T45" fmla="*/ 40612 h 198754"/>
              <a:gd name="T46" fmla="*/ 21920 w 186054"/>
              <a:gd name="T47" fmla="*/ 41329 h 198754"/>
              <a:gd name="T48" fmla="*/ 23741 w 186054"/>
              <a:gd name="T49" fmla="*/ 42125 h 198754"/>
              <a:gd name="T50" fmla="*/ 24971 w 186054"/>
              <a:gd name="T51" fmla="*/ 42990 h 198754"/>
              <a:gd name="T52" fmla="*/ 30474 w 186054"/>
              <a:gd name="T53" fmla="*/ 44574 h 198754"/>
              <a:gd name="T54" fmla="*/ 30958 w 186054"/>
              <a:gd name="T55" fmla="*/ 44825 h 198754"/>
              <a:gd name="T56" fmla="*/ 31237 w 186054"/>
              <a:gd name="T57" fmla="*/ 45074 h 198754"/>
              <a:gd name="T58" fmla="*/ 32968 w 186054"/>
              <a:gd name="T59" fmla="*/ 45322 h 198754"/>
              <a:gd name="T60" fmla="*/ 35741 w 186054"/>
              <a:gd name="T61" fmla="*/ 45985 h 198754"/>
              <a:gd name="T62" fmla="*/ 38543 w 186054"/>
              <a:gd name="T63" fmla="*/ 46773 h 198754"/>
              <a:gd name="T64" fmla="*/ 40354 w 186054"/>
              <a:gd name="T65" fmla="*/ 47391 h 198754"/>
              <a:gd name="T66" fmla="*/ 43843 w 186054"/>
              <a:gd name="T67" fmla="*/ 48205 h 198754"/>
              <a:gd name="T68" fmla="*/ 44054 w 186054"/>
              <a:gd name="T69" fmla="*/ 48040 h 198754"/>
              <a:gd name="T70" fmla="*/ 44168 w 186054"/>
              <a:gd name="T71" fmla="*/ 47129 h 198754"/>
              <a:gd name="T72" fmla="*/ 42363 w 186054"/>
              <a:gd name="T73" fmla="*/ 38976 h 198754"/>
              <a:gd name="T74" fmla="*/ 40714 w 186054"/>
              <a:gd name="T75" fmla="*/ 30728 h 198754"/>
              <a:gd name="T76" fmla="*/ 38976 w 186054"/>
              <a:gd name="T77" fmla="*/ 22289 h 198754"/>
              <a:gd name="T78" fmla="*/ 36905 w 186054"/>
              <a:gd name="T79" fmla="*/ 13568 h 198754"/>
              <a:gd name="T80" fmla="*/ 36167 w 186054"/>
              <a:gd name="T81" fmla="*/ 10962 h 198754"/>
              <a:gd name="T82" fmla="*/ 35338 w 186054"/>
              <a:gd name="T83" fmla="*/ 8193 h 198754"/>
              <a:gd name="T84" fmla="*/ 34562 w 186054"/>
              <a:gd name="T85" fmla="*/ 5456 h 198754"/>
              <a:gd name="T86" fmla="*/ 44436 w 186054"/>
              <a:gd name="T87" fmla="*/ 62 h 198754"/>
              <a:gd name="T88" fmla="*/ 41997 w 186054"/>
              <a:gd name="T89" fmla="*/ 0 h 19875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86054" h="198754">
                <a:moveTo>
                  <a:pt x="185442" y="196223"/>
                </a:moveTo>
                <a:lnTo>
                  <a:pt x="183787" y="197497"/>
                </a:lnTo>
                <a:lnTo>
                  <a:pt x="183638" y="198671"/>
                </a:lnTo>
                <a:lnTo>
                  <a:pt x="185442" y="196223"/>
                </a:lnTo>
                <a:close/>
              </a:path>
              <a:path w="186054" h="198754">
                <a:moveTo>
                  <a:pt x="175202" y="0"/>
                </a:moveTo>
                <a:lnTo>
                  <a:pt x="159436" y="2454"/>
                </a:lnTo>
                <a:lnTo>
                  <a:pt x="143090" y="5746"/>
                </a:lnTo>
                <a:lnTo>
                  <a:pt x="131168" y="8000"/>
                </a:lnTo>
                <a:lnTo>
                  <a:pt x="92306" y="18059"/>
                </a:lnTo>
                <a:lnTo>
                  <a:pt x="87041" y="20508"/>
                </a:lnTo>
                <a:lnTo>
                  <a:pt x="80105" y="22965"/>
                </a:lnTo>
                <a:lnTo>
                  <a:pt x="43414" y="38032"/>
                </a:lnTo>
                <a:lnTo>
                  <a:pt x="0" y="85149"/>
                </a:lnTo>
                <a:lnTo>
                  <a:pt x="5424" y="112130"/>
                </a:lnTo>
                <a:lnTo>
                  <a:pt x="29925" y="138544"/>
                </a:lnTo>
                <a:lnTo>
                  <a:pt x="36714" y="143577"/>
                </a:lnTo>
                <a:lnTo>
                  <a:pt x="44404" y="147353"/>
                </a:lnTo>
                <a:lnTo>
                  <a:pt x="50442" y="152400"/>
                </a:lnTo>
                <a:lnTo>
                  <a:pt x="56336" y="154731"/>
                </a:lnTo>
                <a:lnTo>
                  <a:pt x="63134" y="157975"/>
                </a:lnTo>
                <a:lnTo>
                  <a:pt x="70080" y="161426"/>
                </a:lnTo>
                <a:lnTo>
                  <a:pt x="76416" y="164377"/>
                </a:lnTo>
                <a:lnTo>
                  <a:pt x="83278" y="166956"/>
                </a:lnTo>
                <a:lnTo>
                  <a:pt x="91450" y="169904"/>
                </a:lnTo>
                <a:lnTo>
                  <a:pt x="99044" y="173178"/>
                </a:lnTo>
                <a:lnTo>
                  <a:pt x="104174" y="176733"/>
                </a:lnTo>
                <a:lnTo>
                  <a:pt x="127132" y="183245"/>
                </a:lnTo>
                <a:lnTo>
                  <a:pt x="129155" y="184278"/>
                </a:lnTo>
                <a:lnTo>
                  <a:pt x="130318" y="185300"/>
                </a:lnTo>
                <a:lnTo>
                  <a:pt x="137536" y="186316"/>
                </a:lnTo>
                <a:lnTo>
                  <a:pt x="149107" y="189046"/>
                </a:lnTo>
                <a:lnTo>
                  <a:pt x="160793" y="192286"/>
                </a:lnTo>
                <a:lnTo>
                  <a:pt x="168352" y="194830"/>
                </a:lnTo>
                <a:lnTo>
                  <a:pt x="182907" y="198174"/>
                </a:lnTo>
                <a:lnTo>
                  <a:pt x="183787" y="197497"/>
                </a:lnTo>
                <a:lnTo>
                  <a:pt x="184260" y="193749"/>
                </a:lnTo>
                <a:lnTo>
                  <a:pt x="176731" y="160233"/>
                </a:lnTo>
                <a:lnTo>
                  <a:pt x="169854" y="126321"/>
                </a:lnTo>
                <a:lnTo>
                  <a:pt x="162605" y="91631"/>
                </a:lnTo>
                <a:lnTo>
                  <a:pt x="153960" y="55779"/>
                </a:lnTo>
                <a:lnTo>
                  <a:pt x="150884" y="45063"/>
                </a:lnTo>
                <a:lnTo>
                  <a:pt x="147423" y="33687"/>
                </a:lnTo>
                <a:lnTo>
                  <a:pt x="144186" y="22434"/>
                </a:lnTo>
                <a:lnTo>
                  <a:pt x="185381" y="253"/>
                </a:lnTo>
                <a:lnTo>
                  <a:pt x="17520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75" name="object 8"/>
          <p:cNvSpPr>
            <a:spLocks/>
          </p:cNvSpPr>
          <p:nvPr/>
        </p:nvSpPr>
        <p:spPr bwMode="auto">
          <a:xfrm>
            <a:off x="7204219" y="672550"/>
            <a:ext cx="41678" cy="44042"/>
          </a:xfrm>
          <a:custGeom>
            <a:avLst/>
            <a:gdLst>
              <a:gd name="T0" fmla="*/ 8889 w 64134"/>
              <a:gd name="T1" fmla="*/ 0 h 69215"/>
              <a:gd name="T2" fmla="*/ 35 w 64134"/>
              <a:gd name="T3" fmla="*/ 6290 h 69215"/>
              <a:gd name="T4" fmla="*/ 0 w 64134"/>
              <a:gd name="T5" fmla="*/ 7044 h 69215"/>
              <a:gd name="T6" fmla="*/ 102 w 64134"/>
              <a:gd name="T7" fmla="*/ 9477 h 69215"/>
              <a:gd name="T8" fmla="*/ 1455 w 64134"/>
              <a:gd name="T9" fmla="*/ 12054 h 69215"/>
              <a:gd name="T10" fmla="*/ 3889 w 64134"/>
              <a:gd name="T11" fmla="*/ 13623 h 69215"/>
              <a:gd name="T12" fmla="*/ 7008 w 64134"/>
              <a:gd name="T13" fmla="*/ 14426 h 69215"/>
              <a:gd name="T14" fmla="*/ 10503 w 64134"/>
              <a:gd name="T15" fmla="*/ 14943 h 69215"/>
              <a:gd name="T16" fmla="*/ 14064 w 64134"/>
              <a:gd name="T17" fmla="*/ 15658 h 69215"/>
              <a:gd name="T18" fmla="*/ 17222 w 64134"/>
              <a:gd name="T19" fmla="*/ 13260 h 69215"/>
              <a:gd name="T20" fmla="*/ 15329 w 64134"/>
              <a:gd name="T21" fmla="*/ 12428 h 69215"/>
              <a:gd name="T22" fmla="*/ 15996 w 64134"/>
              <a:gd name="T23" fmla="*/ 11358 h 69215"/>
              <a:gd name="T24" fmla="*/ 7380 w 64134"/>
              <a:gd name="T25" fmla="*/ 11358 h 69215"/>
              <a:gd name="T26" fmla="*/ 5256 w 64134"/>
              <a:gd name="T27" fmla="*/ 9304 h 69215"/>
              <a:gd name="T28" fmla="*/ 4897 w 64134"/>
              <a:gd name="T29" fmla="*/ 6290 h 69215"/>
              <a:gd name="T30" fmla="*/ 6861 w 64134"/>
              <a:gd name="T31" fmla="*/ 3717 h 69215"/>
              <a:gd name="T32" fmla="*/ 10230 w 64134"/>
              <a:gd name="T33" fmla="*/ 3310 h 69215"/>
              <a:gd name="T34" fmla="*/ 16195 w 64134"/>
              <a:gd name="T35" fmla="*/ 3310 h 69215"/>
              <a:gd name="T36" fmla="*/ 15030 w 64134"/>
              <a:gd name="T37" fmla="*/ 1803 h 69215"/>
              <a:gd name="T38" fmla="*/ 12312 w 64134"/>
              <a:gd name="T39" fmla="*/ 483 h 69215"/>
              <a:gd name="T40" fmla="*/ 8889 w 64134"/>
              <a:gd name="T41" fmla="*/ 0 h 69215"/>
              <a:gd name="T42" fmla="*/ 16195 w 64134"/>
              <a:gd name="T43" fmla="*/ 3310 h 69215"/>
              <a:gd name="T44" fmla="*/ 10230 w 64134"/>
              <a:gd name="T45" fmla="*/ 3310 h 69215"/>
              <a:gd name="T46" fmla="*/ 12119 w 64134"/>
              <a:gd name="T47" fmla="*/ 5541 h 69215"/>
              <a:gd name="T48" fmla="*/ 12342 w 64134"/>
              <a:gd name="T49" fmla="*/ 8691 h 69215"/>
              <a:gd name="T50" fmla="*/ 10707 w 64134"/>
              <a:gd name="T51" fmla="*/ 11044 h 69215"/>
              <a:gd name="T52" fmla="*/ 7380 w 64134"/>
              <a:gd name="T53" fmla="*/ 11358 h 69215"/>
              <a:gd name="T54" fmla="*/ 15996 w 64134"/>
              <a:gd name="T55" fmla="*/ 11358 h 69215"/>
              <a:gd name="T56" fmla="*/ 16897 w 64134"/>
              <a:gd name="T57" fmla="*/ 9914 h 69215"/>
              <a:gd name="T58" fmla="*/ 17465 w 64134"/>
              <a:gd name="T59" fmla="*/ 7044 h 69215"/>
              <a:gd name="T60" fmla="*/ 16891 w 64134"/>
              <a:gd name="T61" fmla="*/ 4210 h 69215"/>
              <a:gd name="T62" fmla="*/ 16195 w 64134"/>
              <a:gd name="T63" fmla="*/ 3310 h 6921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64134" h="69215">
                <a:moveTo>
                  <a:pt x="32329" y="0"/>
                </a:moveTo>
                <a:lnTo>
                  <a:pt x="126" y="27556"/>
                </a:lnTo>
                <a:lnTo>
                  <a:pt x="0" y="30863"/>
                </a:lnTo>
                <a:lnTo>
                  <a:pt x="370" y="41517"/>
                </a:lnTo>
                <a:lnTo>
                  <a:pt x="5293" y="52810"/>
                </a:lnTo>
                <a:lnTo>
                  <a:pt x="14143" y="59687"/>
                </a:lnTo>
                <a:lnTo>
                  <a:pt x="25488" y="63204"/>
                </a:lnTo>
                <a:lnTo>
                  <a:pt x="38198" y="65471"/>
                </a:lnTo>
                <a:lnTo>
                  <a:pt x="51146" y="68600"/>
                </a:lnTo>
                <a:lnTo>
                  <a:pt x="62633" y="58094"/>
                </a:lnTo>
                <a:lnTo>
                  <a:pt x="55750" y="54444"/>
                </a:lnTo>
                <a:lnTo>
                  <a:pt x="58177" y="49757"/>
                </a:lnTo>
                <a:lnTo>
                  <a:pt x="26839" y="49757"/>
                </a:lnTo>
                <a:lnTo>
                  <a:pt x="19115" y="40764"/>
                </a:lnTo>
                <a:lnTo>
                  <a:pt x="17807" y="27556"/>
                </a:lnTo>
                <a:lnTo>
                  <a:pt x="24952" y="16287"/>
                </a:lnTo>
                <a:lnTo>
                  <a:pt x="37203" y="14504"/>
                </a:lnTo>
                <a:lnTo>
                  <a:pt x="58899" y="14504"/>
                </a:lnTo>
                <a:lnTo>
                  <a:pt x="54663" y="7900"/>
                </a:lnTo>
                <a:lnTo>
                  <a:pt x="44775" y="2112"/>
                </a:lnTo>
                <a:lnTo>
                  <a:pt x="32329" y="0"/>
                </a:lnTo>
                <a:close/>
              </a:path>
              <a:path w="64134" h="69215">
                <a:moveTo>
                  <a:pt x="58899" y="14504"/>
                </a:moveTo>
                <a:lnTo>
                  <a:pt x="37203" y="14504"/>
                </a:lnTo>
                <a:lnTo>
                  <a:pt x="44078" y="24278"/>
                </a:lnTo>
                <a:lnTo>
                  <a:pt x="44887" y="38079"/>
                </a:lnTo>
                <a:lnTo>
                  <a:pt x="38941" y="48381"/>
                </a:lnTo>
                <a:lnTo>
                  <a:pt x="26839" y="49757"/>
                </a:lnTo>
                <a:lnTo>
                  <a:pt x="58177" y="49757"/>
                </a:lnTo>
                <a:lnTo>
                  <a:pt x="61451" y="43435"/>
                </a:lnTo>
                <a:lnTo>
                  <a:pt x="63517" y="30863"/>
                </a:lnTo>
                <a:lnTo>
                  <a:pt x="61427" y="18445"/>
                </a:lnTo>
                <a:lnTo>
                  <a:pt x="58899" y="145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76" name="object 9"/>
          <p:cNvSpPr>
            <a:spLocks/>
          </p:cNvSpPr>
          <p:nvPr/>
        </p:nvSpPr>
        <p:spPr bwMode="auto">
          <a:xfrm>
            <a:off x="7309010" y="673738"/>
            <a:ext cx="38105" cy="39282"/>
          </a:xfrm>
          <a:custGeom>
            <a:avLst/>
            <a:gdLst>
              <a:gd name="T0" fmla="*/ 9038 w 59690"/>
              <a:gd name="T1" fmla="*/ 0 h 62230"/>
              <a:gd name="T2" fmla="*/ 1932 w 59690"/>
              <a:gd name="T3" fmla="*/ 6345 h 62230"/>
              <a:gd name="T4" fmla="*/ 0 w 59690"/>
              <a:gd name="T5" fmla="*/ 13110 h 62230"/>
              <a:gd name="T6" fmla="*/ 4031 w 59690"/>
              <a:gd name="T7" fmla="*/ 13088 h 62230"/>
              <a:gd name="T8" fmla="*/ 5250 w 59690"/>
              <a:gd name="T9" fmla="*/ 8592 h 62230"/>
              <a:gd name="T10" fmla="*/ 6071 w 59690"/>
              <a:gd name="T11" fmla="*/ 6376 h 62230"/>
              <a:gd name="T12" fmla="*/ 7141 w 59690"/>
              <a:gd name="T13" fmla="*/ 4490 h 62230"/>
              <a:gd name="T14" fmla="*/ 8508 w 59690"/>
              <a:gd name="T15" fmla="*/ 8094 h 62230"/>
              <a:gd name="T16" fmla="*/ 6033 w 59690"/>
              <a:gd name="T17" fmla="*/ 8329 h 62230"/>
              <a:gd name="T18" fmla="*/ 5458 w 59690"/>
              <a:gd name="T19" fmla="*/ 10937 h 62230"/>
              <a:gd name="T20" fmla="*/ 9398 w 59690"/>
              <a:gd name="T21" fmla="*/ 11037 h 62230"/>
              <a:gd name="T22" fmla="*/ 9968 w 59690"/>
              <a:gd name="T23" fmla="*/ 13113 h 62230"/>
              <a:gd name="T24" fmla="*/ 13837 w 59690"/>
              <a:gd name="T25" fmla="*/ 13111 h 62230"/>
              <a:gd name="T26" fmla="*/ 13381 w 59690"/>
              <a:gd name="T27" fmla="*/ 9712 h 62230"/>
              <a:gd name="T28" fmla="*/ 12117 w 59690"/>
              <a:gd name="T29" fmla="*/ 6124 h 62230"/>
              <a:gd name="T30" fmla="*/ 10514 w 59690"/>
              <a:gd name="T31" fmla="*/ 2749 h 62230"/>
              <a:gd name="T32" fmla="*/ 9038 w 59690"/>
              <a:gd name="T33" fmla="*/ 0 h 6223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9690" h="62230">
                <a:moveTo>
                  <a:pt x="38585" y="0"/>
                </a:moveTo>
                <a:lnTo>
                  <a:pt x="8247" y="29877"/>
                </a:lnTo>
                <a:lnTo>
                  <a:pt x="0" y="61732"/>
                </a:lnTo>
                <a:lnTo>
                  <a:pt x="17207" y="61631"/>
                </a:lnTo>
                <a:lnTo>
                  <a:pt x="22411" y="40458"/>
                </a:lnTo>
                <a:lnTo>
                  <a:pt x="25922" y="30025"/>
                </a:lnTo>
                <a:lnTo>
                  <a:pt x="30487" y="21142"/>
                </a:lnTo>
                <a:lnTo>
                  <a:pt x="36320" y="38116"/>
                </a:lnTo>
                <a:lnTo>
                  <a:pt x="25758" y="39221"/>
                </a:lnTo>
                <a:lnTo>
                  <a:pt x="23299" y="51501"/>
                </a:lnTo>
                <a:lnTo>
                  <a:pt x="40121" y="51969"/>
                </a:lnTo>
                <a:lnTo>
                  <a:pt x="42555" y="61747"/>
                </a:lnTo>
                <a:lnTo>
                  <a:pt x="59068" y="61739"/>
                </a:lnTo>
                <a:lnTo>
                  <a:pt x="57128" y="45735"/>
                </a:lnTo>
                <a:lnTo>
                  <a:pt x="51734" y="28833"/>
                </a:lnTo>
                <a:lnTo>
                  <a:pt x="44886" y="12950"/>
                </a:lnTo>
                <a:lnTo>
                  <a:pt x="3858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77" name="object 10"/>
          <p:cNvSpPr>
            <a:spLocks/>
          </p:cNvSpPr>
          <p:nvPr/>
        </p:nvSpPr>
        <p:spPr bwMode="auto">
          <a:xfrm>
            <a:off x="7455476" y="682070"/>
            <a:ext cx="32151" cy="32139"/>
          </a:xfrm>
          <a:custGeom>
            <a:avLst/>
            <a:gdLst>
              <a:gd name="T0" fmla="*/ 8231 w 49529"/>
              <a:gd name="T1" fmla="*/ 0 h 49530"/>
              <a:gd name="T2" fmla="*/ 3175 w 49529"/>
              <a:gd name="T3" fmla="*/ 656 h 49530"/>
              <a:gd name="T4" fmla="*/ 0 w 49529"/>
              <a:gd name="T5" fmla="*/ 4734 h 49530"/>
              <a:gd name="T6" fmla="*/ 865 w 49529"/>
              <a:gd name="T7" fmla="*/ 10658 h 49530"/>
              <a:gd name="T8" fmla="*/ 5161 w 49529"/>
              <a:gd name="T9" fmla="*/ 13376 h 49530"/>
              <a:gd name="T10" fmla="*/ 10237 w 49529"/>
              <a:gd name="T11" fmla="*/ 12709 h 49530"/>
              <a:gd name="T12" fmla="*/ 12343 w 49529"/>
              <a:gd name="T13" fmla="*/ 9921 h 49530"/>
              <a:gd name="T14" fmla="*/ 5635 w 49529"/>
              <a:gd name="T15" fmla="*/ 9921 h 49530"/>
              <a:gd name="T16" fmla="*/ 4339 w 49529"/>
              <a:gd name="T17" fmla="*/ 8004 h 49530"/>
              <a:gd name="T18" fmla="*/ 4258 w 49529"/>
              <a:gd name="T19" fmla="*/ 5424 h 49530"/>
              <a:gd name="T20" fmla="*/ 5627 w 49529"/>
              <a:gd name="T21" fmla="*/ 3477 h 49530"/>
              <a:gd name="T22" fmla="*/ 7931 w 49529"/>
              <a:gd name="T23" fmla="*/ 3405 h 49530"/>
              <a:gd name="T24" fmla="*/ 12648 w 49529"/>
              <a:gd name="T25" fmla="*/ 3405 h 49530"/>
              <a:gd name="T26" fmla="*/ 12529 w 49529"/>
              <a:gd name="T27" fmla="*/ 2645 h 49530"/>
              <a:gd name="T28" fmla="*/ 8231 w 49529"/>
              <a:gd name="T29" fmla="*/ 0 h 49530"/>
              <a:gd name="T30" fmla="*/ 12648 w 49529"/>
              <a:gd name="T31" fmla="*/ 3405 h 49530"/>
              <a:gd name="T32" fmla="*/ 7931 w 49529"/>
              <a:gd name="T33" fmla="*/ 3405 h 49530"/>
              <a:gd name="T34" fmla="*/ 9080 w 49529"/>
              <a:gd name="T35" fmla="*/ 5410 h 49530"/>
              <a:gd name="T36" fmla="*/ 9071 w 49529"/>
              <a:gd name="T37" fmla="*/ 8051 h 49530"/>
              <a:gd name="T38" fmla="*/ 7908 w 49529"/>
              <a:gd name="T39" fmla="*/ 9879 h 49530"/>
              <a:gd name="T40" fmla="*/ 5635 w 49529"/>
              <a:gd name="T41" fmla="*/ 9921 h 49530"/>
              <a:gd name="T42" fmla="*/ 12343 w 49529"/>
              <a:gd name="T43" fmla="*/ 9921 h 49530"/>
              <a:gd name="T44" fmla="*/ 13435 w 49529"/>
              <a:gd name="T45" fmla="*/ 8475 h 49530"/>
              <a:gd name="T46" fmla="*/ 12648 w 49529"/>
              <a:gd name="T47" fmla="*/ 3405 h 4953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9529" h="49530">
                <a:moveTo>
                  <a:pt x="30234" y="0"/>
                </a:moveTo>
                <a:lnTo>
                  <a:pt x="11663" y="2410"/>
                </a:lnTo>
                <a:lnTo>
                  <a:pt x="0" y="17393"/>
                </a:lnTo>
                <a:lnTo>
                  <a:pt x="3174" y="39160"/>
                </a:lnTo>
                <a:lnTo>
                  <a:pt x="18961" y="49149"/>
                </a:lnTo>
                <a:lnTo>
                  <a:pt x="37606" y="46696"/>
                </a:lnTo>
                <a:lnTo>
                  <a:pt x="45341" y="36452"/>
                </a:lnTo>
                <a:lnTo>
                  <a:pt x="20699" y="36452"/>
                </a:lnTo>
                <a:lnTo>
                  <a:pt x="15940" y="29409"/>
                </a:lnTo>
                <a:lnTo>
                  <a:pt x="15640" y="19930"/>
                </a:lnTo>
                <a:lnTo>
                  <a:pt x="20667" y="12774"/>
                </a:lnTo>
                <a:lnTo>
                  <a:pt x="29137" y="12508"/>
                </a:lnTo>
                <a:lnTo>
                  <a:pt x="46460" y="12508"/>
                </a:lnTo>
                <a:lnTo>
                  <a:pt x="46027" y="9721"/>
                </a:lnTo>
                <a:lnTo>
                  <a:pt x="30234" y="0"/>
                </a:lnTo>
                <a:close/>
              </a:path>
              <a:path w="49529" h="49530">
                <a:moveTo>
                  <a:pt x="46460" y="12508"/>
                </a:moveTo>
                <a:lnTo>
                  <a:pt x="29137" y="12508"/>
                </a:lnTo>
                <a:lnTo>
                  <a:pt x="33354" y="19879"/>
                </a:lnTo>
                <a:lnTo>
                  <a:pt x="33322" y="29579"/>
                </a:lnTo>
                <a:lnTo>
                  <a:pt x="29048" y="36299"/>
                </a:lnTo>
                <a:lnTo>
                  <a:pt x="20699" y="36452"/>
                </a:lnTo>
                <a:lnTo>
                  <a:pt x="45341" y="36452"/>
                </a:lnTo>
                <a:lnTo>
                  <a:pt x="49356" y="31134"/>
                </a:lnTo>
                <a:lnTo>
                  <a:pt x="46460" y="1250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78" name="object 11"/>
          <p:cNvSpPr>
            <a:spLocks/>
          </p:cNvSpPr>
          <p:nvPr/>
        </p:nvSpPr>
        <p:spPr bwMode="auto">
          <a:xfrm>
            <a:off x="7248279" y="682070"/>
            <a:ext cx="30960" cy="32139"/>
          </a:xfrm>
          <a:custGeom>
            <a:avLst/>
            <a:gdLst>
              <a:gd name="T0" fmla="*/ 9435 w 46990"/>
              <a:gd name="T1" fmla="*/ 4 h 48894"/>
              <a:gd name="T2" fmla="*/ 1932 w 46990"/>
              <a:gd name="T3" fmla="*/ 0 h 48894"/>
              <a:gd name="T4" fmla="*/ 2024 w 46990"/>
              <a:gd name="T5" fmla="*/ 3772 h 48894"/>
              <a:gd name="T6" fmla="*/ 6132 w 46990"/>
              <a:gd name="T7" fmla="*/ 3264 h 48894"/>
              <a:gd name="T8" fmla="*/ 8593 w 46990"/>
              <a:gd name="T9" fmla="*/ 4320 h 48894"/>
              <a:gd name="T10" fmla="*/ 9646 w 46990"/>
              <a:gd name="T11" fmla="*/ 6894 h 48894"/>
              <a:gd name="T12" fmla="*/ 9531 w 46990"/>
              <a:gd name="T13" fmla="*/ 10935 h 48894"/>
              <a:gd name="T14" fmla="*/ 6728 w 46990"/>
              <a:gd name="T15" fmla="*/ 11077 h 48894"/>
              <a:gd name="T16" fmla="*/ 5561 w 46990"/>
              <a:gd name="T17" fmla="*/ 11524 h 48894"/>
              <a:gd name="T18" fmla="*/ 5176 w 46990"/>
              <a:gd name="T19" fmla="*/ 9207 h 48894"/>
              <a:gd name="T20" fmla="*/ 6400 w 46990"/>
              <a:gd name="T21" fmla="*/ 8187 h 48894"/>
              <a:gd name="T22" fmla="*/ 6712 w 46990"/>
              <a:gd name="T23" fmla="*/ 8456 h 48894"/>
              <a:gd name="T24" fmla="*/ 8840 w 46990"/>
              <a:gd name="T25" fmla="*/ 8375 h 48894"/>
              <a:gd name="T26" fmla="*/ 8208 w 46990"/>
              <a:gd name="T27" fmla="*/ 5407 h 48894"/>
              <a:gd name="T28" fmla="*/ 3021 w 46990"/>
              <a:gd name="T29" fmla="*/ 6081 h 48894"/>
              <a:gd name="T30" fmla="*/ 523 w 46990"/>
              <a:gd name="T31" fmla="*/ 8090 h 48894"/>
              <a:gd name="T32" fmla="*/ 0 w 46990"/>
              <a:gd name="T33" fmla="*/ 10577 h 48894"/>
              <a:gd name="T34" fmla="*/ 739 w 46990"/>
              <a:gd name="T35" fmla="*/ 12687 h 48894"/>
              <a:gd name="T36" fmla="*/ 3070 w 46990"/>
              <a:gd name="T37" fmla="*/ 14082 h 48894"/>
              <a:gd name="T38" fmla="*/ 6830 w 46990"/>
              <a:gd name="T39" fmla="*/ 14720 h 48894"/>
              <a:gd name="T40" fmla="*/ 10980 w 46990"/>
              <a:gd name="T41" fmla="*/ 14790 h 48894"/>
              <a:gd name="T42" fmla="*/ 14477 w 46990"/>
              <a:gd name="T43" fmla="*/ 14477 h 48894"/>
              <a:gd name="T44" fmla="*/ 14624 w 46990"/>
              <a:gd name="T45" fmla="*/ 7255 h 48894"/>
              <a:gd name="T46" fmla="*/ 13304 w 46990"/>
              <a:gd name="T47" fmla="*/ 2427 h 48894"/>
              <a:gd name="T48" fmla="*/ 9435 w 46990"/>
              <a:gd name="T49" fmla="*/ 4 h 4889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6990" h="48894">
                <a:moveTo>
                  <a:pt x="30310" y="11"/>
                </a:moveTo>
                <a:lnTo>
                  <a:pt x="6205" y="0"/>
                </a:lnTo>
                <a:lnTo>
                  <a:pt x="6503" y="12340"/>
                </a:lnTo>
                <a:lnTo>
                  <a:pt x="19701" y="10675"/>
                </a:lnTo>
                <a:lnTo>
                  <a:pt x="27607" y="14132"/>
                </a:lnTo>
                <a:lnTo>
                  <a:pt x="30992" y="22550"/>
                </a:lnTo>
                <a:lnTo>
                  <a:pt x="30624" y="35769"/>
                </a:lnTo>
                <a:lnTo>
                  <a:pt x="21612" y="36230"/>
                </a:lnTo>
                <a:lnTo>
                  <a:pt x="17868" y="37692"/>
                </a:lnTo>
                <a:lnTo>
                  <a:pt x="16630" y="30114"/>
                </a:lnTo>
                <a:lnTo>
                  <a:pt x="20558" y="26776"/>
                </a:lnTo>
                <a:lnTo>
                  <a:pt x="21563" y="27658"/>
                </a:lnTo>
                <a:lnTo>
                  <a:pt x="28399" y="27395"/>
                </a:lnTo>
                <a:lnTo>
                  <a:pt x="26369" y="17686"/>
                </a:lnTo>
                <a:lnTo>
                  <a:pt x="9702" y="19890"/>
                </a:lnTo>
                <a:lnTo>
                  <a:pt x="1677" y="26459"/>
                </a:lnTo>
                <a:lnTo>
                  <a:pt x="0" y="34594"/>
                </a:lnTo>
                <a:lnTo>
                  <a:pt x="2374" y="41497"/>
                </a:lnTo>
                <a:lnTo>
                  <a:pt x="9864" y="46061"/>
                </a:lnTo>
                <a:lnTo>
                  <a:pt x="21945" y="48147"/>
                </a:lnTo>
                <a:lnTo>
                  <a:pt x="35273" y="48370"/>
                </a:lnTo>
                <a:lnTo>
                  <a:pt x="46507" y="47350"/>
                </a:lnTo>
                <a:lnTo>
                  <a:pt x="46981" y="23731"/>
                </a:lnTo>
                <a:lnTo>
                  <a:pt x="42742" y="7936"/>
                </a:lnTo>
                <a:lnTo>
                  <a:pt x="30310" y="1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79" name="object 12"/>
          <p:cNvSpPr>
            <a:spLocks/>
          </p:cNvSpPr>
          <p:nvPr/>
        </p:nvSpPr>
        <p:spPr bwMode="auto">
          <a:xfrm>
            <a:off x="7395937" y="682070"/>
            <a:ext cx="32151" cy="32139"/>
          </a:xfrm>
          <a:custGeom>
            <a:avLst/>
            <a:gdLst>
              <a:gd name="T0" fmla="*/ 5169 w 50800"/>
              <a:gd name="T1" fmla="*/ 0 h 50800"/>
              <a:gd name="T2" fmla="*/ 1461 w 50800"/>
              <a:gd name="T3" fmla="*/ 1612 h 50800"/>
              <a:gd name="T4" fmla="*/ 0 w 50800"/>
              <a:gd name="T5" fmla="*/ 5910 h 50800"/>
              <a:gd name="T6" fmla="*/ 1961 w 50800"/>
              <a:gd name="T7" fmla="*/ 9754 h 50800"/>
              <a:gd name="T8" fmla="*/ 5813 w 50800"/>
              <a:gd name="T9" fmla="*/ 10910 h 50800"/>
              <a:gd name="T10" fmla="*/ 9505 w 50800"/>
              <a:gd name="T11" fmla="*/ 9333 h 50800"/>
              <a:gd name="T12" fmla="*/ 9906 w 50800"/>
              <a:gd name="T13" fmla="*/ 8148 h 50800"/>
              <a:gd name="T14" fmla="*/ 4695 w 50800"/>
              <a:gd name="T15" fmla="*/ 8148 h 50800"/>
              <a:gd name="T16" fmla="*/ 3664 w 50800"/>
              <a:gd name="T17" fmla="*/ 6660 h 50800"/>
              <a:gd name="T18" fmla="*/ 3596 w 50800"/>
              <a:gd name="T19" fmla="*/ 4551 h 50800"/>
              <a:gd name="T20" fmla="*/ 4609 w 50800"/>
              <a:gd name="T21" fmla="*/ 2964 h 50800"/>
              <a:gd name="T22" fmla="*/ 6412 w 50800"/>
              <a:gd name="T23" fmla="*/ 2822 h 50800"/>
              <a:gd name="T24" fmla="*/ 9901 w 50800"/>
              <a:gd name="T25" fmla="*/ 2822 h 50800"/>
              <a:gd name="T26" fmla="*/ 9039 w 50800"/>
              <a:gd name="T27" fmla="*/ 1110 h 50800"/>
              <a:gd name="T28" fmla="*/ 5169 w 50800"/>
              <a:gd name="T29" fmla="*/ 0 h 50800"/>
              <a:gd name="T30" fmla="*/ 9901 w 50800"/>
              <a:gd name="T31" fmla="*/ 2822 h 50800"/>
              <a:gd name="T32" fmla="*/ 6412 w 50800"/>
              <a:gd name="T33" fmla="*/ 2822 h 50800"/>
              <a:gd name="T34" fmla="*/ 7357 w 50800"/>
              <a:gd name="T35" fmla="*/ 4315 h 50800"/>
              <a:gd name="T36" fmla="*/ 7419 w 50800"/>
              <a:gd name="T37" fmla="*/ 6359 h 50800"/>
              <a:gd name="T38" fmla="*/ 6574 w 50800"/>
              <a:gd name="T39" fmla="*/ 7874 h 50800"/>
              <a:gd name="T40" fmla="*/ 4695 w 50800"/>
              <a:gd name="T41" fmla="*/ 8148 h 50800"/>
              <a:gd name="T42" fmla="*/ 9906 w 50800"/>
              <a:gd name="T43" fmla="*/ 8148 h 50800"/>
              <a:gd name="T44" fmla="*/ 10983 w 50800"/>
              <a:gd name="T45" fmla="*/ 4973 h 50800"/>
              <a:gd name="T46" fmla="*/ 9901 w 50800"/>
              <a:gd name="T47" fmla="*/ 2822 h 5080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50800" h="50800">
                <a:moveTo>
                  <a:pt x="23852" y="0"/>
                </a:moveTo>
                <a:lnTo>
                  <a:pt x="6737" y="7437"/>
                </a:lnTo>
                <a:lnTo>
                  <a:pt x="0" y="27270"/>
                </a:lnTo>
                <a:lnTo>
                  <a:pt x="9047" y="45005"/>
                </a:lnTo>
                <a:lnTo>
                  <a:pt x="26824" y="50344"/>
                </a:lnTo>
                <a:lnTo>
                  <a:pt x="43859" y="43065"/>
                </a:lnTo>
                <a:lnTo>
                  <a:pt x="45711" y="37603"/>
                </a:lnTo>
                <a:lnTo>
                  <a:pt x="21667" y="37603"/>
                </a:lnTo>
                <a:lnTo>
                  <a:pt x="16907" y="30734"/>
                </a:lnTo>
                <a:lnTo>
                  <a:pt x="16593" y="21000"/>
                </a:lnTo>
                <a:lnTo>
                  <a:pt x="21264" y="13680"/>
                </a:lnTo>
                <a:lnTo>
                  <a:pt x="29589" y="13023"/>
                </a:lnTo>
                <a:lnTo>
                  <a:pt x="45688" y="13023"/>
                </a:lnTo>
                <a:lnTo>
                  <a:pt x="41710" y="5116"/>
                </a:lnTo>
                <a:lnTo>
                  <a:pt x="23852" y="0"/>
                </a:lnTo>
                <a:close/>
              </a:path>
              <a:path w="50800" h="50800">
                <a:moveTo>
                  <a:pt x="45688" y="13023"/>
                </a:moveTo>
                <a:lnTo>
                  <a:pt x="29589" y="13023"/>
                </a:lnTo>
                <a:lnTo>
                  <a:pt x="33950" y="19910"/>
                </a:lnTo>
                <a:lnTo>
                  <a:pt x="34237" y="29344"/>
                </a:lnTo>
                <a:lnTo>
                  <a:pt x="30336" y="36331"/>
                </a:lnTo>
                <a:lnTo>
                  <a:pt x="21667" y="37603"/>
                </a:lnTo>
                <a:lnTo>
                  <a:pt x="45711" y="37603"/>
                </a:lnTo>
                <a:lnTo>
                  <a:pt x="50680" y="22947"/>
                </a:lnTo>
                <a:lnTo>
                  <a:pt x="45688" y="1302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0" name="object 13"/>
          <p:cNvSpPr>
            <a:spLocks/>
          </p:cNvSpPr>
          <p:nvPr/>
        </p:nvSpPr>
        <p:spPr bwMode="auto">
          <a:xfrm>
            <a:off x="7248281" y="620174"/>
            <a:ext cx="53585" cy="32139"/>
          </a:xfrm>
          <a:custGeom>
            <a:avLst/>
            <a:gdLst>
              <a:gd name="T0" fmla="*/ 3979 w 83820"/>
              <a:gd name="T1" fmla="*/ 0 h 50165"/>
              <a:gd name="T2" fmla="*/ 2500 w 83820"/>
              <a:gd name="T3" fmla="*/ 433 h 50165"/>
              <a:gd name="T4" fmla="*/ 0 w 83820"/>
              <a:gd name="T5" fmla="*/ 1683 h 50165"/>
              <a:gd name="T6" fmla="*/ 1677 w 83820"/>
              <a:gd name="T7" fmla="*/ 3357 h 50165"/>
              <a:gd name="T8" fmla="*/ 10491 w 83820"/>
              <a:gd name="T9" fmla="*/ 9538 h 50165"/>
              <a:gd name="T10" fmla="*/ 11752 w 83820"/>
              <a:gd name="T11" fmla="*/ 10355 h 50165"/>
              <a:gd name="T12" fmla="*/ 14030 w 83820"/>
              <a:gd name="T13" fmla="*/ 12153 h 50165"/>
              <a:gd name="T14" fmla="*/ 15669 w 83820"/>
              <a:gd name="T15" fmla="*/ 11682 h 50165"/>
              <a:gd name="T16" fmla="*/ 19369 w 83820"/>
              <a:gd name="T17" fmla="*/ 9297 h 50165"/>
              <a:gd name="T18" fmla="*/ 19851 w 83820"/>
              <a:gd name="T19" fmla="*/ 8887 h 50165"/>
              <a:gd name="T20" fmla="*/ 13494 w 83820"/>
              <a:gd name="T21" fmla="*/ 5784 h 50165"/>
              <a:gd name="T22" fmla="*/ 10150 w 83820"/>
              <a:gd name="T23" fmla="*/ 3924 h 50165"/>
              <a:gd name="T24" fmla="*/ 8127 w 83820"/>
              <a:gd name="T25" fmla="*/ 2149 h 50165"/>
              <a:gd name="T26" fmla="*/ 7178 w 83820"/>
              <a:gd name="T27" fmla="*/ 1946 h 50165"/>
              <a:gd name="T28" fmla="*/ 7076 w 83820"/>
              <a:gd name="T29" fmla="*/ 1768 h 50165"/>
              <a:gd name="T30" fmla="*/ 5006 w 83820"/>
              <a:gd name="T31" fmla="*/ 255 h 50165"/>
              <a:gd name="T32" fmla="*/ 3979 w 83820"/>
              <a:gd name="T33" fmla="*/ 0 h 50165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83820" h="50165">
                <a:moveTo>
                  <a:pt x="16772" y="0"/>
                </a:moveTo>
                <a:lnTo>
                  <a:pt x="10538" y="1784"/>
                </a:lnTo>
                <a:lnTo>
                  <a:pt x="0" y="6937"/>
                </a:lnTo>
                <a:lnTo>
                  <a:pt x="7070" y="13835"/>
                </a:lnTo>
                <a:lnTo>
                  <a:pt x="44218" y="39301"/>
                </a:lnTo>
                <a:lnTo>
                  <a:pt x="49536" y="42671"/>
                </a:lnTo>
                <a:lnTo>
                  <a:pt x="59137" y="50080"/>
                </a:lnTo>
                <a:lnTo>
                  <a:pt x="66046" y="48132"/>
                </a:lnTo>
                <a:lnTo>
                  <a:pt x="81648" y="38308"/>
                </a:lnTo>
                <a:lnTo>
                  <a:pt x="83679" y="36619"/>
                </a:lnTo>
                <a:lnTo>
                  <a:pt x="56876" y="23834"/>
                </a:lnTo>
                <a:lnTo>
                  <a:pt x="42783" y="16170"/>
                </a:lnTo>
                <a:lnTo>
                  <a:pt x="34258" y="8856"/>
                </a:lnTo>
                <a:lnTo>
                  <a:pt x="30257" y="8017"/>
                </a:lnTo>
                <a:lnTo>
                  <a:pt x="29822" y="7286"/>
                </a:lnTo>
                <a:lnTo>
                  <a:pt x="21104" y="1055"/>
                </a:lnTo>
                <a:lnTo>
                  <a:pt x="1677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1" name="object 14"/>
          <p:cNvSpPr>
            <a:spLocks/>
          </p:cNvSpPr>
          <p:nvPr/>
        </p:nvSpPr>
        <p:spPr bwMode="auto">
          <a:xfrm>
            <a:off x="7282812" y="682073"/>
            <a:ext cx="25007" cy="30949"/>
          </a:xfrm>
          <a:custGeom>
            <a:avLst/>
            <a:gdLst>
              <a:gd name="T0" fmla="*/ 8547 w 39370"/>
              <a:gd name="T1" fmla="*/ 0 h 48259"/>
              <a:gd name="T2" fmla="*/ 354 w 39370"/>
              <a:gd name="T3" fmla="*/ 11 h 48259"/>
              <a:gd name="T4" fmla="*/ 382 w 39370"/>
              <a:gd name="T5" fmla="*/ 3052 h 48259"/>
              <a:gd name="T6" fmla="*/ 3818 w 39370"/>
              <a:gd name="T7" fmla="*/ 3059 h 48259"/>
              <a:gd name="T8" fmla="*/ 2701 w 39370"/>
              <a:gd name="T9" fmla="*/ 5752 h 48259"/>
              <a:gd name="T10" fmla="*/ 1263 w 39370"/>
              <a:gd name="T11" fmla="*/ 7243 h 48259"/>
              <a:gd name="T12" fmla="*/ 148 w 39370"/>
              <a:gd name="T13" fmla="*/ 8803 h 48259"/>
              <a:gd name="T14" fmla="*/ 0 w 39370"/>
              <a:gd name="T15" fmla="*/ 11705 h 48259"/>
              <a:gd name="T16" fmla="*/ 8692 w 39370"/>
              <a:gd name="T17" fmla="*/ 11693 h 48259"/>
              <a:gd name="T18" fmla="*/ 8591 w 39370"/>
              <a:gd name="T19" fmla="*/ 8655 h 48259"/>
              <a:gd name="T20" fmla="*/ 4948 w 39370"/>
              <a:gd name="T21" fmla="*/ 8611 h 48259"/>
              <a:gd name="T22" fmla="*/ 7042 w 39370"/>
              <a:gd name="T23" fmla="*/ 4980 h 48259"/>
              <a:gd name="T24" fmla="*/ 8122 w 39370"/>
              <a:gd name="T25" fmla="*/ 2527 h 48259"/>
              <a:gd name="T26" fmla="*/ 8547 w 39370"/>
              <a:gd name="T27" fmla="*/ 0 h 4825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370" h="48259">
                <a:moveTo>
                  <a:pt x="38181" y="0"/>
                </a:moveTo>
                <a:lnTo>
                  <a:pt x="1579" y="46"/>
                </a:lnTo>
                <a:lnTo>
                  <a:pt x="1706" y="12466"/>
                </a:lnTo>
                <a:lnTo>
                  <a:pt x="17059" y="12495"/>
                </a:lnTo>
                <a:lnTo>
                  <a:pt x="12065" y="23491"/>
                </a:lnTo>
                <a:lnTo>
                  <a:pt x="5641" y="29579"/>
                </a:lnTo>
                <a:lnTo>
                  <a:pt x="660" y="35949"/>
                </a:lnTo>
                <a:lnTo>
                  <a:pt x="0" y="47796"/>
                </a:lnTo>
                <a:lnTo>
                  <a:pt x="38828" y="47743"/>
                </a:lnTo>
                <a:lnTo>
                  <a:pt x="38379" y="35341"/>
                </a:lnTo>
                <a:lnTo>
                  <a:pt x="22104" y="35165"/>
                </a:lnTo>
                <a:lnTo>
                  <a:pt x="31456" y="20336"/>
                </a:lnTo>
                <a:lnTo>
                  <a:pt x="36279" y="10321"/>
                </a:lnTo>
                <a:lnTo>
                  <a:pt x="3818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2" name="object 15"/>
          <p:cNvSpPr>
            <a:spLocks/>
          </p:cNvSpPr>
          <p:nvPr/>
        </p:nvSpPr>
        <p:spPr bwMode="auto">
          <a:xfrm>
            <a:off x="7347114" y="682073"/>
            <a:ext cx="29770" cy="30949"/>
          </a:xfrm>
          <a:custGeom>
            <a:avLst/>
            <a:gdLst>
              <a:gd name="T0" fmla="*/ 12663 w 45720"/>
              <a:gd name="T1" fmla="*/ 9 h 48259"/>
              <a:gd name="T2" fmla="*/ 8730 w 45720"/>
              <a:gd name="T3" fmla="*/ 3 h 48259"/>
              <a:gd name="T4" fmla="*/ 8129 w 45720"/>
              <a:gd name="T5" fmla="*/ 1608 h 48259"/>
              <a:gd name="T6" fmla="*/ 7694 w 45720"/>
              <a:gd name="T7" fmla="*/ 3256 h 48259"/>
              <a:gd name="T8" fmla="*/ 7119 w 45720"/>
              <a:gd name="T9" fmla="*/ 4795 h 48259"/>
              <a:gd name="T10" fmla="*/ 6101 w 45720"/>
              <a:gd name="T11" fmla="*/ 6075 h 48259"/>
              <a:gd name="T12" fmla="*/ 3934 w 45720"/>
              <a:gd name="T13" fmla="*/ 6 h 48259"/>
              <a:gd name="T14" fmla="*/ 0 w 45720"/>
              <a:gd name="T15" fmla="*/ 0 h 48259"/>
              <a:gd name="T16" fmla="*/ 425 w 45720"/>
              <a:gd name="T17" fmla="*/ 2875 h 48259"/>
              <a:gd name="T18" fmla="*/ 1784 w 45720"/>
              <a:gd name="T19" fmla="*/ 6188 h 48259"/>
              <a:gd name="T20" fmla="*/ 3493 w 45720"/>
              <a:gd name="T21" fmla="*/ 9331 h 48259"/>
              <a:gd name="T22" fmla="*/ 4977 w 45720"/>
              <a:gd name="T23" fmla="*/ 11704 h 48259"/>
              <a:gd name="T24" fmla="*/ 7631 w 45720"/>
              <a:gd name="T25" fmla="*/ 11641 h 48259"/>
              <a:gd name="T26" fmla="*/ 9143 w 45720"/>
              <a:gd name="T27" fmla="*/ 9328 h 48259"/>
              <a:gd name="T28" fmla="*/ 10871 w 45720"/>
              <a:gd name="T29" fmla="*/ 6173 h 48259"/>
              <a:gd name="T30" fmla="*/ 12237 w 45720"/>
              <a:gd name="T31" fmla="*/ 2846 h 48259"/>
              <a:gd name="T32" fmla="*/ 12663 w 45720"/>
              <a:gd name="T33" fmla="*/ 9 h 4825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5720" h="48259">
                <a:moveTo>
                  <a:pt x="45245" y="39"/>
                </a:moveTo>
                <a:lnTo>
                  <a:pt x="31191" y="10"/>
                </a:lnTo>
                <a:lnTo>
                  <a:pt x="29045" y="6566"/>
                </a:lnTo>
                <a:lnTo>
                  <a:pt x="27489" y="13295"/>
                </a:lnTo>
                <a:lnTo>
                  <a:pt x="25436" y="19581"/>
                </a:lnTo>
                <a:lnTo>
                  <a:pt x="21798" y="24806"/>
                </a:lnTo>
                <a:lnTo>
                  <a:pt x="14058" y="25"/>
                </a:lnTo>
                <a:lnTo>
                  <a:pt x="0" y="0"/>
                </a:lnTo>
                <a:lnTo>
                  <a:pt x="1520" y="11741"/>
                </a:lnTo>
                <a:lnTo>
                  <a:pt x="6372" y="25265"/>
                </a:lnTo>
                <a:lnTo>
                  <a:pt x="12483" y="38103"/>
                </a:lnTo>
                <a:lnTo>
                  <a:pt x="17783" y="47790"/>
                </a:lnTo>
                <a:lnTo>
                  <a:pt x="27266" y="47537"/>
                </a:lnTo>
                <a:lnTo>
                  <a:pt x="32669" y="38090"/>
                </a:lnTo>
                <a:lnTo>
                  <a:pt x="38841" y="25209"/>
                </a:lnTo>
                <a:lnTo>
                  <a:pt x="43720" y="11618"/>
                </a:lnTo>
                <a:lnTo>
                  <a:pt x="45245" y="3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3" name="object 16"/>
          <p:cNvSpPr>
            <a:spLocks/>
          </p:cNvSpPr>
          <p:nvPr/>
        </p:nvSpPr>
        <p:spPr bwMode="auto">
          <a:xfrm>
            <a:off x="7429278" y="673739"/>
            <a:ext cx="22625" cy="40472"/>
          </a:xfrm>
          <a:custGeom>
            <a:avLst/>
            <a:gdLst>
              <a:gd name="T0" fmla="*/ 10486 w 34290"/>
              <a:gd name="T1" fmla="*/ 0 h 63500"/>
              <a:gd name="T2" fmla="*/ 4991 w 34290"/>
              <a:gd name="T3" fmla="*/ 174 h 63500"/>
              <a:gd name="T4" fmla="*/ 5059 w 34290"/>
              <a:gd name="T5" fmla="*/ 5796 h 63500"/>
              <a:gd name="T6" fmla="*/ 4915 w 34290"/>
              <a:gd name="T7" fmla="*/ 8678 h 63500"/>
              <a:gd name="T8" fmla="*/ 4388 w 34290"/>
              <a:gd name="T9" fmla="*/ 11014 h 63500"/>
              <a:gd name="T10" fmla="*/ 3021 w 34290"/>
              <a:gd name="T11" fmla="*/ 11316 h 63500"/>
              <a:gd name="T12" fmla="*/ 1736 w 34290"/>
              <a:gd name="T13" fmla="*/ 11418 h 63500"/>
              <a:gd name="T14" fmla="*/ 0 w 34290"/>
              <a:gd name="T15" fmla="*/ 11202 h 63500"/>
              <a:gd name="T16" fmla="*/ 133 w 34290"/>
              <a:gd name="T17" fmla="*/ 14358 h 63500"/>
              <a:gd name="T18" fmla="*/ 10582 w 34290"/>
              <a:gd name="T19" fmla="*/ 8595 h 63500"/>
              <a:gd name="T20" fmla="*/ 10640 w 34290"/>
              <a:gd name="T21" fmla="*/ 5585 h 63500"/>
              <a:gd name="T22" fmla="*/ 10486 w 34290"/>
              <a:gd name="T23" fmla="*/ 0 h 635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4290" h="63500">
                <a:moveTo>
                  <a:pt x="33263" y="0"/>
                </a:moveTo>
                <a:lnTo>
                  <a:pt x="15833" y="753"/>
                </a:lnTo>
                <a:lnTo>
                  <a:pt x="16047" y="25024"/>
                </a:lnTo>
                <a:lnTo>
                  <a:pt x="15594" y="37465"/>
                </a:lnTo>
                <a:lnTo>
                  <a:pt x="13920" y="47552"/>
                </a:lnTo>
                <a:lnTo>
                  <a:pt x="9579" y="48855"/>
                </a:lnTo>
                <a:lnTo>
                  <a:pt x="5507" y="49295"/>
                </a:lnTo>
                <a:lnTo>
                  <a:pt x="0" y="48366"/>
                </a:lnTo>
                <a:lnTo>
                  <a:pt x="424" y="61992"/>
                </a:lnTo>
                <a:lnTo>
                  <a:pt x="33568" y="37110"/>
                </a:lnTo>
                <a:lnTo>
                  <a:pt x="33753" y="24114"/>
                </a:lnTo>
                <a:lnTo>
                  <a:pt x="3326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4" name="object 17"/>
          <p:cNvSpPr>
            <a:spLocks/>
          </p:cNvSpPr>
          <p:nvPr/>
        </p:nvSpPr>
        <p:spPr bwMode="auto">
          <a:xfrm>
            <a:off x="7378075" y="674930"/>
            <a:ext cx="15481" cy="38091"/>
          </a:xfrm>
          <a:custGeom>
            <a:avLst/>
            <a:gdLst>
              <a:gd name="T0" fmla="*/ 3144 w 25400"/>
              <a:gd name="T1" fmla="*/ 0 h 59055"/>
              <a:gd name="T2" fmla="*/ 745 w 25400"/>
              <a:gd name="T3" fmla="*/ 50 h 59055"/>
              <a:gd name="T4" fmla="*/ 602 w 25400"/>
              <a:gd name="T5" fmla="*/ 2245 h 59055"/>
              <a:gd name="T6" fmla="*/ 102 w 25400"/>
              <a:gd name="T7" fmla="*/ 3380 h 59055"/>
              <a:gd name="T8" fmla="*/ 0 w 25400"/>
              <a:gd name="T9" fmla="*/ 5369 h 59055"/>
              <a:gd name="T10" fmla="*/ 661 w 25400"/>
              <a:gd name="T11" fmla="*/ 6355 h 59055"/>
              <a:gd name="T12" fmla="*/ 625 w 25400"/>
              <a:gd name="T13" fmla="*/ 6335 h 59055"/>
              <a:gd name="T14" fmla="*/ 726 w 25400"/>
              <a:gd name="T15" fmla="*/ 7265 h 59055"/>
              <a:gd name="T16" fmla="*/ 781 w 25400"/>
              <a:gd name="T17" fmla="*/ 15172 h 59055"/>
              <a:gd name="T18" fmla="*/ 3114 w 25400"/>
              <a:gd name="T19" fmla="*/ 15119 h 59055"/>
              <a:gd name="T20" fmla="*/ 3217 w 25400"/>
              <a:gd name="T21" fmla="*/ 13016 h 59055"/>
              <a:gd name="T22" fmla="*/ 3147 w 25400"/>
              <a:gd name="T23" fmla="*/ 10881 h 59055"/>
              <a:gd name="T24" fmla="*/ 3140 w 25400"/>
              <a:gd name="T25" fmla="*/ 8772 h 59055"/>
              <a:gd name="T26" fmla="*/ 3248 w 25400"/>
              <a:gd name="T27" fmla="*/ 6468 h 59055"/>
              <a:gd name="T28" fmla="*/ 3509 w 25400"/>
              <a:gd name="T29" fmla="*/ 6090 h 59055"/>
              <a:gd name="T30" fmla="*/ 3773 w 25400"/>
              <a:gd name="T31" fmla="*/ 5821 h 59055"/>
              <a:gd name="T32" fmla="*/ 3894 w 25400"/>
              <a:gd name="T33" fmla="*/ 3846 h 59055"/>
              <a:gd name="T34" fmla="*/ 3808 w 25400"/>
              <a:gd name="T35" fmla="*/ 2468 h 59055"/>
              <a:gd name="T36" fmla="*/ 3552 w 25400"/>
              <a:gd name="T37" fmla="*/ 3398 h 59055"/>
              <a:gd name="T38" fmla="*/ 3093 w 25400"/>
              <a:gd name="T39" fmla="*/ 1485 h 59055"/>
              <a:gd name="T40" fmla="*/ 3153 w 25400"/>
              <a:gd name="T41" fmla="*/ 887 h 59055"/>
              <a:gd name="T42" fmla="*/ 3144 w 25400"/>
              <a:gd name="T43" fmla="*/ 0 h 590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25400" h="59055">
                <a:moveTo>
                  <a:pt x="20368" y="0"/>
                </a:moveTo>
                <a:lnTo>
                  <a:pt x="4831" y="194"/>
                </a:lnTo>
                <a:lnTo>
                  <a:pt x="3902" y="8704"/>
                </a:lnTo>
                <a:lnTo>
                  <a:pt x="663" y="13104"/>
                </a:lnTo>
                <a:lnTo>
                  <a:pt x="0" y="20822"/>
                </a:lnTo>
                <a:lnTo>
                  <a:pt x="4276" y="24643"/>
                </a:lnTo>
                <a:lnTo>
                  <a:pt x="4046" y="24563"/>
                </a:lnTo>
                <a:lnTo>
                  <a:pt x="4701" y="28167"/>
                </a:lnTo>
                <a:lnTo>
                  <a:pt x="5060" y="58825"/>
                </a:lnTo>
                <a:lnTo>
                  <a:pt x="20170" y="58623"/>
                </a:lnTo>
                <a:lnTo>
                  <a:pt x="20836" y="50468"/>
                </a:lnTo>
                <a:lnTo>
                  <a:pt x="20389" y="42191"/>
                </a:lnTo>
                <a:lnTo>
                  <a:pt x="20340" y="34013"/>
                </a:lnTo>
                <a:lnTo>
                  <a:pt x="21052" y="25077"/>
                </a:lnTo>
                <a:lnTo>
                  <a:pt x="22735" y="23611"/>
                </a:lnTo>
                <a:lnTo>
                  <a:pt x="24443" y="22570"/>
                </a:lnTo>
                <a:lnTo>
                  <a:pt x="25228" y="14914"/>
                </a:lnTo>
                <a:lnTo>
                  <a:pt x="24671" y="9569"/>
                </a:lnTo>
                <a:lnTo>
                  <a:pt x="23014" y="13176"/>
                </a:lnTo>
                <a:lnTo>
                  <a:pt x="20044" y="5756"/>
                </a:lnTo>
                <a:lnTo>
                  <a:pt x="20433" y="3441"/>
                </a:lnTo>
                <a:lnTo>
                  <a:pt x="2036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5" name="object 18"/>
          <p:cNvSpPr>
            <a:spLocks/>
          </p:cNvSpPr>
          <p:nvPr/>
        </p:nvSpPr>
        <p:spPr bwMode="auto">
          <a:xfrm>
            <a:off x="7492387" y="673738"/>
            <a:ext cx="10718" cy="39282"/>
          </a:xfrm>
          <a:custGeom>
            <a:avLst/>
            <a:gdLst>
              <a:gd name="T0" fmla="*/ 6082 w 15875"/>
              <a:gd name="T1" fmla="*/ 0 h 62230"/>
              <a:gd name="T2" fmla="*/ 0 w 15875"/>
              <a:gd name="T3" fmla="*/ 0 h 62230"/>
              <a:gd name="T4" fmla="*/ 199 w 15875"/>
              <a:gd name="T5" fmla="*/ 13104 h 62230"/>
              <a:gd name="T6" fmla="*/ 6098 w 15875"/>
              <a:gd name="T7" fmla="*/ 13107 h 62230"/>
              <a:gd name="T8" fmla="*/ 6082 w 15875"/>
              <a:gd name="T9" fmla="*/ 0 h 622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5" h="62230">
                <a:moveTo>
                  <a:pt x="15695" y="0"/>
                </a:moveTo>
                <a:lnTo>
                  <a:pt x="0" y="0"/>
                </a:lnTo>
                <a:lnTo>
                  <a:pt x="510" y="61704"/>
                </a:lnTo>
                <a:lnTo>
                  <a:pt x="15735" y="61718"/>
                </a:lnTo>
                <a:lnTo>
                  <a:pt x="15695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6" name="object 19"/>
          <p:cNvSpPr>
            <a:spLocks/>
          </p:cNvSpPr>
          <p:nvPr/>
        </p:nvSpPr>
        <p:spPr bwMode="auto">
          <a:xfrm>
            <a:off x="7228036" y="597558"/>
            <a:ext cx="21434" cy="17855"/>
          </a:xfrm>
          <a:custGeom>
            <a:avLst/>
            <a:gdLst>
              <a:gd name="T0" fmla="*/ 4788 w 33020"/>
              <a:gd name="T1" fmla="*/ 0 h 28575"/>
              <a:gd name="T2" fmla="*/ 0 w 33020"/>
              <a:gd name="T3" fmla="*/ 448 h 28575"/>
              <a:gd name="T4" fmla="*/ 935 w 33020"/>
              <a:gd name="T5" fmla="*/ 1898 h 28575"/>
              <a:gd name="T6" fmla="*/ 2021 w 33020"/>
              <a:gd name="T7" fmla="*/ 3228 h 28575"/>
              <a:gd name="T8" fmla="*/ 3274 w 33020"/>
              <a:gd name="T9" fmla="*/ 4427 h 28575"/>
              <a:gd name="T10" fmla="*/ 4709 w 33020"/>
              <a:gd name="T11" fmla="*/ 5473 h 28575"/>
              <a:gd name="T12" fmla="*/ 8933 w 33020"/>
              <a:gd name="T13" fmla="*/ 4085 h 28575"/>
              <a:gd name="T14" fmla="*/ 6796 w 33020"/>
              <a:gd name="T15" fmla="*/ 2236 h 28575"/>
              <a:gd name="T16" fmla="*/ 5684 w 33020"/>
              <a:gd name="T17" fmla="*/ 1186 h 28575"/>
              <a:gd name="T18" fmla="*/ 4788 w 33020"/>
              <a:gd name="T19" fmla="*/ 0 h 2857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020" h="28575">
                <a:moveTo>
                  <a:pt x="17593" y="0"/>
                </a:moveTo>
                <a:lnTo>
                  <a:pt x="0" y="2313"/>
                </a:lnTo>
                <a:lnTo>
                  <a:pt x="3432" y="9788"/>
                </a:lnTo>
                <a:lnTo>
                  <a:pt x="7423" y="16659"/>
                </a:lnTo>
                <a:lnTo>
                  <a:pt x="12027" y="22838"/>
                </a:lnTo>
                <a:lnTo>
                  <a:pt x="17297" y="28234"/>
                </a:lnTo>
                <a:lnTo>
                  <a:pt x="32816" y="21070"/>
                </a:lnTo>
                <a:lnTo>
                  <a:pt x="24965" y="11533"/>
                </a:lnTo>
                <a:lnTo>
                  <a:pt x="20883" y="6112"/>
                </a:lnTo>
                <a:lnTo>
                  <a:pt x="1759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7" name="object 20"/>
          <p:cNvSpPr>
            <a:spLocks/>
          </p:cNvSpPr>
          <p:nvPr/>
        </p:nvSpPr>
        <p:spPr bwMode="auto">
          <a:xfrm>
            <a:off x="7225655" y="568988"/>
            <a:ext cx="11908" cy="21426"/>
          </a:xfrm>
          <a:custGeom>
            <a:avLst/>
            <a:gdLst>
              <a:gd name="T0" fmla="*/ 1428 w 19050"/>
              <a:gd name="T1" fmla="*/ 0 h 33654"/>
              <a:gd name="T2" fmla="*/ 283 w 19050"/>
              <a:gd name="T3" fmla="*/ 3368 h 33654"/>
              <a:gd name="T4" fmla="*/ 0 w 19050"/>
              <a:gd name="T5" fmla="*/ 5117 h 33654"/>
              <a:gd name="T6" fmla="*/ 8 w 19050"/>
              <a:gd name="T7" fmla="*/ 7632 h 33654"/>
              <a:gd name="T8" fmla="*/ 3023 w 19050"/>
              <a:gd name="T9" fmla="*/ 7286 h 33654"/>
              <a:gd name="T10" fmla="*/ 2858 w 19050"/>
              <a:gd name="T11" fmla="*/ 5208 h 33654"/>
              <a:gd name="T12" fmla="*/ 2945 w 19050"/>
              <a:gd name="T13" fmla="*/ 3797 h 33654"/>
              <a:gd name="T14" fmla="*/ 3616 w 19050"/>
              <a:gd name="T15" fmla="*/ 671 h 33654"/>
              <a:gd name="T16" fmla="*/ 1428 w 19050"/>
              <a:gd name="T17" fmla="*/ 0 h 3365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9050" h="33654">
                <a:moveTo>
                  <a:pt x="7364" y="0"/>
                </a:moveTo>
                <a:lnTo>
                  <a:pt x="1460" y="14684"/>
                </a:lnTo>
                <a:lnTo>
                  <a:pt x="0" y="22311"/>
                </a:lnTo>
                <a:lnTo>
                  <a:pt x="38" y="33271"/>
                </a:lnTo>
                <a:lnTo>
                  <a:pt x="15591" y="31766"/>
                </a:lnTo>
                <a:lnTo>
                  <a:pt x="14747" y="22703"/>
                </a:lnTo>
                <a:lnTo>
                  <a:pt x="15196" y="16552"/>
                </a:lnTo>
                <a:lnTo>
                  <a:pt x="18654" y="2927"/>
                </a:lnTo>
                <a:lnTo>
                  <a:pt x="7364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088" name="object 21"/>
          <p:cNvSpPr>
            <a:spLocks/>
          </p:cNvSpPr>
          <p:nvPr/>
        </p:nvSpPr>
        <p:spPr bwMode="auto">
          <a:xfrm>
            <a:off x="7236371" y="553514"/>
            <a:ext cx="15480" cy="10713"/>
          </a:xfrm>
          <a:custGeom>
            <a:avLst/>
            <a:gdLst>
              <a:gd name="T0" fmla="*/ 2987 w 25400"/>
              <a:gd name="T1" fmla="*/ 0 h 17779"/>
              <a:gd name="T2" fmla="*/ 1960 w 25400"/>
              <a:gd name="T3" fmla="*/ 332 h 17779"/>
              <a:gd name="T4" fmla="*/ 466 w 25400"/>
              <a:gd name="T5" fmla="*/ 1560 h 17779"/>
              <a:gd name="T6" fmla="*/ 0 w 25400"/>
              <a:gd name="T7" fmla="*/ 2220 h 17779"/>
              <a:gd name="T8" fmla="*/ 1512 w 25400"/>
              <a:gd name="T9" fmla="*/ 2477 h 17779"/>
              <a:gd name="T10" fmla="*/ 2410 w 25400"/>
              <a:gd name="T11" fmla="*/ 1680 h 17779"/>
              <a:gd name="T12" fmla="*/ 2966 w 25400"/>
              <a:gd name="T13" fmla="*/ 1077 h 17779"/>
              <a:gd name="T14" fmla="*/ 3832 w 25400"/>
              <a:gd name="T15" fmla="*/ 321 h 17779"/>
              <a:gd name="T16" fmla="*/ 2987 w 25400"/>
              <a:gd name="T17" fmla="*/ 0 h 1777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5400" h="17779">
                <a:moveTo>
                  <a:pt x="19367" y="0"/>
                </a:moveTo>
                <a:lnTo>
                  <a:pt x="12703" y="2376"/>
                </a:lnTo>
                <a:lnTo>
                  <a:pt x="3023" y="11160"/>
                </a:lnTo>
                <a:lnTo>
                  <a:pt x="0" y="15887"/>
                </a:lnTo>
                <a:lnTo>
                  <a:pt x="9798" y="17720"/>
                </a:lnTo>
                <a:lnTo>
                  <a:pt x="15619" y="12028"/>
                </a:lnTo>
                <a:lnTo>
                  <a:pt x="19220" y="7705"/>
                </a:lnTo>
                <a:lnTo>
                  <a:pt x="24839" y="2297"/>
                </a:lnTo>
                <a:lnTo>
                  <a:pt x="19367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3191" name="object 109"/>
          <p:cNvSpPr txBox="1">
            <a:spLocks noChangeArrowheads="1"/>
          </p:cNvSpPr>
          <p:nvPr/>
        </p:nvSpPr>
        <p:spPr bwMode="auto">
          <a:xfrm>
            <a:off x="21210" y="411510"/>
            <a:ext cx="5163294" cy="60734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22351" rIns="0" bIns="0">
            <a:spAutoFit/>
          </a:bodyPr>
          <a:lstStyle>
            <a:lvl1pPr marL="9525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defTabSz="697774" fontAlgn="base">
              <a:spcBef>
                <a:spcPct val="0"/>
              </a:spcBef>
              <a:spcAft>
                <a:spcPct val="0"/>
              </a:spcAft>
            </a:pPr>
            <a:r>
              <a:rPr lang="kk-KZ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ғы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altLang="ru-RU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701</a:t>
            </a:r>
            <a:r>
              <a:rPr lang="ru-RU" altLang="ru-RU" sz="20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ru-RU" alt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ормативті</a:t>
            </a:r>
            <a:r>
              <a:rPr lang="ru-RU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дағы</a:t>
            </a:r>
            <a:r>
              <a:rPr lang="ru-RU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ілер</a:t>
            </a:r>
            <a:r>
              <a:rPr lang="ru-RU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74 (69%)</a:t>
            </a:r>
          </a:p>
        </p:txBody>
      </p:sp>
      <p:sp>
        <p:nvSpPr>
          <p:cNvPr id="69" name="object 104"/>
          <p:cNvSpPr txBox="1">
            <a:spLocks noChangeArrowheads="1"/>
          </p:cNvSpPr>
          <p:nvPr/>
        </p:nvSpPr>
        <p:spPr bwMode="auto">
          <a:xfrm>
            <a:off x="2484771" y="2334196"/>
            <a:ext cx="645744" cy="252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049" rIns="0" bIns="0">
            <a:spAutoFit/>
          </a:bodyPr>
          <a:lstStyle>
            <a:lvl1pPr marL="190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ts val="85"/>
              </a:spcBef>
            </a:pPr>
            <a:r>
              <a:rPr lang="ru-RU" altLang="ru-RU" sz="500" b="1" u="sng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ытау</a:t>
            </a:r>
            <a:endParaRPr lang="ru-RU" altLang="ru-RU" sz="5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85"/>
              </a:spcBef>
            </a:pPr>
            <a:r>
              <a:rPr lang="ru-RU" altLang="ru-RU" sz="10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11(50%)</a:t>
            </a:r>
          </a:p>
        </p:txBody>
      </p:sp>
      <p:sp>
        <p:nvSpPr>
          <p:cNvPr id="76" name="object 104"/>
          <p:cNvSpPr txBox="1">
            <a:spLocks noChangeArrowheads="1"/>
          </p:cNvSpPr>
          <p:nvPr/>
        </p:nvSpPr>
        <p:spPr bwMode="auto">
          <a:xfrm>
            <a:off x="3922603" y="2478212"/>
            <a:ext cx="499687" cy="252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049" rIns="0" bIns="0">
            <a:spAutoFit/>
          </a:bodyPr>
          <a:lstStyle>
            <a:lvl1pPr marL="190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ts val="85"/>
              </a:spcBef>
            </a:pPr>
            <a:r>
              <a:rPr lang="ru-RU" altLang="ru-RU" sz="5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ысуская</a:t>
            </a:r>
          </a:p>
          <a:p>
            <a:pPr algn="ctr">
              <a:spcBef>
                <a:spcPts val="85"/>
              </a:spcBef>
            </a:pPr>
            <a:r>
              <a:rPr lang="en-US" altLang="ru-RU" sz="10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2</a:t>
            </a:r>
            <a:r>
              <a:rPr lang="ru-RU" altLang="ru-RU" sz="1000" b="1" dirty="0">
                <a:solidFill>
                  <a:srgbClr val="C00000"/>
                </a:solidFill>
                <a:latin typeface="Arial Narrow" pitchFamily="34" charset="0"/>
                <a:cs typeface="Arial" panose="020B0604020202020204" pitchFamily="34" charset="0"/>
              </a:rPr>
              <a:t>2(54%)</a:t>
            </a:r>
          </a:p>
        </p:txBody>
      </p:sp>
      <p:sp>
        <p:nvSpPr>
          <p:cNvPr id="2" name="Полилиния 1"/>
          <p:cNvSpPr/>
          <p:nvPr/>
        </p:nvSpPr>
        <p:spPr>
          <a:xfrm>
            <a:off x="2972600" y="2063272"/>
            <a:ext cx="370133" cy="639154"/>
          </a:xfrm>
          <a:custGeom>
            <a:avLst/>
            <a:gdLst>
              <a:gd name="connsiteX0" fmla="*/ 0 w 673100"/>
              <a:gd name="connsiteY0" fmla="*/ 0 h 711200"/>
              <a:gd name="connsiteX1" fmla="*/ 31750 w 673100"/>
              <a:gd name="connsiteY1" fmla="*/ 25400 h 711200"/>
              <a:gd name="connsiteX2" fmla="*/ 50800 w 673100"/>
              <a:gd name="connsiteY2" fmla="*/ 38100 h 711200"/>
              <a:gd name="connsiteX3" fmla="*/ 95250 w 673100"/>
              <a:gd name="connsiteY3" fmla="*/ 44450 h 711200"/>
              <a:gd name="connsiteX4" fmla="*/ 114300 w 673100"/>
              <a:gd name="connsiteY4" fmla="*/ 95250 h 711200"/>
              <a:gd name="connsiteX5" fmla="*/ 171450 w 673100"/>
              <a:gd name="connsiteY5" fmla="*/ 127000 h 711200"/>
              <a:gd name="connsiteX6" fmla="*/ 203200 w 673100"/>
              <a:gd name="connsiteY6" fmla="*/ 165100 h 711200"/>
              <a:gd name="connsiteX7" fmla="*/ 247650 w 673100"/>
              <a:gd name="connsiteY7" fmla="*/ 190500 h 711200"/>
              <a:gd name="connsiteX8" fmla="*/ 285750 w 673100"/>
              <a:gd name="connsiteY8" fmla="*/ 222250 h 711200"/>
              <a:gd name="connsiteX9" fmla="*/ 444500 w 673100"/>
              <a:gd name="connsiteY9" fmla="*/ 209550 h 711200"/>
              <a:gd name="connsiteX10" fmla="*/ 469900 w 673100"/>
              <a:gd name="connsiteY10" fmla="*/ 196850 h 711200"/>
              <a:gd name="connsiteX11" fmla="*/ 488950 w 673100"/>
              <a:gd name="connsiteY11" fmla="*/ 190500 h 711200"/>
              <a:gd name="connsiteX12" fmla="*/ 501650 w 673100"/>
              <a:gd name="connsiteY12" fmla="*/ 171450 h 711200"/>
              <a:gd name="connsiteX13" fmla="*/ 565150 w 673100"/>
              <a:gd name="connsiteY13" fmla="*/ 177800 h 711200"/>
              <a:gd name="connsiteX14" fmla="*/ 577850 w 673100"/>
              <a:gd name="connsiteY14" fmla="*/ 196850 h 711200"/>
              <a:gd name="connsiteX15" fmla="*/ 590550 w 673100"/>
              <a:gd name="connsiteY15" fmla="*/ 254000 h 711200"/>
              <a:gd name="connsiteX16" fmla="*/ 603250 w 673100"/>
              <a:gd name="connsiteY16" fmla="*/ 279400 h 711200"/>
              <a:gd name="connsiteX17" fmla="*/ 647700 w 673100"/>
              <a:gd name="connsiteY17" fmla="*/ 304800 h 711200"/>
              <a:gd name="connsiteX18" fmla="*/ 666750 w 673100"/>
              <a:gd name="connsiteY18" fmla="*/ 323850 h 711200"/>
              <a:gd name="connsiteX19" fmla="*/ 673100 w 673100"/>
              <a:gd name="connsiteY19" fmla="*/ 342900 h 711200"/>
              <a:gd name="connsiteX20" fmla="*/ 654050 w 673100"/>
              <a:gd name="connsiteY20" fmla="*/ 400050 h 711200"/>
              <a:gd name="connsiteX21" fmla="*/ 603250 w 673100"/>
              <a:gd name="connsiteY21" fmla="*/ 393700 h 711200"/>
              <a:gd name="connsiteX22" fmla="*/ 609600 w 673100"/>
              <a:gd name="connsiteY22" fmla="*/ 412750 h 711200"/>
              <a:gd name="connsiteX23" fmla="*/ 635000 w 673100"/>
              <a:gd name="connsiteY23" fmla="*/ 419100 h 711200"/>
              <a:gd name="connsiteX24" fmla="*/ 647700 w 673100"/>
              <a:gd name="connsiteY24" fmla="*/ 488950 h 711200"/>
              <a:gd name="connsiteX25" fmla="*/ 635000 w 673100"/>
              <a:gd name="connsiteY25" fmla="*/ 527050 h 711200"/>
              <a:gd name="connsiteX26" fmla="*/ 641350 w 673100"/>
              <a:gd name="connsiteY26" fmla="*/ 603250 h 711200"/>
              <a:gd name="connsiteX27" fmla="*/ 654050 w 673100"/>
              <a:gd name="connsiteY27" fmla="*/ 622300 h 711200"/>
              <a:gd name="connsiteX28" fmla="*/ 654050 w 673100"/>
              <a:gd name="connsiteY28" fmla="*/ 711200 h 71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73100" h="711200">
                <a:moveTo>
                  <a:pt x="0" y="0"/>
                </a:moveTo>
                <a:cubicBezTo>
                  <a:pt x="10583" y="8467"/>
                  <a:pt x="20907" y="17268"/>
                  <a:pt x="31750" y="25400"/>
                </a:cubicBezTo>
                <a:cubicBezTo>
                  <a:pt x="37855" y="29979"/>
                  <a:pt x="43490" y="35907"/>
                  <a:pt x="50800" y="38100"/>
                </a:cubicBezTo>
                <a:cubicBezTo>
                  <a:pt x="65136" y="42401"/>
                  <a:pt x="80433" y="42333"/>
                  <a:pt x="95250" y="44450"/>
                </a:cubicBezTo>
                <a:cubicBezTo>
                  <a:pt x="98665" y="54695"/>
                  <a:pt x="110250" y="90694"/>
                  <a:pt x="114300" y="95250"/>
                </a:cubicBezTo>
                <a:cubicBezTo>
                  <a:pt x="132687" y="115935"/>
                  <a:pt x="149007" y="119519"/>
                  <a:pt x="171450" y="127000"/>
                </a:cubicBezTo>
                <a:cubicBezTo>
                  <a:pt x="183937" y="145731"/>
                  <a:pt x="184865" y="149821"/>
                  <a:pt x="203200" y="165100"/>
                </a:cubicBezTo>
                <a:cubicBezTo>
                  <a:pt x="220077" y="179164"/>
                  <a:pt x="227888" y="179208"/>
                  <a:pt x="247650" y="190500"/>
                </a:cubicBezTo>
                <a:cubicBezTo>
                  <a:pt x="268278" y="202288"/>
                  <a:pt x="268239" y="204739"/>
                  <a:pt x="285750" y="222250"/>
                </a:cubicBezTo>
                <a:cubicBezTo>
                  <a:pt x="288048" y="222129"/>
                  <a:pt x="408624" y="220313"/>
                  <a:pt x="444500" y="209550"/>
                </a:cubicBezTo>
                <a:cubicBezTo>
                  <a:pt x="453567" y="206830"/>
                  <a:pt x="461199" y="200579"/>
                  <a:pt x="469900" y="196850"/>
                </a:cubicBezTo>
                <a:cubicBezTo>
                  <a:pt x="476052" y="194213"/>
                  <a:pt x="482600" y="192617"/>
                  <a:pt x="488950" y="190500"/>
                </a:cubicBezTo>
                <a:cubicBezTo>
                  <a:pt x="493183" y="184150"/>
                  <a:pt x="494122" y="172705"/>
                  <a:pt x="501650" y="171450"/>
                </a:cubicBezTo>
                <a:cubicBezTo>
                  <a:pt x="522633" y="167953"/>
                  <a:pt x="544969" y="171073"/>
                  <a:pt x="565150" y="177800"/>
                </a:cubicBezTo>
                <a:cubicBezTo>
                  <a:pt x="572390" y="180213"/>
                  <a:pt x="574437" y="190024"/>
                  <a:pt x="577850" y="196850"/>
                </a:cubicBezTo>
                <a:cubicBezTo>
                  <a:pt x="588202" y="217554"/>
                  <a:pt x="583233" y="229611"/>
                  <a:pt x="590550" y="254000"/>
                </a:cubicBezTo>
                <a:cubicBezTo>
                  <a:pt x="593270" y="263067"/>
                  <a:pt x="597190" y="272128"/>
                  <a:pt x="603250" y="279400"/>
                </a:cubicBezTo>
                <a:cubicBezTo>
                  <a:pt x="612073" y="289987"/>
                  <a:pt x="637929" y="297821"/>
                  <a:pt x="647700" y="304800"/>
                </a:cubicBezTo>
                <a:cubicBezTo>
                  <a:pt x="655008" y="310020"/>
                  <a:pt x="660400" y="317500"/>
                  <a:pt x="666750" y="323850"/>
                </a:cubicBezTo>
                <a:cubicBezTo>
                  <a:pt x="668867" y="330200"/>
                  <a:pt x="673100" y="336207"/>
                  <a:pt x="673100" y="342900"/>
                </a:cubicBezTo>
                <a:cubicBezTo>
                  <a:pt x="673100" y="377121"/>
                  <a:pt x="669384" y="377049"/>
                  <a:pt x="654050" y="400050"/>
                </a:cubicBezTo>
                <a:cubicBezTo>
                  <a:pt x="637117" y="397933"/>
                  <a:pt x="619659" y="389012"/>
                  <a:pt x="603250" y="393700"/>
                </a:cubicBezTo>
                <a:cubicBezTo>
                  <a:pt x="596814" y="395539"/>
                  <a:pt x="604373" y="408569"/>
                  <a:pt x="609600" y="412750"/>
                </a:cubicBezTo>
                <a:cubicBezTo>
                  <a:pt x="616415" y="418202"/>
                  <a:pt x="626533" y="416983"/>
                  <a:pt x="635000" y="419100"/>
                </a:cubicBezTo>
                <a:cubicBezTo>
                  <a:pt x="660419" y="452992"/>
                  <a:pt x="659239" y="438946"/>
                  <a:pt x="647700" y="488950"/>
                </a:cubicBezTo>
                <a:cubicBezTo>
                  <a:pt x="644690" y="501994"/>
                  <a:pt x="635000" y="527050"/>
                  <a:pt x="635000" y="527050"/>
                </a:cubicBezTo>
                <a:cubicBezTo>
                  <a:pt x="637117" y="552450"/>
                  <a:pt x="636351" y="578257"/>
                  <a:pt x="641350" y="603250"/>
                </a:cubicBezTo>
                <a:cubicBezTo>
                  <a:pt x="642847" y="610734"/>
                  <a:pt x="653158" y="614721"/>
                  <a:pt x="654050" y="622300"/>
                </a:cubicBezTo>
                <a:cubicBezTo>
                  <a:pt x="657512" y="651730"/>
                  <a:pt x="654050" y="681567"/>
                  <a:pt x="654050" y="711200"/>
                </a:cubicBezTo>
              </a:path>
            </a:pathLst>
          </a:cu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3784547" y="2534238"/>
            <a:ext cx="688507" cy="551109"/>
          </a:xfrm>
          <a:custGeom>
            <a:avLst/>
            <a:gdLst>
              <a:gd name="connsiteX0" fmla="*/ 0 w 711200"/>
              <a:gd name="connsiteY0" fmla="*/ 0 h 548681"/>
              <a:gd name="connsiteX1" fmla="*/ 38100 w 711200"/>
              <a:gd name="connsiteY1" fmla="*/ 25400 h 548681"/>
              <a:gd name="connsiteX2" fmla="*/ 88900 w 711200"/>
              <a:gd name="connsiteY2" fmla="*/ 82550 h 548681"/>
              <a:gd name="connsiteX3" fmla="*/ 82550 w 711200"/>
              <a:gd name="connsiteY3" fmla="*/ 120650 h 548681"/>
              <a:gd name="connsiteX4" fmla="*/ 82550 w 711200"/>
              <a:gd name="connsiteY4" fmla="*/ 190500 h 548681"/>
              <a:gd name="connsiteX5" fmla="*/ 120650 w 711200"/>
              <a:gd name="connsiteY5" fmla="*/ 215900 h 548681"/>
              <a:gd name="connsiteX6" fmla="*/ 146050 w 711200"/>
              <a:gd name="connsiteY6" fmla="*/ 228600 h 548681"/>
              <a:gd name="connsiteX7" fmla="*/ 165100 w 711200"/>
              <a:gd name="connsiteY7" fmla="*/ 234950 h 548681"/>
              <a:gd name="connsiteX8" fmla="*/ 203200 w 711200"/>
              <a:gd name="connsiteY8" fmla="*/ 266700 h 548681"/>
              <a:gd name="connsiteX9" fmla="*/ 215900 w 711200"/>
              <a:gd name="connsiteY9" fmla="*/ 285750 h 548681"/>
              <a:gd name="connsiteX10" fmla="*/ 234950 w 711200"/>
              <a:gd name="connsiteY10" fmla="*/ 298450 h 548681"/>
              <a:gd name="connsiteX11" fmla="*/ 279400 w 711200"/>
              <a:gd name="connsiteY11" fmla="*/ 361950 h 548681"/>
              <a:gd name="connsiteX12" fmla="*/ 292100 w 711200"/>
              <a:gd name="connsiteY12" fmla="*/ 387350 h 548681"/>
              <a:gd name="connsiteX13" fmla="*/ 317500 w 711200"/>
              <a:gd name="connsiteY13" fmla="*/ 444500 h 548681"/>
              <a:gd name="connsiteX14" fmla="*/ 336550 w 711200"/>
              <a:gd name="connsiteY14" fmla="*/ 450850 h 548681"/>
              <a:gd name="connsiteX15" fmla="*/ 355600 w 711200"/>
              <a:gd name="connsiteY15" fmla="*/ 463550 h 548681"/>
              <a:gd name="connsiteX16" fmla="*/ 374650 w 711200"/>
              <a:gd name="connsiteY16" fmla="*/ 482600 h 548681"/>
              <a:gd name="connsiteX17" fmla="*/ 412750 w 711200"/>
              <a:gd name="connsiteY17" fmla="*/ 508000 h 548681"/>
              <a:gd name="connsiteX18" fmla="*/ 431800 w 711200"/>
              <a:gd name="connsiteY18" fmla="*/ 520700 h 548681"/>
              <a:gd name="connsiteX19" fmla="*/ 457200 w 711200"/>
              <a:gd name="connsiteY19" fmla="*/ 527050 h 548681"/>
              <a:gd name="connsiteX20" fmla="*/ 476250 w 711200"/>
              <a:gd name="connsiteY20" fmla="*/ 539750 h 548681"/>
              <a:gd name="connsiteX21" fmla="*/ 609600 w 711200"/>
              <a:gd name="connsiteY21" fmla="*/ 539750 h 548681"/>
              <a:gd name="connsiteX22" fmla="*/ 711200 w 711200"/>
              <a:gd name="connsiteY22" fmla="*/ 527050 h 548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11200" h="548681">
                <a:moveTo>
                  <a:pt x="0" y="0"/>
                </a:moveTo>
                <a:cubicBezTo>
                  <a:pt x="12700" y="8467"/>
                  <a:pt x="26374" y="15629"/>
                  <a:pt x="38100" y="25400"/>
                </a:cubicBezTo>
                <a:cubicBezTo>
                  <a:pt x="70722" y="52585"/>
                  <a:pt x="70858" y="55487"/>
                  <a:pt x="88900" y="82550"/>
                </a:cubicBezTo>
                <a:cubicBezTo>
                  <a:pt x="86783" y="95250"/>
                  <a:pt x="85075" y="108025"/>
                  <a:pt x="82550" y="120650"/>
                </a:cubicBezTo>
                <a:cubicBezTo>
                  <a:pt x="76554" y="150630"/>
                  <a:pt x="68133" y="154458"/>
                  <a:pt x="82550" y="190500"/>
                </a:cubicBezTo>
                <a:cubicBezTo>
                  <a:pt x="90811" y="211154"/>
                  <a:pt x="104650" y="209043"/>
                  <a:pt x="120650" y="215900"/>
                </a:cubicBezTo>
                <a:cubicBezTo>
                  <a:pt x="129351" y="219629"/>
                  <a:pt x="137349" y="224871"/>
                  <a:pt x="146050" y="228600"/>
                </a:cubicBezTo>
                <a:cubicBezTo>
                  <a:pt x="152202" y="231237"/>
                  <a:pt x="159113" y="231957"/>
                  <a:pt x="165100" y="234950"/>
                </a:cubicBezTo>
                <a:cubicBezTo>
                  <a:pt x="179371" y="242086"/>
                  <a:pt x="193169" y="254663"/>
                  <a:pt x="203200" y="266700"/>
                </a:cubicBezTo>
                <a:cubicBezTo>
                  <a:pt x="208086" y="272563"/>
                  <a:pt x="210504" y="280354"/>
                  <a:pt x="215900" y="285750"/>
                </a:cubicBezTo>
                <a:cubicBezTo>
                  <a:pt x="221296" y="291146"/>
                  <a:pt x="229554" y="293054"/>
                  <a:pt x="234950" y="298450"/>
                </a:cubicBezTo>
                <a:cubicBezTo>
                  <a:pt x="242914" y="306414"/>
                  <a:pt x="277325" y="357801"/>
                  <a:pt x="279400" y="361950"/>
                </a:cubicBezTo>
                <a:cubicBezTo>
                  <a:pt x="283633" y="370417"/>
                  <a:pt x="288584" y="378561"/>
                  <a:pt x="292100" y="387350"/>
                </a:cubicBezTo>
                <a:cubicBezTo>
                  <a:pt x="297122" y="399905"/>
                  <a:pt x="303127" y="433002"/>
                  <a:pt x="317500" y="444500"/>
                </a:cubicBezTo>
                <a:cubicBezTo>
                  <a:pt x="322727" y="448681"/>
                  <a:pt x="330563" y="447857"/>
                  <a:pt x="336550" y="450850"/>
                </a:cubicBezTo>
                <a:cubicBezTo>
                  <a:pt x="343376" y="454263"/>
                  <a:pt x="349737" y="458664"/>
                  <a:pt x="355600" y="463550"/>
                </a:cubicBezTo>
                <a:cubicBezTo>
                  <a:pt x="362499" y="469299"/>
                  <a:pt x="367561" y="477087"/>
                  <a:pt x="374650" y="482600"/>
                </a:cubicBezTo>
                <a:cubicBezTo>
                  <a:pt x="386698" y="491971"/>
                  <a:pt x="400050" y="499533"/>
                  <a:pt x="412750" y="508000"/>
                </a:cubicBezTo>
                <a:cubicBezTo>
                  <a:pt x="419100" y="512233"/>
                  <a:pt x="424396" y="518849"/>
                  <a:pt x="431800" y="520700"/>
                </a:cubicBezTo>
                <a:lnTo>
                  <a:pt x="457200" y="527050"/>
                </a:lnTo>
                <a:cubicBezTo>
                  <a:pt x="463550" y="531283"/>
                  <a:pt x="469424" y="536337"/>
                  <a:pt x="476250" y="539750"/>
                </a:cubicBezTo>
                <a:cubicBezTo>
                  <a:pt x="514925" y="559088"/>
                  <a:pt x="583110" y="541222"/>
                  <a:pt x="609600" y="539750"/>
                </a:cubicBezTo>
                <a:cubicBezTo>
                  <a:pt x="667780" y="520357"/>
                  <a:pt x="634313" y="527050"/>
                  <a:pt x="711200" y="527050"/>
                </a:cubicBezTo>
              </a:path>
            </a:pathLst>
          </a:cu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75" name="object 104"/>
          <p:cNvSpPr txBox="1">
            <a:spLocks noChangeArrowheads="1"/>
          </p:cNvSpPr>
          <p:nvPr/>
        </p:nvSpPr>
        <p:spPr bwMode="auto">
          <a:xfrm>
            <a:off x="3957038" y="1987302"/>
            <a:ext cx="516015" cy="252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049" rIns="0" bIns="0">
            <a:spAutoFit/>
          </a:bodyPr>
          <a:lstStyle>
            <a:lvl1pPr marL="190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ts val="85"/>
              </a:spcBef>
            </a:pPr>
            <a:r>
              <a: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ай</a:t>
            </a:r>
          </a:p>
          <a:p>
            <a:pPr algn="ctr">
              <a:spcBef>
                <a:spcPts val="85"/>
              </a:spcBef>
            </a:pPr>
            <a:r>
              <a:rPr lang="ru-RU" altLang="ru-RU" sz="1000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49(66%)</a:t>
            </a:r>
          </a:p>
        </p:txBody>
      </p:sp>
      <p:sp>
        <p:nvSpPr>
          <p:cNvPr id="77" name="object 104"/>
          <p:cNvSpPr txBox="1">
            <a:spLocks noChangeArrowheads="1"/>
          </p:cNvSpPr>
          <p:nvPr/>
        </p:nvSpPr>
        <p:spPr bwMode="auto">
          <a:xfrm>
            <a:off x="4520828" y="1793554"/>
            <a:ext cx="576763" cy="252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9049" rIns="0" bIns="0">
            <a:spAutoFit/>
          </a:bodyPr>
          <a:lstStyle>
            <a:lvl1pPr marL="190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ts val="85"/>
              </a:spcBef>
            </a:pPr>
            <a:r>
              <a:rPr lang="ru-RU" altLang="ru-RU" sz="5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-</a:t>
            </a:r>
            <a:r>
              <a:rPr lang="ru-RU" altLang="ru-RU" sz="5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endParaRPr lang="ru-RU" altLang="ru-RU" sz="5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85"/>
              </a:spcBef>
            </a:pPr>
            <a:r>
              <a:rPr lang="ru-RU" altLang="ru-RU" sz="1000" b="1" dirty="0">
                <a:solidFill>
                  <a:srgbClr val="002060"/>
                </a:solidFill>
                <a:latin typeface="Arial Narrow" pitchFamily="34" charset="0"/>
                <a:cs typeface="Arial" panose="020B0604020202020204" pitchFamily="34" charset="0"/>
              </a:rPr>
              <a:t>36(60%)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6387" y="1025146"/>
            <a:ext cx="1448952" cy="421268"/>
          </a:xfrm>
          <a:prstGeom prst="rect">
            <a:avLst/>
          </a:prstGeom>
          <a:noFill/>
        </p:spPr>
        <p:txBody>
          <a:bodyPr wrap="square" lIns="51434" tIns="25717" rIns="51434" bIns="25717" rtlCol="0">
            <a:spAutoFit/>
          </a:bodyPr>
          <a:lstStyle/>
          <a:p>
            <a:pPr marL="128588" indent="-128588">
              <a:lnSpc>
                <a:spcPct val="150000"/>
              </a:lnSpc>
              <a:buFont typeface="Wingdings" pitchFamily="2" charset="2"/>
              <a:buChar char="q"/>
            </a:pPr>
            <a:r>
              <a:rPr lang="ru-RU" sz="800" b="1" u="sng" dirty="0" err="1">
                <a:solidFill>
                  <a:srgbClr val="1D8A4A"/>
                </a:solidFill>
                <a:latin typeface="Arial" pitchFamily="34" charset="0"/>
                <a:cs typeface="Arial" pitchFamily="34" charset="0"/>
              </a:rPr>
              <a:t>Көшбасшы</a:t>
            </a:r>
            <a:r>
              <a:rPr lang="ru-RU" sz="800" b="1" u="sng" dirty="0">
                <a:solidFill>
                  <a:srgbClr val="1D8A4A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b="1" u="sng" dirty="0" err="1">
                <a:solidFill>
                  <a:srgbClr val="1D8A4A"/>
                </a:solidFill>
                <a:latin typeface="Arial" pitchFamily="34" charset="0"/>
                <a:cs typeface="Arial" pitchFamily="34" charset="0"/>
              </a:rPr>
              <a:t>аудандар</a:t>
            </a:r>
            <a:endParaRPr lang="ru-RU" sz="800" b="1" u="sng" dirty="0">
              <a:solidFill>
                <a:srgbClr val="1D8A4A"/>
              </a:solidFill>
              <a:latin typeface="Arial" pitchFamily="34" charset="0"/>
              <a:cs typeface="Arial" pitchFamily="34" charset="0"/>
            </a:endParaRPr>
          </a:p>
          <a:p>
            <a:pPr marL="128588" indent="-128588">
              <a:lnSpc>
                <a:spcPct val="150000"/>
              </a:lnSpc>
              <a:buFont typeface="Wingdings" pitchFamily="2" charset="2"/>
              <a:buChar char="q"/>
            </a:pPr>
            <a:r>
              <a:rPr lang="ru-RU" sz="800" b="1" u="sng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Артта</a:t>
            </a:r>
            <a:r>
              <a:rPr lang="ru-RU" sz="800" b="1" u="sng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b="1" u="sng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қалған</a:t>
            </a:r>
            <a:r>
              <a:rPr lang="ru-RU" sz="800" b="1" u="sng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800" b="1" u="sng" dirty="0" err="1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аудандар</a:t>
            </a:r>
            <a:endParaRPr lang="ru-RU" sz="800" b="1" u="sng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8523" y="4702596"/>
            <a:ext cx="9149038" cy="500137"/>
          </a:xfrm>
          <a:prstGeom prst="rect">
            <a:avLst/>
          </a:prstGeom>
          <a:solidFill>
            <a:srgbClr val="00B050"/>
          </a:solidFill>
          <a:ln w="12700">
            <a:solidFill>
              <a:srgbClr val="00B050"/>
            </a:solidFill>
          </a:ln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 ЖОЛДАРДЫ 2025 ЖЫЛДЫҢ СОҢЫНА ДЕЙІН ҰЛТТЫҚ СТАНДАРТҚА СӘЙКЕС КЕЛЕТІН ЖОЛ БОЙЫНДАҒЫ СЕРВИС ОБЪЕКТІЛЕРІМЕН ҚАМТАМАСЫЗ ЕТУ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3561" y="-1886"/>
            <a:ext cx="9107341" cy="341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ЖОЛ БОЙЫНДАҒЫ СЕРВИСТІ ДАМЫТУ</a:t>
            </a: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3561" y="339502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Picture 2" descr="C:\Users\ruslan.moldagaipov\Desktop\33df03d1-5aea-482b-b66d-9d7edf395b01.jp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7" y="4011910"/>
            <a:ext cx="1113420" cy="606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6669668" y="2387029"/>
            <a:ext cx="2451234" cy="152400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wrap="square" lIns="91438" tIns="45719" rIns="91438" bIns="45719">
            <a:spAutoFit/>
          </a:bodyPr>
          <a:lstStyle/>
          <a:p>
            <a:pPr algn="ctr">
              <a:lnSpc>
                <a:spcPct val="150000"/>
              </a:lnSpc>
              <a:spcBef>
                <a:spcPts val="450"/>
              </a:spcBef>
              <a:tabLst>
                <a:tab pos="2756297" algn="l"/>
              </a:tabLst>
            </a:pP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лттық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ператор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ПС салу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ңейту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часкелерін</a:t>
            </a: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еру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>
            <a:off x="5288652" y="432522"/>
            <a:ext cx="0" cy="422746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336" y="4011910"/>
            <a:ext cx="1116560" cy="606755"/>
          </a:xfrm>
          <a:prstGeom prst="rect">
            <a:avLst/>
          </a:prstGeom>
        </p:spPr>
      </p:pic>
      <p:pic>
        <p:nvPicPr>
          <p:cNvPr id="80" name="Picture 2" descr="Президент Казахстана утвердил Административный процедурно-процессуальный  кодекс | Inbusiness.kz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154" y="3190195"/>
            <a:ext cx="1289480" cy="767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/>
          <p:cNvSpPr/>
          <p:nvPr/>
        </p:nvSpPr>
        <p:spPr>
          <a:xfrm>
            <a:off x="6661634" y="477711"/>
            <a:ext cx="2459268" cy="1661991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wrap="square" lIns="91438" tIns="45719" rIns="91438" bIns="45719">
            <a:spAutoFit/>
          </a:bodyPr>
          <a:lstStyle/>
          <a:p>
            <a:pPr algn="ctr" defTabSz="69777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kk-KZ" alt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лық желінің нормативті қажеттілігі</a:t>
            </a:r>
            <a:endParaRPr lang="ru-RU" altLang="ru-RU" sz="16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97774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200</a:t>
            </a:r>
            <a:r>
              <a:rPr lang="ru-RU" altLang="ru-RU" sz="16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ъект</a:t>
            </a:r>
            <a:endParaRPr lang="ru-RU" alt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object 48"/>
          <p:cNvSpPr/>
          <p:nvPr/>
        </p:nvSpPr>
        <p:spPr>
          <a:xfrm>
            <a:off x="5322700" y="843558"/>
            <a:ext cx="1305548" cy="8390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>
            <a:solidFill>
              <a:srgbClr val="002060"/>
            </a:solidFill>
          </a:ln>
        </p:spPr>
        <p:txBody>
          <a:bodyPr wrap="square" lIns="0" tIns="0" rIns="0" bIns="0" rtlCol="0"/>
          <a:lstStyle/>
          <a:p>
            <a:endParaRPr>
              <a:latin typeface="Arial Narrow" panose="020B0606020202030204" pitchFamily="34" charset="0"/>
            </a:endParaRPr>
          </a:p>
        </p:txBody>
      </p:sp>
      <p:sp>
        <p:nvSpPr>
          <p:cNvPr id="7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3" y="4876006"/>
            <a:ext cx="2057797" cy="273350"/>
          </a:xfrm>
        </p:spPr>
        <p:txBody>
          <a:bodyPr/>
          <a:lstStyle/>
          <a:p>
            <a:pPr>
              <a:defRPr/>
            </a:pPr>
            <a:r>
              <a:rPr lang="kk-KZ" dirty="0"/>
              <a:t>11</a:t>
            </a:r>
            <a:endParaRPr lang="ru-RU" dirty="0"/>
          </a:p>
        </p:txBody>
      </p:sp>
      <p:sp>
        <p:nvSpPr>
          <p:cNvPr id="4" name="object 26">
            <a:extLst>
              <a:ext uri="{FF2B5EF4-FFF2-40B4-BE49-F238E27FC236}">
                <a16:creationId xmlns:a16="http://schemas.microsoft.com/office/drawing/2014/main" id="{F98F13BA-052E-199D-A675-E506A633DC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22619" y="3748360"/>
            <a:ext cx="2997725" cy="911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0821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algn="ctr" defTabSz="697774" eaLnBrk="1" fontAlgn="base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200" b="1" u="sng" dirty="0">
                <a:solidFill>
                  <a:srgbClr val="002060"/>
                </a:solidFill>
                <a:latin typeface="Arial" pitchFamily="34" charset="0"/>
              </a:rPr>
              <a:t>2022 </a:t>
            </a:r>
            <a:r>
              <a:rPr lang="ru-RU" altLang="ru-RU" sz="1200" b="1" u="sng" dirty="0" err="1">
                <a:solidFill>
                  <a:srgbClr val="002060"/>
                </a:solidFill>
                <a:latin typeface="Arial" pitchFamily="34" charset="0"/>
              </a:rPr>
              <a:t>жылдың</a:t>
            </a:r>
            <a:r>
              <a:rPr lang="ru-RU" altLang="ru-RU" sz="1200" b="1" u="sng" dirty="0">
                <a:solidFill>
                  <a:srgbClr val="002060"/>
                </a:solidFill>
                <a:latin typeface="Arial" pitchFamily="34" charset="0"/>
              </a:rPr>
              <a:t> </a:t>
            </a:r>
          </a:p>
          <a:p>
            <a:pPr marL="171450" indent="-171450" algn="ctr" defTabSz="697774" eaLnBrk="1" fontAlgn="base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объектілердің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1200" b="1" dirty="0">
                <a:solidFill>
                  <a:srgbClr val="008000"/>
                </a:solidFill>
                <a:latin typeface="Arial" pitchFamily="34" charset="0"/>
              </a:rPr>
              <a:t>74%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- норматив </a:t>
            </a: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нормативтік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жай-күйге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келтіру</a:t>
            </a:r>
            <a:endParaRPr lang="ru-RU" sz="1050" b="1" dirty="0">
              <a:solidFill>
                <a:srgbClr val="002060"/>
              </a:solidFill>
              <a:latin typeface="Arial" pitchFamily="34" charset="0"/>
            </a:endParaRPr>
          </a:p>
          <a:p>
            <a:pPr marL="171450" indent="-171450" algn="ctr" defTabSz="697774" eaLnBrk="1" fontAlgn="base" hangingPunct="1">
              <a:lnSpc>
                <a:spcPts val="18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Ø"/>
            </a:pPr>
            <a:r>
              <a:rPr lang="ru-RU" sz="1200" b="1" dirty="0">
                <a:solidFill>
                  <a:srgbClr val="008000"/>
                </a:solidFill>
                <a:latin typeface="Arial" pitchFamily="34" charset="0"/>
              </a:rPr>
              <a:t>66 </a:t>
            </a: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нысанның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itchFamily="34" charset="0"/>
              </a:rPr>
              <a:t>құрылысы</a:t>
            </a:r>
            <a:r>
              <a:rPr lang="ru-RU" sz="1050" b="1" dirty="0">
                <a:solidFill>
                  <a:srgbClr val="002060"/>
                </a:solidFill>
                <a:latin typeface="Arial" pitchFamily="34" charset="0"/>
              </a:rPr>
              <a:t> (ЖМҚС, СГУ)</a:t>
            </a:r>
          </a:p>
        </p:txBody>
      </p:sp>
    </p:spTree>
    <p:extLst>
      <p:ext uri="{BB962C8B-B14F-4D97-AF65-F5344CB8AC3E}">
        <p14:creationId xmlns:p14="http://schemas.microsoft.com/office/powerpoint/2010/main" val="295413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Группа 20"/>
          <p:cNvGrpSpPr/>
          <p:nvPr/>
        </p:nvGrpSpPr>
        <p:grpSpPr>
          <a:xfrm>
            <a:off x="167217" y="663812"/>
            <a:ext cx="8850611" cy="3831959"/>
            <a:chOff x="3218668" y="690261"/>
            <a:chExt cx="5789930" cy="3177633"/>
          </a:xfrm>
        </p:grpSpPr>
        <p:grpSp>
          <p:nvGrpSpPr>
            <p:cNvPr id="22" name="Группа 21"/>
            <p:cNvGrpSpPr/>
            <p:nvPr/>
          </p:nvGrpSpPr>
          <p:grpSpPr>
            <a:xfrm>
              <a:off x="3218668" y="690261"/>
              <a:ext cx="5789930" cy="3177633"/>
              <a:chOff x="1385821" y="1963639"/>
              <a:chExt cx="12347707" cy="6849357"/>
            </a:xfrm>
          </p:grpSpPr>
          <p:sp>
            <p:nvSpPr>
              <p:cNvPr id="37" name="Freeform 15">
                <a:extLst>
                  <a:ext uri="{FF2B5EF4-FFF2-40B4-BE49-F238E27FC236}">
                    <a16:creationId xmlns:a16="http://schemas.microsoft.com/office/drawing/2014/main" id="{E2BF61ED-ADFC-4204-8291-4B16CEACA0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5367" y="3776755"/>
                <a:ext cx="4689345" cy="2550575"/>
              </a:xfrm>
              <a:custGeom>
                <a:avLst/>
                <a:gdLst/>
                <a:ahLst/>
                <a:cxnLst>
                  <a:cxn ang="0">
                    <a:pos x="526" y="161"/>
                  </a:cxn>
                  <a:cxn ang="0">
                    <a:pos x="593" y="163"/>
                  </a:cxn>
                  <a:cxn ang="0">
                    <a:pos x="623" y="107"/>
                  </a:cxn>
                  <a:cxn ang="0">
                    <a:pos x="710" y="103"/>
                  </a:cxn>
                  <a:cxn ang="0">
                    <a:pos x="748" y="79"/>
                  </a:cxn>
                  <a:cxn ang="0">
                    <a:pos x="778" y="32"/>
                  </a:cxn>
                  <a:cxn ang="0">
                    <a:pos x="818" y="13"/>
                  </a:cxn>
                  <a:cxn ang="0">
                    <a:pos x="853" y="41"/>
                  </a:cxn>
                  <a:cxn ang="0">
                    <a:pos x="890" y="68"/>
                  </a:cxn>
                  <a:cxn ang="0">
                    <a:pos x="920" y="88"/>
                  </a:cxn>
                  <a:cxn ang="0">
                    <a:pos x="935" y="116"/>
                  </a:cxn>
                  <a:cxn ang="0">
                    <a:pos x="991" y="107"/>
                  </a:cxn>
                  <a:cxn ang="0">
                    <a:pos x="1039" y="91"/>
                  </a:cxn>
                  <a:cxn ang="0">
                    <a:pos x="1073" y="50"/>
                  </a:cxn>
                  <a:cxn ang="0">
                    <a:pos x="1123" y="43"/>
                  </a:cxn>
                  <a:cxn ang="0">
                    <a:pos x="1130" y="95"/>
                  </a:cxn>
                  <a:cxn ang="0">
                    <a:pos x="1136" y="164"/>
                  </a:cxn>
                  <a:cxn ang="0">
                    <a:pos x="1138" y="223"/>
                  </a:cxn>
                  <a:cxn ang="0">
                    <a:pos x="1135" y="284"/>
                  </a:cxn>
                  <a:cxn ang="0">
                    <a:pos x="1154" y="337"/>
                  </a:cxn>
                  <a:cxn ang="0">
                    <a:pos x="1151" y="404"/>
                  </a:cxn>
                  <a:cxn ang="0">
                    <a:pos x="1174" y="451"/>
                  </a:cxn>
                  <a:cxn ang="0">
                    <a:pos x="1204" y="463"/>
                  </a:cxn>
                  <a:cxn ang="0">
                    <a:pos x="1195" y="508"/>
                  </a:cxn>
                  <a:cxn ang="0">
                    <a:pos x="994" y="503"/>
                  </a:cxn>
                  <a:cxn ang="0">
                    <a:pos x="946" y="548"/>
                  </a:cxn>
                  <a:cxn ang="0">
                    <a:pos x="911" y="590"/>
                  </a:cxn>
                  <a:cxn ang="0">
                    <a:pos x="904" y="614"/>
                  </a:cxn>
                  <a:cxn ang="0">
                    <a:pos x="835" y="628"/>
                  </a:cxn>
                  <a:cxn ang="0">
                    <a:pos x="764" y="647"/>
                  </a:cxn>
                  <a:cxn ang="0">
                    <a:pos x="664" y="649"/>
                  </a:cxn>
                  <a:cxn ang="0">
                    <a:pos x="575" y="641"/>
                  </a:cxn>
                  <a:cxn ang="0">
                    <a:pos x="538" y="661"/>
                  </a:cxn>
                  <a:cxn ang="0">
                    <a:pos x="428" y="658"/>
                  </a:cxn>
                  <a:cxn ang="0">
                    <a:pos x="302" y="655"/>
                  </a:cxn>
                  <a:cxn ang="0">
                    <a:pos x="220" y="626"/>
                  </a:cxn>
                  <a:cxn ang="0">
                    <a:pos x="151" y="584"/>
                  </a:cxn>
                  <a:cxn ang="0">
                    <a:pos x="92" y="571"/>
                  </a:cxn>
                  <a:cxn ang="0">
                    <a:pos x="37" y="550"/>
                  </a:cxn>
                  <a:cxn ang="0">
                    <a:pos x="26" y="509"/>
                  </a:cxn>
                  <a:cxn ang="0">
                    <a:pos x="68" y="469"/>
                  </a:cxn>
                  <a:cxn ang="0">
                    <a:pos x="107" y="431"/>
                  </a:cxn>
                  <a:cxn ang="0">
                    <a:pos x="112" y="400"/>
                  </a:cxn>
                  <a:cxn ang="0">
                    <a:pos x="140" y="352"/>
                  </a:cxn>
                  <a:cxn ang="0">
                    <a:pos x="196" y="314"/>
                  </a:cxn>
                  <a:cxn ang="0">
                    <a:pos x="250" y="284"/>
                  </a:cxn>
                  <a:cxn ang="0">
                    <a:pos x="296" y="245"/>
                  </a:cxn>
                  <a:cxn ang="0">
                    <a:pos x="349" y="208"/>
                  </a:cxn>
                  <a:cxn ang="0">
                    <a:pos x="386" y="161"/>
                  </a:cxn>
                  <a:cxn ang="0">
                    <a:pos x="407" y="109"/>
                  </a:cxn>
                  <a:cxn ang="0">
                    <a:pos x="454" y="128"/>
                  </a:cxn>
                  <a:cxn ang="0">
                    <a:pos x="484" y="166"/>
                  </a:cxn>
                </a:cxnLst>
                <a:rect l="0" t="0" r="r" b="b"/>
                <a:pathLst>
                  <a:path w="1213" h="668">
                    <a:moveTo>
                      <a:pt x="484" y="166"/>
                    </a:moveTo>
                    <a:cubicBezTo>
                      <a:pt x="488" y="168"/>
                      <a:pt x="492" y="173"/>
                      <a:pt x="496" y="173"/>
                    </a:cubicBezTo>
                    <a:cubicBezTo>
                      <a:pt x="500" y="173"/>
                      <a:pt x="504" y="169"/>
                      <a:pt x="509" y="167"/>
                    </a:cubicBezTo>
                    <a:cubicBezTo>
                      <a:pt x="514" y="165"/>
                      <a:pt x="519" y="163"/>
                      <a:pt x="526" y="161"/>
                    </a:cubicBezTo>
                    <a:cubicBezTo>
                      <a:pt x="533" y="159"/>
                      <a:pt x="541" y="155"/>
                      <a:pt x="548" y="155"/>
                    </a:cubicBezTo>
                    <a:cubicBezTo>
                      <a:pt x="555" y="155"/>
                      <a:pt x="565" y="159"/>
                      <a:pt x="571" y="161"/>
                    </a:cubicBezTo>
                    <a:cubicBezTo>
                      <a:pt x="577" y="163"/>
                      <a:pt x="582" y="170"/>
                      <a:pt x="586" y="170"/>
                    </a:cubicBezTo>
                    <a:cubicBezTo>
                      <a:pt x="590" y="170"/>
                      <a:pt x="590" y="165"/>
                      <a:pt x="593" y="163"/>
                    </a:cubicBezTo>
                    <a:cubicBezTo>
                      <a:pt x="596" y="161"/>
                      <a:pt x="604" y="163"/>
                      <a:pt x="607" y="160"/>
                    </a:cubicBezTo>
                    <a:cubicBezTo>
                      <a:pt x="610" y="157"/>
                      <a:pt x="611" y="148"/>
                      <a:pt x="613" y="143"/>
                    </a:cubicBezTo>
                    <a:cubicBezTo>
                      <a:pt x="615" y="138"/>
                      <a:pt x="615" y="134"/>
                      <a:pt x="617" y="128"/>
                    </a:cubicBezTo>
                    <a:lnTo>
                      <a:pt x="623" y="107"/>
                    </a:lnTo>
                    <a:cubicBezTo>
                      <a:pt x="626" y="101"/>
                      <a:pt x="632" y="95"/>
                      <a:pt x="638" y="92"/>
                    </a:cubicBezTo>
                    <a:cubicBezTo>
                      <a:pt x="644" y="89"/>
                      <a:pt x="652" y="87"/>
                      <a:pt x="659" y="86"/>
                    </a:cubicBezTo>
                    <a:cubicBezTo>
                      <a:pt x="666" y="85"/>
                      <a:pt x="671" y="85"/>
                      <a:pt x="679" y="88"/>
                    </a:cubicBezTo>
                    <a:cubicBezTo>
                      <a:pt x="687" y="91"/>
                      <a:pt x="703" y="100"/>
                      <a:pt x="710" y="103"/>
                    </a:cubicBezTo>
                    <a:cubicBezTo>
                      <a:pt x="717" y="106"/>
                      <a:pt x="718" y="107"/>
                      <a:pt x="722" y="106"/>
                    </a:cubicBezTo>
                    <a:cubicBezTo>
                      <a:pt x="726" y="105"/>
                      <a:pt x="730" y="100"/>
                      <a:pt x="733" y="97"/>
                    </a:cubicBezTo>
                    <a:cubicBezTo>
                      <a:pt x="736" y="94"/>
                      <a:pt x="741" y="92"/>
                      <a:pt x="743" y="89"/>
                    </a:cubicBezTo>
                    <a:cubicBezTo>
                      <a:pt x="745" y="86"/>
                      <a:pt x="746" y="82"/>
                      <a:pt x="748" y="79"/>
                    </a:cubicBezTo>
                    <a:cubicBezTo>
                      <a:pt x="750" y="76"/>
                      <a:pt x="756" y="76"/>
                      <a:pt x="758" y="73"/>
                    </a:cubicBezTo>
                    <a:cubicBezTo>
                      <a:pt x="760" y="70"/>
                      <a:pt x="757" y="63"/>
                      <a:pt x="760" y="59"/>
                    </a:cubicBezTo>
                    <a:cubicBezTo>
                      <a:pt x="763" y="55"/>
                      <a:pt x="776" y="50"/>
                      <a:pt x="779" y="46"/>
                    </a:cubicBezTo>
                    <a:cubicBezTo>
                      <a:pt x="782" y="42"/>
                      <a:pt x="777" y="34"/>
                      <a:pt x="778" y="32"/>
                    </a:cubicBezTo>
                    <a:cubicBezTo>
                      <a:pt x="779" y="30"/>
                      <a:pt x="783" y="33"/>
                      <a:pt x="788" y="31"/>
                    </a:cubicBezTo>
                    <a:cubicBezTo>
                      <a:pt x="793" y="29"/>
                      <a:pt x="802" y="20"/>
                      <a:pt x="806" y="20"/>
                    </a:cubicBezTo>
                    <a:cubicBezTo>
                      <a:pt x="810" y="20"/>
                      <a:pt x="809" y="30"/>
                      <a:pt x="811" y="29"/>
                    </a:cubicBezTo>
                    <a:cubicBezTo>
                      <a:pt x="813" y="28"/>
                      <a:pt x="814" y="18"/>
                      <a:pt x="818" y="13"/>
                    </a:cubicBezTo>
                    <a:cubicBezTo>
                      <a:pt x="822" y="8"/>
                      <a:pt x="834" y="2"/>
                      <a:pt x="838" y="1"/>
                    </a:cubicBezTo>
                    <a:cubicBezTo>
                      <a:pt x="842" y="0"/>
                      <a:pt x="841" y="4"/>
                      <a:pt x="844" y="8"/>
                    </a:cubicBezTo>
                    <a:cubicBezTo>
                      <a:pt x="847" y="12"/>
                      <a:pt x="855" y="21"/>
                      <a:pt x="856" y="26"/>
                    </a:cubicBezTo>
                    <a:cubicBezTo>
                      <a:pt x="857" y="31"/>
                      <a:pt x="852" y="36"/>
                      <a:pt x="853" y="41"/>
                    </a:cubicBezTo>
                    <a:cubicBezTo>
                      <a:pt x="854" y="46"/>
                      <a:pt x="857" y="51"/>
                      <a:pt x="860" y="55"/>
                    </a:cubicBezTo>
                    <a:cubicBezTo>
                      <a:pt x="863" y="59"/>
                      <a:pt x="865" y="66"/>
                      <a:pt x="868" y="67"/>
                    </a:cubicBezTo>
                    <a:cubicBezTo>
                      <a:pt x="871" y="68"/>
                      <a:pt x="876" y="61"/>
                      <a:pt x="880" y="61"/>
                    </a:cubicBezTo>
                    <a:cubicBezTo>
                      <a:pt x="884" y="61"/>
                      <a:pt x="886" y="68"/>
                      <a:pt x="890" y="68"/>
                    </a:cubicBezTo>
                    <a:cubicBezTo>
                      <a:pt x="894" y="68"/>
                      <a:pt x="900" y="60"/>
                      <a:pt x="904" y="59"/>
                    </a:cubicBezTo>
                    <a:cubicBezTo>
                      <a:pt x="908" y="58"/>
                      <a:pt x="914" y="61"/>
                      <a:pt x="916" y="64"/>
                    </a:cubicBezTo>
                    <a:cubicBezTo>
                      <a:pt x="918" y="67"/>
                      <a:pt x="918" y="75"/>
                      <a:pt x="919" y="79"/>
                    </a:cubicBezTo>
                    <a:cubicBezTo>
                      <a:pt x="920" y="83"/>
                      <a:pt x="918" y="86"/>
                      <a:pt x="920" y="88"/>
                    </a:cubicBezTo>
                    <a:cubicBezTo>
                      <a:pt x="922" y="90"/>
                      <a:pt x="929" y="91"/>
                      <a:pt x="931" y="92"/>
                    </a:cubicBezTo>
                    <a:cubicBezTo>
                      <a:pt x="933" y="93"/>
                      <a:pt x="932" y="89"/>
                      <a:pt x="932" y="91"/>
                    </a:cubicBezTo>
                    <a:cubicBezTo>
                      <a:pt x="932" y="93"/>
                      <a:pt x="932" y="102"/>
                      <a:pt x="932" y="106"/>
                    </a:cubicBezTo>
                    <a:cubicBezTo>
                      <a:pt x="932" y="110"/>
                      <a:pt x="933" y="113"/>
                      <a:pt x="935" y="116"/>
                    </a:cubicBezTo>
                    <a:cubicBezTo>
                      <a:pt x="937" y="119"/>
                      <a:pt x="939" y="120"/>
                      <a:pt x="943" y="122"/>
                    </a:cubicBezTo>
                    <a:cubicBezTo>
                      <a:pt x="947" y="124"/>
                      <a:pt x="953" y="125"/>
                      <a:pt x="958" y="125"/>
                    </a:cubicBezTo>
                    <a:cubicBezTo>
                      <a:pt x="963" y="125"/>
                      <a:pt x="968" y="125"/>
                      <a:pt x="973" y="122"/>
                    </a:cubicBezTo>
                    <a:cubicBezTo>
                      <a:pt x="978" y="119"/>
                      <a:pt x="986" y="111"/>
                      <a:pt x="991" y="107"/>
                    </a:cubicBezTo>
                    <a:cubicBezTo>
                      <a:pt x="996" y="103"/>
                      <a:pt x="999" y="101"/>
                      <a:pt x="1004" y="100"/>
                    </a:cubicBezTo>
                    <a:cubicBezTo>
                      <a:pt x="1009" y="99"/>
                      <a:pt x="1017" y="99"/>
                      <a:pt x="1022" y="100"/>
                    </a:cubicBezTo>
                    <a:cubicBezTo>
                      <a:pt x="1027" y="101"/>
                      <a:pt x="1033" y="105"/>
                      <a:pt x="1036" y="104"/>
                    </a:cubicBezTo>
                    <a:cubicBezTo>
                      <a:pt x="1039" y="103"/>
                      <a:pt x="1037" y="94"/>
                      <a:pt x="1039" y="91"/>
                    </a:cubicBezTo>
                    <a:cubicBezTo>
                      <a:pt x="1041" y="88"/>
                      <a:pt x="1048" y="92"/>
                      <a:pt x="1051" y="88"/>
                    </a:cubicBezTo>
                    <a:cubicBezTo>
                      <a:pt x="1054" y="84"/>
                      <a:pt x="1054" y="69"/>
                      <a:pt x="1057" y="65"/>
                    </a:cubicBezTo>
                    <a:cubicBezTo>
                      <a:pt x="1060" y="61"/>
                      <a:pt x="1064" y="64"/>
                      <a:pt x="1067" y="62"/>
                    </a:cubicBezTo>
                    <a:cubicBezTo>
                      <a:pt x="1070" y="60"/>
                      <a:pt x="1070" y="52"/>
                      <a:pt x="1073" y="50"/>
                    </a:cubicBezTo>
                    <a:cubicBezTo>
                      <a:pt x="1076" y="48"/>
                      <a:pt x="1082" y="53"/>
                      <a:pt x="1084" y="52"/>
                    </a:cubicBezTo>
                    <a:cubicBezTo>
                      <a:pt x="1086" y="51"/>
                      <a:pt x="1084" y="45"/>
                      <a:pt x="1088" y="43"/>
                    </a:cubicBezTo>
                    <a:cubicBezTo>
                      <a:pt x="1092" y="41"/>
                      <a:pt x="1099" y="38"/>
                      <a:pt x="1105" y="38"/>
                    </a:cubicBezTo>
                    <a:cubicBezTo>
                      <a:pt x="1111" y="38"/>
                      <a:pt x="1117" y="41"/>
                      <a:pt x="1123" y="43"/>
                    </a:cubicBezTo>
                    <a:cubicBezTo>
                      <a:pt x="1129" y="45"/>
                      <a:pt x="1136" y="48"/>
                      <a:pt x="1139" y="53"/>
                    </a:cubicBezTo>
                    <a:cubicBezTo>
                      <a:pt x="1142" y="58"/>
                      <a:pt x="1143" y="66"/>
                      <a:pt x="1142" y="71"/>
                    </a:cubicBezTo>
                    <a:cubicBezTo>
                      <a:pt x="1141" y="76"/>
                      <a:pt x="1134" y="78"/>
                      <a:pt x="1132" y="82"/>
                    </a:cubicBezTo>
                    <a:cubicBezTo>
                      <a:pt x="1130" y="86"/>
                      <a:pt x="1133" y="87"/>
                      <a:pt x="1130" y="95"/>
                    </a:cubicBezTo>
                    <a:cubicBezTo>
                      <a:pt x="1127" y="103"/>
                      <a:pt x="1112" y="125"/>
                      <a:pt x="1111" y="133"/>
                    </a:cubicBezTo>
                    <a:cubicBezTo>
                      <a:pt x="1110" y="141"/>
                      <a:pt x="1123" y="141"/>
                      <a:pt x="1126" y="146"/>
                    </a:cubicBezTo>
                    <a:cubicBezTo>
                      <a:pt x="1129" y="151"/>
                      <a:pt x="1124" y="160"/>
                      <a:pt x="1126" y="163"/>
                    </a:cubicBezTo>
                    <a:cubicBezTo>
                      <a:pt x="1128" y="166"/>
                      <a:pt x="1136" y="161"/>
                      <a:pt x="1136" y="164"/>
                    </a:cubicBezTo>
                    <a:cubicBezTo>
                      <a:pt x="1136" y="167"/>
                      <a:pt x="1123" y="179"/>
                      <a:pt x="1123" y="184"/>
                    </a:cubicBezTo>
                    <a:cubicBezTo>
                      <a:pt x="1123" y="189"/>
                      <a:pt x="1137" y="189"/>
                      <a:pt x="1138" y="193"/>
                    </a:cubicBezTo>
                    <a:cubicBezTo>
                      <a:pt x="1139" y="197"/>
                      <a:pt x="1132" y="204"/>
                      <a:pt x="1132" y="209"/>
                    </a:cubicBezTo>
                    <a:cubicBezTo>
                      <a:pt x="1132" y="214"/>
                      <a:pt x="1135" y="220"/>
                      <a:pt x="1138" y="223"/>
                    </a:cubicBezTo>
                    <a:cubicBezTo>
                      <a:pt x="1141" y="226"/>
                      <a:pt x="1148" y="225"/>
                      <a:pt x="1150" y="229"/>
                    </a:cubicBezTo>
                    <a:cubicBezTo>
                      <a:pt x="1152" y="233"/>
                      <a:pt x="1150" y="238"/>
                      <a:pt x="1150" y="245"/>
                    </a:cubicBezTo>
                    <a:cubicBezTo>
                      <a:pt x="1150" y="252"/>
                      <a:pt x="1150" y="263"/>
                      <a:pt x="1148" y="269"/>
                    </a:cubicBezTo>
                    <a:cubicBezTo>
                      <a:pt x="1146" y="275"/>
                      <a:pt x="1138" y="280"/>
                      <a:pt x="1135" y="284"/>
                    </a:cubicBezTo>
                    <a:cubicBezTo>
                      <a:pt x="1132" y="288"/>
                      <a:pt x="1131" y="288"/>
                      <a:pt x="1130" y="293"/>
                    </a:cubicBezTo>
                    <a:cubicBezTo>
                      <a:pt x="1129" y="298"/>
                      <a:pt x="1129" y="307"/>
                      <a:pt x="1130" y="313"/>
                    </a:cubicBezTo>
                    <a:cubicBezTo>
                      <a:pt x="1131" y="319"/>
                      <a:pt x="1132" y="324"/>
                      <a:pt x="1136" y="328"/>
                    </a:cubicBezTo>
                    <a:cubicBezTo>
                      <a:pt x="1140" y="332"/>
                      <a:pt x="1153" y="333"/>
                      <a:pt x="1154" y="337"/>
                    </a:cubicBezTo>
                    <a:cubicBezTo>
                      <a:pt x="1155" y="341"/>
                      <a:pt x="1144" y="348"/>
                      <a:pt x="1142" y="352"/>
                    </a:cubicBezTo>
                    <a:cubicBezTo>
                      <a:pt x="1140" y="356"/>
                      <a:pt x="1142" y="358"/>
                      <a:pt x="1144" y="359"/>
                    </a:cubicBezTo>
                    <a:cubicBezTo>
                      <a:pt x="1146" y="360"/>
                      <a:pt x="1156" y="354"/>
                      <a:pt x="1157" y="361"/>
                    </a:cubicBezTo>
                    <a:lnTo>
                      <a:pt x="1151" y="404"/>
                    </a:lnTo>
                    <a:lnTo>
                      <a:pt x="1150" y="428"/>
                    </a:lnTo>
                    <a:cubicBezTo>
                      <a:pt x="1150" y="433"/>
                      <a:pt x="1150" y="434"/>
                      <a:pt x="1151" y="437"/>
                    </a:cubicBezTo>
                    <a:cubicBezTo>
                      <a:pt x="1152" y="440"/>
                      <a:pt x="1153" y="446"/>
                      <a:pt x="1157" y="448"/>
                    </a:cubicBezTo>
                    <a:cubicBezTo>
                      <a:pt x="1161" y="450"/>
                      <a:pt x="1170" y="452"/>
                      <a:pt x="1174" y="451"/>
                    </a:cubicBezTo>
                    <a:cubicBezTo>
                      <a:pt x="1178" y="450"/>
                      <a:pt x="1177" y="443"/>
                      <a:pt x="1181" y="440"/>
                    </a:cubicBezTo>
                    <a:cubicBezTo>
                      <a:pt x="1185" y="437"/>
                      <a:pt x="1191" y="432"/>
                      <a:pt x="1195" y="433"/>
                    </a:cubicBezTo>
                    <a:cubicBezTo>
                      <a:pt x="1199" y="434"/>
                      <a:pt x="1203" y="441"/>
                      <a:pt x="1204" y="446"/>
                    </a:cubicBezTo>
                    <a:cubicBezTo>
                      <a:pt x="1205" y="451"/>
                      <a:pt x="1204" y="458"/>
                      <a:pt x="1204" y="463"/>
                    </a:cubicBezTo>
                    <a:cubicBezTo>
                      <a:pt x="1204" y="468"/>
                      <a:pt x="1205" y="471"/>
                      <a:pt x="1205" y="475"/>
                    </a:cubicBezTo>
                    <a:cubicBezTo>
                      <a:pt x="1205" y="479"/>
                      <a:pt x="1204" y="481"/>
                      <a:pt x="1205" y="485"/>
                    </a:cubicBezTo>
                    <a:cubicBezTo>
                      <a:pt x="1206" y="489"/>
                      <a:pt x="1213" y="495"/>
                      <a:pt x="1211" y="499"/>
                    </a:cubicBezTo>
                    <a:cubicBezTo>
                      <a:pt x="1209" y="503"/>
                      <a:pt x="1200" y="508"/>
                      <a:pt x="1195" y="508"/>
                    </a:cubicBezTo>
                    <a:cubicBezTo>
                      <a:pt x="1190" y="508"/>
                      <a:pt x="1206" y="501"/>
                      <a:pt x="1180" y="499"/>
                    </a:cubicBezTo>
                    <a:cubicBezTo>
                      <a:pt x="1154" y="497"/>
                      <a:pt x="1065" y="497"/>
                      <a:pt x="1037" y="497"/>
                    </a:cubicBezTo>
                    <a:cubicBezTo>
                      <a:pt x="1009" y="497"/>
                      <a:pt x="1016" y="496"/>
                      <a:pt x="1009" y="497"/>
                    </a:cubicBezTo>
                    <a:cubicBezTo>
                      <a:pt x="1002" y="498"/>
                      <a:pt x="999" y="502"/>
                      <a:pt x="994" y="503"/>
                    </a:cubicBezTo>
                    <a:cubicBezTo>
                      <a:pt x="989" y="504"/>
                      <a:pt x="985" y="503"/>
                      <a:pt x="979" y="505"/>
                    </a:cubicBezTo>
                    <a:cubicBezTo>
                      <a:pt x="973" y="507"/>
                      <a:pt x="962" y="510"/>
                      <a:pt x="958" y="515"/>
                    </a:cubicBezTo>
                    <a:cubicBezTo>
                      <a:pt x="954" y="520"/>
                      <a:pt x="957" y="527"/>
                      <a:pt x="955" y="532"/>
                    </a:cubicBezTo>
                    <a:cubicBezTo>
                      <a:pt x="953" y="537"/>
                      <a:pt x="948" y="544"/>
                      <a:pt x="946" y="548"/>
                    </a:cubicBezTo>
                    <a:cubicBezTo>
                      <a:pt x="944" y="552"/>
                      <a:pt x="943" y="555"/>
                      <a:pt x="940" y="559"/>
                    </a:cubicBezTo>
                    <a:cubicBezTo>
                      <a:pt x="937" y="563"/>
                      <a:pt x="928" y="567"/>
                      <a:pt x="926" y="571"/>
                    </a:cubicBezTo>
                    <a:cubicBezTo>
                      <a:pt x="924" y="575"/>
                      <a:pt x="927" y="578"/>
                      <a:pt x="925" y="581"/>
                    </a:cubicBezTo>
                    <a:cubicBezTo>
                      <a:pt x="923" y="584"/>
                      <a:pt x="911" y="587"/>
                      <a:pt x="911" y="590"/>
                    </a:cubicBezTo>
                    <a:cubicBezTo>
                      <a:pt x="911" y="593"/>
                      <a:pt x="921" y="598"/>
                      <a:pt x="922" y="601"/>
                    </a:cubicBezTo>
                    <a:cubicBezTo>
                      <a:pt x="923" y="604"/>
                      <a:pt x="919" y="604"/>
                      <a:pt x="916" y="605"/>
                    </a:cubicBezTo>
                    <a:cubicBezTo>
                      <a:pt x="913" y="606"/>
                      <a:pt x="906" y="606"/>
                      <a:pt x="904" y="607"/>
                    </a:cubicBezTo>
                    <a:cubicBezTo>
                      <a:pt x="902" y="608"/>
                      <a:pt x="906" y="612"/>
                      <a:pt x="904" y="614"/>
                    </a:cubicBezTo>
                    <a:cubicBezTo>
                      <a:pt x="902" y="616"/>
                      <a:pt x="894" y="618"/>
                      <a:pt x="889" y="620"/>
                    </a:cubicBezTo>
                    <a:cubicBezTo>
                      <a:pt x="884" y="622"/>
                      <a:pt x="880" y="628"/>
                      <a:pt x="874" y="628"/>
                    </a:cubicBezTo>
                    <a:cubicBezTo>
                      <a:pt x="868" y="628"/>
                      <a:pt x="859" y="619"/>
                      <a:pt x="853" y="619"/>
                    </a:cubicBezTo>
                    <a:cubicBezTo>
                      <a:pt x="830" y="627"/>
                      <a:pt x="843" y="627"/>
                      <a:pt x="835" y="628"/>
                    </a:cubicBezTo>
                    <a:cubicBezTo>
                      <a:pt x="827" y="629"/>
                      <a:pt x="810" y="624"/>
                      <a:pt x="803" y="625"/>
                    </a:cubicBezTo>
                    <a:cubicBezTo>
                      <a:pt x="796" y="626"/>
                      <a:pt x="795" y="631"/>
                      <a:pt x="791" y="634"/>
                    </a:cubicBezTo>
                    <a:cubicBezTo>
                      <a:pt x="787" y="637"/>
                      <a:pt x="783" y="639"/>
                      <a:pt x="779" y="641"/>
                    </a:cubicBezTo>
                    <a:cubicBezTo>
                      <a:pt x="762" y="659"/>
                      <a:pt x="775" y="647"/>
                      <a:pt x="764" y="647"/>
                    </a:cubicBezTo>
                    <a:cubicBezTo>
                      <a:pt x="753" y="647"/>
                      <a:pt x="722" y="642"/>
                      <a:pt x="712" y="641"/>
                    </a:cubicBezTo>
                    <a:cubicBezTo>
                      <a:pt x="702" y="640"/>
                      <a:pt x="707" y="639"/>
                      <a:pt x="704" y="640"/>
                    </a:cubicBezTo>
                    <a:cubicBezTo>
                      <a:pt x="701" y="641"/>
                      <a:pt x="698" y="646"/>
                      <a:pt x="691" y="647"/>
                    </a:cubicBezTo>
                    <a:cubicBezTo>
                      <a:pt x="684" y="648"/>
                      <a:pt x="672" y="647"/>
                      <a:pt x="664" y="649"/>
                    </a:cubicBezTo>
                    <a:cubicBezTo>
                      <a:pt x="656" y="651"/>
                      <a:pt x="654" y="658"/>
                      <a:pt x="644" y="658"/>
                    </a:cubicBezTo>
                    <a:cubicBezTo>
                      <a:pt x="634" y="658"/>
                      <a:pt x="611" y="655"/>
                      <a:pt x="602" y="652"/>
                    </a:cubicBezTo>
                    <a:cubicBezTo>
                      <a:pt x="593" y="649"/>
                      <a:pt x="596" y="642"/>
                      <a:pt x="592" y="640"/>
                    </a:cubicBezTo>
                    <a:cubicBezTo>
                      <a:pt x="588" y="638"/>
                      <a:pt x="580" y="641"/>
                      <a:pt x="575" y="641"/>
                    </a:cubicBezTo>
                    <a:cubicBezTo>
                      <a:pt x="570" y="641"/>
                      <a:pt x="566" y="639"/>
                      <a:pt x="563" y="641"/>
                    </a:cubicBezTo>
                    <a:cubicBezTo>
                      <a:pt x="560" y="643"/>
                      <a:pt x="557" y="652"/>
                      <a:pt x="554" y="653"/>
                    </a:cubicBezTo>
                    <a:cubicBezTo>
                      <a:pt x="551" y="654"/>
                      <a:pt x="548" y="649"/>
                      <a:pt x="545" y="650"/>
                    </a:cubicBezTo>
                    <a:cubicBezTo>
                      <a:pt x="542" y="651"/>
                      <a:pt x="539" y="662"/>
                      <a:pt x="538" y="661"/>
                    </a:cubicBezTo>
                    <a:cubicBezTo>
                      <a:pt x="537" y="660"/>
                      <a:pt x="542" y="646"/>
                      <a:pt x="539" y="646"/>
                    </a:cubicBezTo>
                    <a:cubicBezTo>
                      <a:pt x="536" y="646"/>
                      <a:pt x="523" y="658"/>
                      <a:pt x="518" y="659"/>
                    </a:cubicBezTo>
                    <a:cubicBezTo>
                      <a:pt x="513" y="660"/>
                      <a:pt x="523" y="655"/>
                      <a:pt x="508" y="655"/>
                    </a:cubicBezTo>
                    <a:cubicBezTo>
                      <a:pt x="493" y="655"/>
                      <a:pt x="446" y="658"/>
                      <a:pt x="428" y="658"/>
                    </a:cubicBezTo>
                    <a:cubicBezTo>
                      <a:pt x="410" y="658"/>
                      <a:pt x="410" y="655"/>
                      <a:pt x="401" y="656"/>
                    </a:cubicBezTo>
                    <a:cubicBezTo>
                      <a:pt x="392" y="657"/>
                      <a:pt x="378" y="666"/>
                      <a:pt x="371" y="667"/>
                    </a:cubicBezTo>
                    <a:cubicBezTo>
                      <a:pt x="364" y="668"/>
                      <a:pt x="370" y="661"/>
                      <a:pt x="359" y="659"/>
                    </a:cubicBezTo>
                    <a:cubicBezTo>
                      <a:pt x="341" y="653"/>
                      <a:pt x="315" y="657"/>
                      <a:pt x="302" y="655"/>
                    </a:cubicBezTo>
                    <a:cubicBezTo>
                      <a:pt x="289" y="653"/>
                      <a:pt x="290" y="649"/>
                      <a:pt x="286" y="647"/>
                    </a:cubicBezTo>
                    <a:cubicBezTo>
                      <a:pt x="282" y="645"/>
                      <a:pt x="280" y="642"/>
                      <a:pt x="277" y="641"/>
                    </a:cubicBezTo>
                    <a:cubicBezTo>
                      <a:pt x="274" y="640"/>
                      <a:pt x="275" y="645"/>
                      <a:pt x="266" y="643"/>
                    </a:cubicBezTo>
                    <a:cubicBezTo>
                      <a:pt x="257" y="641"/>
                      <a:pt x="231" y="632"/>
                      <a:pt x="220" y="626"/>
                    </a:cubicBezTo>
                    <a:cubicBezTo>
                      <a:pt x="209" y="620"/>
                      <a:pt x="205" y="611"/>
                      <a:pt x="200" y="607"/>
                    </a:cubicBezTo>
                    <a:cubicBezTo>
                      <a:pt x="195" y="603"/>
                      <a:pt x="193" y="602"/>
                      <a:pt x="187" y="599"/>
                    </a:cubicBezTo>
                    <a:cubicBezTo>
                      <a:pt x="181" y="596"/>
                      <a:pt x="167" y="592"/>
                      <a:pt x="161" y="590"/>
                    </a:cubicBezTo>
                    <a:cubicBezTo>
                      <a:pt x="155" y="588"/>
                      <a:pt x="154" y="585"/>
                      <a:pt x="151" y="584"/>
                    </a:cubicBezTo>
                    <a:cubicBezTo>
                      <a:pt x="148" y="583"/>
                      <a:pt x="149" y="585"/>
                      <a:pt x="143" y="586"/>
                    </a:cubicBezTo>
                    <a:cubicBezTo>
                      <a:pt x="137" y="587"/>
                      <a:pt x="122" y="590"/>
                      <a:pt x="116" y="589"/>
                    </a:cubicBezTo>
                    <a:cubicBezTo>
                      <a:pt x="110" y="588"/>
                      <a:pt x="111" y="584"/>
                      <a:pt x="107" y="581"/>
                    </a:cubicBezTo>
                    <a:cubicBezTo>
                      <a:pt x="103" y="578"/>
                      <a:pt x="96" y="574"/>
                      <a:pt x="92" y="571"/>
                    </a:cubicBezTo>
                    <a:cubicBezTo>
                      <a:pt x="88" y="568"/>
                      <a:pt x="89" y="566"/>
                      <a:pt x="85" y="565"/>
                    </a:cubicBezTo>
                    <a:cubicBezTo>
                      <a:pt x="81" y="564"/>
                      <a:pt x="71" y="567"/>
                      <a:pt x="67" y="566"/>
                    </a:cubicBezTo>
                    <a:cubicBezTo>
                      <a:pt x="63" y="565"/>
                      <a:pt x="66" y="559"/>
                      <a:pt x="61" y="556"/>
                    </a:cubicBezTo>
                    <a:cubicBezTo>
                      <a:pt x="56" y="553"/>
                      <a:pt x="42" y="552"/>
                      <a:pt x="37" y="550"/>
                    </a:cubicBezTo>
                    <a:cubicBezTo>
                      <a:pt x="32" y="548"/>
                      <a:pt x="34" y="544"/>
                      <a:pt x="29" y="542"/>
                    </a:cubicBezTo>
                    <a:cubicBezTo>
                      <a:pt x="24" y="540"/>
                      <a:pt x="8" y="542"/>
                      <a:pt x="4" y="539"/>
                    </a:cubicBezTo>
                    <a:cubicBezTo>
                      <a:pt x="0" y="536"/>
                      <a:pt x="0" y="526"/>
                      <a:pt x="4" y="521"/>
                    </a:cubicBezTo>
                    <a:cubicBezTo>
                      <a:pt x="8" y="516"/>
                      <a:pt x="21" y="514"/>
                      <a:pt x="26" y="509"/>
                    </a:cubicBezTo>
                    <a:cubicBezTo>
                      <a:pt x="31" y="504"/>
                      <a:pt x="32" y="496"/>
                      <a:pt x="37" y="490"/>
                    </a:cubicBezTo>
                    <a:cubicBezTo>
                      <a:pt x="42" y="484"/>
                      <a:pt x="50" y="474"/>
                      <a:pt x="56" y="473"/>
                    </a:cubicBezTo>
                    <a:cubicBezTo>
                      <a:pt x="62" y="472"/>
                      <a:pt x="69" y="482"/>
                      <a:pt x="71" y="481"/>
                    </a:cubicBezTo>
                    <a:cubicBezTo>
                      <a:pt x="73" y="480"/>
                      <a:pt x="67" y="473"/>
                      <a:pt x="68" y="469"/>
                    </a:cubicBezTo>
                    <a:cubicBezTo>
                      <a:pt x="69" y="465"/>
                      <a:pt x="75" y="462"/>
                      <a:pt x="76" y="458"/>
                    </a:cubicBezTo>
                    <a:cubicBezTo>
                      <a:pt x="77" y="454"/>
                      <a:pt x="75" y="447"/>
                      <a:pt x="77" y="443"/>
                    </a:cubicBezTo>
                    <a:cubicBezTo>
                      <a:pt x="79" y="439"/>
                      <a:pt x="83" y="435"/>
                      <a:pt x="88" y="433"/>
                    </a:cubicBezTo>
                    <a:cubicBezTo>
                      <a:pt x="93" y="431"/>
                      <a:pt x="104" y="432"/>
                      <a:pt x="107" y="431"/>
                    </a:cubicBezTo>
                    <a:cubicBezTo>
                      <a:pt x="110" y="430"/>
                      <a:pt x="105" y="428"/>
                      <a:pt x="104" y="425"/>
                    </a:cubicBezTo>
                    <a:cubicBezTo>
                      <a:pt x="103" y="422"/>
                      <a:pt x="100" y="412"/>
                      <a:pt x="101" y="410"/>
                    </a:cubicBezTo>
                    <a:cubicBezTo>
                      <a:pt x="102" y="408"/>
                      <a:pt x="107" y="411"/>
                      <a:pt x="109" y="409"/>
                    </a:cubicBezTo>
                    <a:cubicBezTo>
                      <a:pt x="111" y="407"/>
                      <a:pt x="112" y="403"/>
                      <a:pt x="112" y="400"/>
                    </a:cubicBezTo>
                    <a:cubicBezTo>
                      <a:pt x="112" y="397"/>
                      <a:pt x="111" y="392"/>
                      <a:pt x="112" y="388"/>
                    </a:cubicBezTo>
                    <a:cubicBezTo>
                      <a:pt x="113" y="384"/>
                      <a:pt x="119" y="381"/>
                      <a:pt x="121" y="377"/>
                    </a:cubicBezTo>
                    <a:cubicBezTo>
                      <a:pt x="123" y="373"/>
                      <a:pt x="122" y="365"/>
                      <a:pt x="125" y="361"/>
                    </a:cubicBezTo>
                    <a:cubicBezTo>
                      <a:pt x="128" y="357"/>
                      <a:pt x="136" y="356"/>
                      <a:pt x="140" y="352"/>
                    </a:cubicBezTo>
                    <a:cubicBezTo>
                      <a:pt x="144" y="348"/>
                      <a:pt x="147" y="340"/>
                      <a:pt x="151" y="335"/>
                    </a:cubicBezTo>
                    <a:cubicBezTo>
                      <a:pt x="155" y="330"/>
                      <a:pt x="158" y="326"/>
                      <a:pt x="164" y="323"/>
                    </a:cubicBezTo>
                    <a:cubicBezTo>
                      <a:pt x="170" y="320"/>
                      <a:pt x="180" y="317"/>
                      <a:pt x="185" y="316"/>
                    </a:cubicBezTo>
                    <a:cubicBezTo>
                      <a:pt x="190" y="315"/>
                      <a:pt x="192" y="316"/>
                      <a:pt x="196" y="314"/>
                    </a:cubicBezTo>
                    <a:cubicBezTo>
                      <a:pt x="200" y="312"/>
                      <a:pt x="207" y="307"/>
                      <a:pt x="211" y="305"/>
                    </a:cubicBezTo>
                    <a:cubicBezTo>
                      <a:pt x="215" y="303"/>
                      <a:pt x="219" y="305"/>
                      <a:pt x="223" y="304"/>
                    </a:cubicBezTo>
                    <a:cubicBezTo>
                      <a:pt x="227" y="303"/>
                      <a:pt x="231" y="299"/>
                      <a:pt x="235" y="296"/>
                    </a:cubicBezTo>
                    <a:cubicBezTo>
                      <a:pt x="239" y="293"/>
                      <a:pt x="244" y="287"/>
                      <a:pt x="250" y="284"/>
                    </a:cubicBezTo>
                    <a:cubicBezTo>
                      <a:pt x="256" y="281"/>
                      <a:pt x="266" y="280"/>
                      <a:pt x="271" y="277"/>
                    </a:cubicBezTo>
                    <a:cubicBezTo>
                      <a:pt x="276" y="274"/>
                      <a:pt x="277" y="267"/>
                      <a:pt x="281" y="266"/>
                    </a:cubicBezTo>
                    <a:cubicBezTo>
                      <a:pt x="285" y="265"/>
                      <a:pt x="294" y="271"/>
                      <a:pt x="296" y="268"/>
                    </a:cubicBezTo>
                    <a:cubicBezTo>
                      <a:pt x="298" y="265"/>
                      <a:pt x="293" y="247"/>
                      <a:pt x="296" y="245"/>
                    </a:cubicBezTo>
                    <a:cubicBezTo>
                      <a:pt x="299" y="243"/>
                      <a:pt x="313" y="255"/>
                      <a:pt x="317" y="253"/>
                    </a:cubicBezTo>
                    <a:cubicBezTo>
                      <a:pt x="321" y="251"/>
                      <a:pt x="316" y="237"/>
                      <a:pt x="320" y="232"/>
                    </a:cubicBezTo>
                    <a:cubicBezTo>
                      <a:pt x="324" y="227"/>
                      <a:pt x="335" y="227"/>
                      <a:pt x="340" y="223"/>
                    </a:cubicBezTo>
                    <a:cubicBezTo>
                      <a:pt x="345" y="219"/>
                      <a:pt x="347" y="212"/>
                      <a:pt x="349" y="208"/>
                    </a:cubicBezTo>
                    <a:cubicBezTo>
                      <a:pt x="351" y="204"/>
                      <a:pt x="351" y="203"/>
                      <a:pt x="353" y="200"/>
                    </a:cubicBezTo>
                    <a:cubicBezTo>
                      <a:pt x="357" y="201"/>
                      <a:pt x="362" y="193"/>
                      <a:pt x="364" y="187"/>
                    </a:cubicBezTo>
                    <a:cubicBezTo>
                      <a:pt x="366" y="181"/>
                      <a:pt x="364" y="170"/>
                      <a:pt x="368" y="166"/>
                    </a:cubicBezTo>
                    <a:cubicBezTo>
                      <a:pt x="372" y="162"/>
                      <a:pt x="382" y="164"/>
                      <a:pt x="386" y="161"/>
                    </a:cubicBezTo>
                    <a:cubicBezTo>
                      <a:pt x="390" y="158"/>
                      <a:pt x="389" y="150"/>
                      <a:pt x="392" y="145"/>
                    </a:cubicBezTo>
                    <a:cubicBezTo>
                      <a:pt x="395" y="140"/>
                      <a:pt x="401" y="136"/>
                      <a:pt x="403" y="133"/>
                    </a:cubicBezTo>
                    <a:cubicBezTo>
                      <a:pt x="405" y="130"/>
                      <a:pt x="405" y="129"/>
                      <a:pt x="406" y="125"/>
                    </a:cubicBezTo>
                    <a:cubicBezTo>
                      <a:pt x="407" y="121"/>
                      <a:pt x="405" y="113"/>
                      <a:pt x="407" y="109"/>
                    </a:cubicBezTo>
                    <a:cubicBezTo>
                      <a:pt x="409" y="105"/>
                      <a:pt x="415" y="101"/>
                      <a:pt x="419" y="100"/>
                    </a:cubicBezTo>
                    <a:cubicBezTo>
                      <a:pt x="423" y="99"/>
                      <a:pt x="429" y="101"/>
                      <a:pt x="434" y="104"/>
                    </a:cubicBezTo>
                    <a:cubicBezTo>
                      <a:pt x="439" y="107"/>
                      <a:pt x="445" y="112"/>
                      <a:pt x="448" y="116"/>
                    </a:cubicBezTo>
                    <a:cubicBezTo>
                      <a:pt x="451" y="120"/>
                      <a:pt x="454" y="124"/>
                      <a:pt x="454" y="128"/>
                    </a:cubicBezTo>
                    <a:cubicBezTo>
                      <a:pt x="454" y="132"/>
                      <a:pt x="447" y="135"/>
                      <a:pt x="448" y="140"/>
                    </a:cubicBezTo>
                    <a:cubicBezTo>
                      <a:pt x="449" y="145"/>
                      <a:pt x="456" y="153"/>
                      <a:pt x="460" y="157"/>
                    </a:cubicBezTo>
                    <a:cubicBezTo>
                      <a:pt x="464" y="161"/>
                      <a:pt x="469" y="162"/>
                      <a:pt x="473" y="163"/>
                    </a:cubicBezTo>
                    <a:cubicBezTo>
                      <a:pt x="477" y="164"/>
                      <a:pt x="480" y="164"/>
                      <a:pt x="484" y="16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3">
                <a:extLst>
                  <a:ext uri="{FF2B5EF4-FFF2-40B4-BE49-F238E27FC236}">
                    <a16:creationId xmlns:a16="http://schemas.microsoft.com/office/drawing/2014/main" id="{8983761F-9518-4200-8734-BB78F21EE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8649" y="6239512"/>
                <a:ext cx="1855635" cy="2573484"/>
              </a:xfrm>
              <a:custGeom>
                <a:avLst/>
                <a:gdLst/>
                <a:ahLst/>
                <a:cxnLst>
                  <a:cxn ang="0">
                    <a:pos x="138" y="16"/>
                  </a:cxn>
                  <a:cxn ang="0">
                    <a:pos x="180" y="7"/>
                  </a:cxn>
                  <a:cxn ang="0">
                    <a:pos x="260" y="10"/>
                  </a:cxn>
                  <a:cxn ang="0">
                    <a:pos x="291" y="2"/>
                  </a:cxn>
                  <a:cxn ang="0">
                    <a:pos x="293" y="44"/>
                  </a:cxn>
                  <a:cxn ang="0">
                    <a:pos x="303" y="77"/>
                  </a:cxn>
                  <a:cxn ang="0">
                    <a:pos x="312" y="107"/>
                  </a:cxn>
                  <a:cxn ang="0">
                    <a:pos x="333" y="140"/>
                  </a:cxn>
                  <a:cxn ang="0">
                    <a:pos x="348" y="173"/>
                  </a:cxn>
                  <a:cxn ang="0">
                    <a:pos x="357" y="197"/>
                  </a:cxn>
                  <a:cxn ang="0">
                    <a:pos x="357" y="241"/>
                  </a:cxn>
                  <a:cxn ang="0">
                    <a:pos x="348" y="278"/>
                  </a:cxn>
                  <a:cxn ang="0">
                    <a:pos x="342" y="335"/>
                  </a:cxn>
                  <a:cxn ang="0">
                    <a:pos x="378" y="373"/>
                  </a:cxn>
                  <a:cxn ang="0">
                    <a:pos x="392" y="391"/>
                  </a:cxn>
                  <a:cxn ang="0">
                    <a:pos x="462" y="430"/>
                  </a:cxn>
                  <a:cxn ang="0">
                    <a:pos x="455" y="470"/>
                  </a:cxn>
                  <a:cxn ang="0">
                    <a:pos x="435" y="499"/>
                  </a:cxn>
                  <a:cxn ang="0">
                    <a:pos x="404" y="512"/>
                  </a:cxn>
                  <a:cxn ang="0">
                    <a:pos x="371" y="527"/>
                  </a:cxn>
                  <a:cxn ang="0">
                    <a:pos x="332" y="565"/>
                  </a:cxn>
                  <a:cxn ang="0">
                    <a:pos x="306" y="607"/>
                  </a:cxn>
                  <a:cxn ang="0">
                    <a:pos x="290" y="622"/>
                  </a:cxn>
                  <a:cxn ang="0">
                    <a:pos x="285" y="662"/>
                  </a:cxn>
                  <a:cxn ang="0">
                    <a:pos x="264" y="670"/>
                  </a:cxn>
                  <a:cxn ang="0">
                    <a:pos x="233" y="673"/>
                  </a:cxn>
                  <a:cxn ang="0">
                    <a:pos x="212" y="646"/>
                  </a:cxn>
                  <a:cxn ang="0">
                    <a:pos x="207" y="623"/>
                  </a:cxn>
                  <a:cxn ang="0">
                    <a:pos x="189" y="604"/>
                  </a:cxn>
                  <a:cxn ang="0">
                    <a:pos x="165" y="611"/>
                  </a:cxn>
                  <a:cxn ang="0">
                    <a:pos x="132" y="622"/>
                  </a:cxn>
                  <a:cxn ang="0">
                    <a:pos x="102" y="611"/>
                  </a:cxn>
                  <a:cxn ang="0">
                    <a:pos x="77" y="595"/>
                  </a:cxn>
                  <a:cxn ang="0">
                    <a:pos x="75" y="574"/>
                  </a:cxn>
                  <a:cxn ang="0">
                    <a:pos x="71" y="559"/>
                  </a:cxn>
                  <a:cxn ang="0">
                    <a:pos x="68" y="536"/>
                  </a:cxn>
                  <a:cxn ang="0">
                    <a:pos x="39" y="545"/>
                  </a:cxn>
                  <a:cxn ang="0">
                    <a:pos x="18" y="532"/>
                  </a:cxn>
                  <a:cxn ang="0">
                    <a:pos x="14" y="500"/>
                  </a:cxn>
                  <a:cxn ang="0">
                    <a:pos x="8" y="479"/>
                  </a:cxn>
                  <a:cxn ang="0">
                    <a:pos x="24" y="452"/>
                  </a:cxn>
                  <a:cxn ang="0">
                    <a:pos x="45" y="436"/>
                  </a:cxn>
                  <a:cxn ang="0">
                    <a:pos x="74" y="415"/>
                  </a:cxn>
                  <a:cxn ang="0">
                    <a:pos x="93" y="395"/>
                  </a:cxn>
                  <a:cxn ang="0">
                    <a:pos x="134" y="377"/>
                  </a:cxn>
                  <a:cxn ang="0">
                    <a:pos x="158" y="364"/>
                  </a:cxn>
                  <a:cxn ang="0">
                    <a:pos x="191" y="317"/>
                  </a:cxn>
                  <a:cxn ang="0">
                    <a:pos x="188" y="308"/>
                  </a:cxn>
                  <a:cxn ang="0">
                    <a:pos x="177" y="262"/>
                  </a:cxn>
                  <a:cxn ang="0">
                    <a:pos x="161" y="248"/>
                  </a:cxn>
                  <a:cxn ang="0">
                    <a:pos x="143" y="229"/>
                  </a:cxn>
                  <a:cxn ang="0">
                    <a:pos x="138" y="188"/>
                  </a:cxn>
                  <a:cxn ang="0">
                    <a:pos x="144" y="115"/>
                  </a:cxn>
                  <a:cxn ang="0">
                    <a:pos x="129" y="97"/>
                  </a:cxn>
                  <a:cxn ang="0">
                    <a:pos x="115" y="73"/>
                  </a:cxn>
                  <a:cxn ang="0">
                    <a:pos x="119" y="37"/>
                  </a:cxn>
                </a:cxnLst>
                <a:rect l="0" t="0" r="r" b="b"/>
                <a:pathLst>
                  <a:path w="480" h="674">
                    <a:moveTo>
                      <a:pt x="119" y="37"/>
                    </a:moveTo>
                    <a:cubicBezTo>
                      <a:pt x="111" y="35"/>
                      <a:pt x="117" y="20"/>
                      <a:pt x="138" y="16"/>
                    </a:cubicBezTo>
                    <a:cubicBezTo>
                      <a:pt x="145" y="12"/>
                      <a:pt x="155" y="11"/>
                      <a:pt x="162" y="10"/>
                    </a:cubicBezTo>
                    <a:cubicBezTo>
                      <a:pt x="169" y="9"/>
                      <a:pt x="167" y="7"/>
                      <a:pt x="180" y="7"/>
                    </a:cubicBezTo>
                    <a:cubicBezTo>
                      <a:pt x="193" y="7"/>
                      <a:pt x="230" y="11"/>
                      <a:pt x="243" y="11"/>
                    </a:cubicBezTo>
                    <a:cubicBezTo>
                      <a:pt x="256" y="11"/>
                      <a:pt x="255" y="10"/>
                      <a:pt x="260" y="10"/>
                    </a:cubicBezTo>
                    <a:cubicBezTo>
                      <a:pt x="280" y="14"/>
                      <a:pt x="270" y="11"/>
                      <a:pt x="275" y="10"/>
                    </a:cubicBezTo>
                    <a:cubicBezTo>
                      <a:pt x="280" y="9"/>
                      <a:pt x="289" y="0"/>
                      <a:pt x="291" y="2"/>
                    </a:cubicBezTo>
                    <a:cubicBezTo>
                      <a:pt x="293" y="5"/>
                      <a:pt x="294" y="12"/>
                      <a:pt x="290" y="23"/>
                    </a:cubicBezTo>
                    <a:cubicBezTo>
                      <a:pt x="290" y="30"/>
                      <a:pt x="292" y="38"/>
                      <a:pt x="293" y="44"/>
                    </a:cubicBezTo>
                    <a:cubicBezTo>
                      <a:pt x="294" y="50"/>
                      <a:pt x="295" y="57"/>
                      <a:pt x="297" y="62"/>
                    </a:cubicBezTo>
                    <a:cubicBezTo>
                      <a:pt x="299" y="67"/>
                      <a:pt x="301" y="72"/>
                      <a:pt x="303" y="77"/>
                    </a:cubicBezTo>
                    <a:cubicBezTo>
                      <a:pt x="302" y="80"/>
                      <a:pt x="313" y="91"/>
                      <a:pt x="309" y="92"/>
                    </a:cubicBezTo>
                    <a:cubicBezTo>
                      <a:pt x="310" y="97"/>
                      <a:pt x="309" y="102"/>
                      <a:pt x="312" y="107"/>
                    </a:cubicBezTo>
                    <a:cubicBezTo>
                      <a:pt x="316" y="118"/>
                      <a:pt x="322" y="112"/>
                      <a:pt x="327" y="122"/>
                    </a:cubicBezTo>
                    <a:cubicBezTo>
                      <a:pt x="327" y="128"/>
                      <a:pt x="339" y="132"/>
                      <a:pt x="333" y="140"/>
                    </a:cubicBezTo>
                    <a:cubicBezTo>
                      <a:pt x="335" y="146"/>
                      <a:pt x="337" y="153"/>
                      <a:pt x="339" y="158"/>
                    </a:cubicBezTo>
                    <a:cubicBezTo>
                      <a:pt x="341" y="163"/>
                      <a:pt x="346" y="168"/>
                      <a:pt x="348" y="173"/>
                    </a:cubicBezTo>
                    <a:cubicBezTo>
                      <a:pt x="350" y="178"/>
                      <a:pt x="349" y="183"/>
                      <a:pt x="350" y="187"/>
                    </a:cubicBezTo>
                    <a:cubicBezTo>
                      <a:pt x="351" y="191"/>
                      <a:pt x="356" y="191"/>
                      <a:pt x="357" y="197"/>
                    </a:cubicBezTo>
                    <a:cubicBezTo>
                      <a:pt x="358" y="203"/>
                      <a:pt x="356" y="216"/>
                      <a:pt x="356" y="223"/>
                    </a:cubicBezTo>
                    <a:cubicBezTo>
                      <a:pt x="356" y="230"/>
                      <a:pt x="357" y="235"/>
                      <a:pt x="357" y="241"/>
                    </a:cubicBezTo>
                    <a:cubicBezTo>
                      <a:pt x="357" y="247"/>
                      <a:pt x="357" y="256"/>
                      <a:pt x="356" y="262"/>
                    </a:cubicBezTo>
                    <a:cubicBezTo>
                      <a:pt x="355" y="268"/>
                      <a:pt x="350" y="272"/>
                      <a:pt x="348" y="278"/>
                    </a:cubicBezTo>
                    <a:cubicBezTo>
                      <a:pt x="346" y="284"/>
                      <a:pt x="346" y="287"/>
                      <a:pt x="345" y="296"/>
                    </a:cubicBezTo>
                    <a:lnTo>
                      <a:pt x="342" y="335"/>
                    </a:lnTo>
                    <a:cubicBezTo>
                      <a:pt x="343" y="341"/>
                      <a:pt x="375" y="358"/>
                      <a:pt x="375" y="358"/>
                    </a:cubicBezTo>
                    <a:cubicBezTo>
                      <a:pt x="376" y="365"/>
                      <a:pt x="373" y="368"/>
                      <a:pt x="378" y="373"/>
                    </a:cubicBezTo>
                    <a:cubicBezTo>
                      <a:pt x="378" y="375"/>
                      <a:pt x="388" y="380"/>
                      <a:pt x="389" y="382"/>
                    </a:cubicBezTo>
                    <a:cubicBezTo>
                      <a:pt x="390" y="384"/>
                      <a:pt x="391" y="389"/>
                      <a:pt x="392" y="391"/>
                    </a:cubicBezTo>
                    <a:cubicBezTo>
                      <a:pt x="396" y="398"/>
                      <a:pt x="443" y="411"/>
                      <a:pt x="447" y="419"/>
                    </a:cubicBezTo>
                    <a:cubicBezTo>
                      <a:pt x="449" y="430"/>
                      <a:pt x="456" y="421"/>
                      <a:pt x="462" y="430"/>
                    </a:cubicBezTo>
                    <a:cubicBezTo>
                      <a:pt x="465" y="441"/>
                      <a:pt x="467" y="448"/>
                      <a:pt x="477" y="454"/>
                    </a:cubicBezTo>
                    <a:cubicBezTo>
                      <a:pt x="480" y="462"/>
                      <a:pt x="449" y="464"/>
                      <a:pt x="455" y="470"/>
                    </a:cubicBezTo>
                    <a:cubicBezTo>
                      <a:pt x="457" y="476"/>
                      <a:pt x="444" y="478"/>
                      <a:pt x="447" y="484"/>
                    </a:cubicBezTo>
                    <a:cubicBezTo>
                      <a:pt x="439" y="488"/>
                      <a:pt x="449" y="497"/>
                      <a:pt x="435" y="499"/>
                    </a:cubicBezTo>
                    <a:cubicBezTo>
                      <a:pt x="430" y="503"/>
                      <a:pt x="425" y="506"/>
                      <a:pt x="420" y="508"/>
                    </a:cubicBezTo>
                    <a:cubicBezTo>
                      <a:pt x="415" y="510"/>
                      <a:pt x="409" y="509"/>
                      <a:pt x="404" y="512"/>
                    </a:cubicBezTo>
                    <a:cubicBezTo>
                      <a:pt x="399" y="515"/>
                      <a:pt x="397" y="525"/>
                      <a:pt x="392" y="527"/>
                    </a:cubicBezTo>
                    <a:cubicBezTo>
                      <a:pt x="387" y="529"/>
                      <a:pt x="377" y="525"/>
                      <a:pt x="371" y="527"/>
                    </a:cubicBezTo>
                    <a:cubicBezTo>
                      <a:pt x="365" y="529"/>
                      <a:pt x="364" y="533"/>
                      <a:pt x="357" y="539"/>
                    </a:cubicBezTo>
                    <a:cubicBezTo>
                      <a:pt x="355" y="551"/>
                      <a:pt x="345" y="562"/>
                      <a:pt x="332" y="565"/>
                    </a:cubicBezTo>
                    <a:cubicBezTo>
                      <a:pt x="324" y="569"/>
                      <a:pt x="320" y="590"/>
                      <a:pt x="312" y="589"/>
                    </a:cubicBezTo>
                    <a:cubicBezTo>
                      <a:pt x="308" y="596"/>
                      <a:pt x="309" y="604"/>
                      <a:pt x="306" y="607"/>
                    </a:cubicBezTo>
                    <a:cubicBezTo>
                      <a:pt x="303" y="610"/>
                      <a:pt x="296" y="603"/>
                      <a:pt x="293" y="605"/>
                    </a:cubicBezTo>
                    <a:cubicBezTo>
                      <a:pt x="290" y="608"/>
                      <a:pt x="290" y="616"/>
                      <a:pt x="290" y="622"/>
                    </a:cubicBezTo>
                    <a:cubicBezTo>
                      <a:pt x="290" y="628"/>
                      <a:pt x="294" y="636"/>
                      <a:pt x="293" y="643"/>
                    </a:cubicBezTo>
                    <a:cubicBezTo>
                      <a:pt x="292" y="650"/>
                      <a:pt x="288" y="658"/>
                      <a:pt x="285" y="662"/>
                    </a:cubicBezTo>
                    <a:cubicBezTo>
                      <a:pt x="282" y="666"/>
                      <a:pt x="276" y="666"/>
                      <a:pt x="273" y="667"/>
                    </a:cubicBezTo>
                    <a:cubicBezTo>
                      <a:pt x="270" y="668"/>
                      <a:pt x="268" y="670"/>
                      <a:pt x="264" y="670"/>
                    </a:cubicBezTo>
                    <a:cubicBezTo>
                      <a:pt x="260" y="670"/>
                      <a:pt x="253" y="668"/>
                      <a:pt x="248" y="668"/>
                    </a:cubicBezTo>
                    <a:cubicBezTo>
                      <a:pt x="243" y="668"/>
                      <a:pt x="239" y="674"/>
                      <a:pt x="233" y="673"/>
                    </a:cubicBezTo>
                    <a:cubicBezTo>
                      <a:pt x="227" y="672"/>
                      <a:pt x="216" y="666"/>
                      <a:pt x="213" y="662"/>
                    </a:cubicBezTo>
                    <a:cubicBezTo>
                      <a:pt x="210" y="658"/>
                      <a:pt x="214" y="650"/>
                      <a:pt x="212" y="646"/>
                    </a:cubicBezTo>
                    <a:cubicBezTo>
                      <a:pt x="210" y="642"/>
                      <a:pt x="194" y="642"/>
                      <a:pt x="200" y="635"/>
                    </a:cubicBezTo>
                    <a:cubicBezTo>
                      <a:pt x="199" y="631"/>
                      <a:pt x="207" y="626"/>
                      <a:pt x="207" y="623"/>
                    </a:cubicBezTo>
                    <a:cubicBezTo>
                      <a:pt x="207" y="620"/>
                      <a:pt x="200" y="619"/>
                      <a:pt x="197" y="616"/>
                    </a:cubicBezTo>
                    <a:cubicBezTo>
                      <a:pt x="194" y="613"/>
                      <a:pt x="193" y="606"/>
                      <a:pt x="189" y="604"/>
                    </a:cubicBezTo>
                    <a:cubicBezTo>
                      <a:pt x="178" y="602"/>
                      <a:pt x="184" y="609"/>
                      <a:pt x="174" y="605"/>
                    </a:cubicBezTo>
                    <a:cubicBezTo>
                      <a:pt x="176" y="602"/>
                      <a:pt x="165" y="616"/>
                      <a:pt x="165" y="611"/>
                    </a:cubicBezTo>
                    <a:cubicBezTo>
                      <a:pt x="161" y="613"/>
                      <a:pt x="154" y="617"/>
                      <a:pt x="149" y="619"/>
                    </a:cubicBezTo>
                    <a:cubicBezTo>
                      <a:pt x="144" y="621"/>
                      <a:pt x="138" y="622"/>
                      <a:pt x="132" y="622"/>
                    </a:cubicBezTo>
                    <a:cubicBezTo>
                      <a:pt x="126" y="622"/>
                      <a:pt x="119" y="622"/>
                      <a:pt x="114" y="620"/>
                    </a:cubicBezTo>
                    <a:cubicBezTo>
                      <a:pt x="109" y="618"/>
                      <a:pt x="106" y="613"/>
                      <a:pt x="102" y="611"/>
                    </a:cubicBezTo>
                    <a:cubicBezTo>
                      <a:pt x="98" y="609"/>
                      <a:pt x="91" y="608"/>
                      <a:pt x="87" y="605"/>
                    </a:cubicBezTo>
                    <a:cubicBezTo>
                      <a:pt x="83" y="602"/>
                      <a:pt x="78" y="599"/>
                      <a:pt x="77" y="595"/>
                    </a:cubicBezTo>
                    <a:cubicBezTo>
                      <a:pt x="76" y="591"/>
                      <a:pt x="78" y="583"/>
                      <a:pt x="78" y="580"/>
                    </a:cubicBezTo>
                    <a:cubicBezTo>
                      <a:pt x="78" y="577"/>
                      <a:pt x="77" y="576"/>
                      <a:pt x="75" y="574"/>
                    </a:cubicBezTo>
                    <a:cubicBezTo>
                      <a:pt x="68" y="569"/>
                      <a:pt x="75" y="572"/>
                      <a:pt x="68" y="568"/>
                    </a:cubicBezTo>
                    <a:cubicBezTo>
                      <a:pt x="62" y="560"/>
                      <a:pt x="81" y="563"/>
                      <a:pt x="71" y="559"/>
                    </a:cubicBezTo>
                    <a:cubicBezTo>
                      <a:pt x="67" y="554"/>
                      <a:pt x="76" y="552"/>
                      <a:pt x="71" y="550"/>
                    </a:cubicBezTo>
                    <a:cubicBezTo>
                      <a:pt x="66" y="545"/>
                      <a:pt x="74" y="539"/>
                      <a:pt x="68" y="536"/>
                    </a:cubicBezTo>
                    <a:cubicBezTo>
                      <a:pt x="61" y="530"/>
                      <a:pt x="58" y="550"/>
                      <a:pt x="51" y="545"/>
                    </a:cubicBezTo>
                    <a:cubicBezTo>
                      <a:pt x="42" y="554"/>
                      <a:pt x="43" y="546"/>
                      <a:pt x="39" y="545"/>
                    </a:cubicBezTo>
                    <a:cubicBezTo>
                      <a:pt x="35" y="544"/>
                      <a:pt x="30" y="541"/>
                      <a:pt x="27" y="539"/>
                    </a:cubicBezTo>
                    <a:cubicBezTo>
                      <a:pt x="24" y="537"/>
                      <a:pt x="21" y="536"/>
                      <a:pt x="18" y="532"/>
                    </a:cubicBezTo>
                    <a:cubicBezTo>
                      <a:pt x="22" y="525"/>
                      <a:pt x="0" y="515"/>
                      <a:pt x="8" y="514"/>
                    </a:cubicBezTo>
                    <a:cubicBezTo>
                      <a:pt x="4" y="514"/>
                      <a:pt x="14" y="502"/>
                      <a:pt x="14" y="500"/>
                    </a:cubicBezTo>
                    <a:cubicBezTo>
                      <a:pt x="14" y="498"/>
                      <a:pt x="9" y="503"/>
                      <a:pt x="8" y="499"/>
                    </a:cubicBezTo>
                    <a:cubicBezTo>
                      <a:pt x="7" y="495"/>
                      <a:pt x="7" y="485"/>
                      <a:pt x="8" y="479"/>
                    </a:cubicBezTo>
                    <a:cubicBezTo>
                      <a:pt x="9" y="473"/>
                      <a:pt x="9" y="469"/>
                      <a:pt x="12" y="464"/>
                    </a:cubicBezTo>
                    <a:cubicBezTo>
                      <a:pt x="15" y="459"/>
                      <a:pt x="19" y="454"/>
                      <a:pt x="24" y="452"/>
                    </a:cubicBezTo>
                    <a:cubicBezTo>
                      <a:pt x="29" y="450"/>
                      <a:pt x="38" y="454"/>
                      <a:pt x="41" y="451"/>
                    </a:cubicBezTo>
                    <a:cubicBezTo>
                      <a:pt x="44" y="448"/>
                      <a:pt x="42" y="440"/>
                      <a:pt x="45" y="436"/>
                    </a:cubicBezTo>
                    <a:cubicBezTo>
                      <a:pt x="48" y="432"/>
                      <a:pt x="55" y="427"/>
                      <a:pt x="60" y="424"/>
                    </a:cubicBezTo>
                    <a:cubicBezTo>
                      <a:pt x="65" y="421"/>
                      <a:pt x="71" y="419"/>
                      <a:pt x="74" y="415"/>
                    </a:cubicBezTo>
                    <a:cubicBezTo>
                      <a:pt x="79" y="411"/>
                      <a:pt x="75" y="401"/>
                      <a:pt x="81" y="400"/>
                    </a:cubicBezTo>
                    <a:cubicBezTo>
                      <a:pt x="94" y="394"/>
                      <a:pt x="82" y="403"/>
                      <a:pt x="93" y="395"/>
                    </a:cubicBezTo>
                    <a:cubicBezTo>
                      <a:pt x="95" y="390"/>
                      <a:pt x="108" y="386"/>
                      <a:pt x="111" y="382"/>
                    </a:cubicBezTo>
                    <a:cubicBezTo>
                      <a:pt x="113" y="374"/>
                      <a:pt x="128" y="382"/>
                      <a:pt x="134" y="377"/>
                    </a:cubicBezTo>
                    <a:cubicBezTo>
                      <a:pt x="140" y="376"/>
                      <a:pt x="142" y="376"/>
                      <a:pt x="146" y="374"/>
                    </a:cubicBezTo>
                    <a:cubicBezTo>
                      <a:pt x="150" y="372"/>
                      <a:pt x="152" y="371"/>
                      <a:pt x="158" y="364"/>
                    </a:cubicBezTo>
                    <a:cubicBezTo>
                      <a:pt x="157" y="358"/>
                      <a:pt x="179" y="337"/>
                      <a:pt x="185" y="329"/>
                    </a:cubicBezTo>
                    <a:cubicBezTo>
                      <a:pt x="190" y="321"/>
                      <a:pt x="191" y="322"/>
                      <a:pt x="191" y="317"/>
                    </a:cubicBezTo>
                    <a:cubicBezTo>
                      <a:pt x="191" y="312"/>
                      <a:pt x="188" y="297"/>
                      <a:pt x="188" y="296"/>
                    </a:cubicBezTo>
                    <a:cubicBezTo>
                      <a:pt x="188" y="294"/>
                      <a:pt x="188" y="313"/>
                      <a:pt x="188" y="308"/>
                    </a:cubicBezTo>
                    <a:cubicBezTo>
                      <a:pt x="187" y="303"/>
                      <a:pt x="186" y="276"/>
                      <a:pt x="184" y="268"/>
                    </a:cubicBezTo>
                    <a:cubicBezTo>
                      <a:pt x="182" y="260"/>
                      <a:pt x="180" y="263"/>
                      <a:pt x="177" y="262"/>
                    </a:cubicBezTo>
                    <a:cubicBezTo>
                      <a:pt x="174" y="261"/>
                      <a:pt x="171" y="261"/>
                      <a:pt x="168" y="259"/>
                    </a:cubicBezTo>
                    <a:cubicBezTo>
                      <a:pt x="165" y="257"/>
                      <a:pt x="163" y="252"/>
                      <a:pt x="161" y="248"/>
                    </a:cubicBezTo>
                    <a:cubicBezTo>
                      <a:pt x="158" y="240"/>
                      <a:pt x="161" y="240"/>
                      <a:pt x="156" y="232"/>
                    </a:cubicBezTo>
                    <a:cubicBezTo>
                      <a:pt x="153" y="228"/>
                      <a:pt x="147" y="231"/>
                      <a:pt x="143" y="229"/>
                    </a:cubicBezTo>
                    <a:cubicBezTo>
                      <a:pt x="139" y="227"/>
                      <a:pt x="135" y="225"/>
                      <a:pt x="134" y="218"/>
                    </a:cubicBezTo>
                    <a:cubicBezTo>
                      <a:pt x="135" y="204"/>
                      <a:pt x="136" y="202"/>
                      <a:pt x="138" y="188"/>
                    </a:cubicBezTo>
                    <a:cubicBezTo>
                      <a:pt x="136" y="180"/>
                      <a:pt x="148" y="193"/>
                      <a:pt x="149" y="181"/>
                    </a:cubicBezTo>
                    <a:cubicBezTo>
                      <a:pt x="150" y="169"/>
                      <a:pt x="146" y="127"/>
                      <a:pt x="144" y="115"/>
                    </a:cubicBezTo>
                    <a:cubicBezTo>
                      <a:pt x="142" y="103"/>
                      <a:pt x="140" y="109"/>
                      <a:pt x="137" y="106"/>
                    </a:cubicBezTo>
                    <a:cubicBezTo>
                      <a:pt x="134" y="103"/>
                      <a:pt x="132" y="100"/>
                      <a:pt x="129" y="97"/>
                    </a:cubicBezTo>
                    <a:cubicBezTo>
                      <a:pt x="126" y="94"/>
                      <a:pt x="122" y="92"/>
                      <a:pt x="120" y="88"/>
                    </a:cubicBezTo>
                    <a:cubicBezTo>
                      <a:pt x="118" y="84"/>
                      <a:pt x="115" y="77"/>
                      <a:pt x="115" y="73"/>
                    </a:cubicBezTo>
                    <a:cubicBezTo>
                      <a:pt x="110" y="63"/>
                      <a:pt x="126" y="68"/>
                      <a:pt x="119" y="61"/>
                    </a:cubicBezTo>
                    <a:lnTo>
                      <a:pt x="119" y="3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4">
                <a:extLst>
                  <a:ext uri="{FF2B5EF4-FFF2-40B4-BE49-F238E27FC236}">
                    <a16:creationId xmlns:a16="http://schemas.microsoft.com/office/drawing/2014/main" id="{E9246C21-F043-485E-A841-AD995F8A4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886" y="5334591"/>
                <a:ext cx="2969017" cy="2653668"/>
              </a:xfrm>
              <a:custGeom>
                <a:avLst/>
                <a:gdLst/>
                <a:ahLst/>
                <a:cxnLst>
                  <a:cxn ang="0">
                    <a:pos x="123" y="107"/>
                  </a:cxn>
                  <a:cxn ang="0">
                    <a:pos x="229" y="11"/>
                  </a:cxn>
                  <a:cxn ang="0">
                    <a:pos x="294" y="55"/>
                  </a:cxn>
                  <a:cxn ang="0">
                    <a:pos x="336" y="89"/>
                  </a:cxn>
                  <a:cxn ang="0">
                    <a:pos x="391" y="145"/>
                  </a:cxn>
                  <a:cxn ang="0">
                    <a:pos x="468" y="175"/>
                  </a:cxn>
                  <a:cxn ang="0">
                    <a:pos x="549" y="214"/>
                  </a:cxn>
                  <a:cxn ang="0">
                    <a:pos x="616" y="238"/>
                  </a:cxn>
                  <a:cxn ang="0">
                    <a:pos x="702" y="251"/>
                  </a:cxn>
                  <a:cxn ang="0">
                    <a:pos x="697" y="311"/>
                  </a:cxn>
                  <a:cxn ang="0">
                    <a:pos x="726" y="398"/>
                  </a:cxn>
                  <a:cxn ang="0">
                    <a:pos x="714" y="461"/>
                  </a:cxn>
                  <a:cxn ang="0">
                    <a:pos x="765" y="509"/>
                  </a:cxn>
                  <a:cxn ang="0">
                    <a:pos x="760" y="575"/>
                  </a:cxn>
                  <a:cxn ang="0">
                    <a:pos x="684" y="622"/>
                  </a:cxn>
                  <a:cxn ang="0">
                    <a:pos x="652" y="653"/>
                  </a:cxn>
                  <a:cxn ang="0">
                    <a:pos x="618" y="685"/>
                  </a:cxn>
                  <a:cxn ang="0">
                    <a:pos x="589" y="677"/>
                  </a:cxn>
                  <a:cxn ang="0">
                    <a:pos x="582" y="638"/>
                  </a:cxn>
                  <a:cxn ang="0">
                    <a:pos x="558" y="608"/>
                  </a:cxn>
                  <a:cxn ang="0">
                    <a:pos x="525" y="569"/>
                  </a:cxn>
                  <a:cxn ang="0">
                    <a:pos x="499" y="538"/>
                  </a:cxn>
                  <a:cxn ang="0">
                    <a:pos x="469" y="557"/>
                  </a:cxn>
                  <a:cxn ang="0">
                    <a:pos x="417" y="548"/>
                  </a:cxn>
                  <a:cxn ang="0">
                    <a:pos x="372" y="544"/>
                  </a:cxn>
                  <a:cxn ang="0">
                    <a:pos x="328" y="550"/>
                  </a:cxn>
                  <a:cxn ang="0">
                    <a:pos x="277" y="560"/>
                  </a:cxn>
                  <a:cxn ang="0">
                    <a:pos x="219" y="533"/>
                  </a:cxn>
                  <a:cxn ang="0">
                    <a:pos x="193" y="499"/>
                  </a:cxn>
                  <a:cxn ang="0">
                    <a:pos x="162" y="467"/>
                  </a:cxn>
                  <a:cxn ang="0">
                    <a:pos x="130" y="427"/>
                  </a:cxn>
                  <a:cxn ang="0">
                    <a:pos x="147" y="388"/>
                  </a:cxn>
                  <a:cxn ang="0">
                    <a:pos x="174" y="341"/>
                  </a:cxn>
                  <a:cxn ang="0">
                    <a:pos x="162" y="313"/>
                  </a:cxn>
                  <a:cxn ang="0">
                    <a:pos x="115" y="305"/>
                  </a:cxn>
                  <a:cxn ang="0">
                    <a:pos x="120" y="280"/>
                  </a:cxn>
                  <a:cxn ang="0">
                    <a:pos x="156" y="259"/>
                  </a:cxn>
                  <a:cxn ang="0">
                    <a:pos x="138" y="245"/>
                  </a:cxn>
                  <a:cxn ang="0">
                    <a:pos x="114" y="235"/>
                  </a:cxn>
                  <a:cxn ang="0">
                    <a:pos x="76" y="230"/>
                  </a:cxn>
                  <a:cxn ang="0">
                    <a:pos x="70" y="203"/>
                  </a:cxn>
                  <a:cxn ang="0">
                    <a:pos x="45" y="212"/>
                  </a:cxn>
                  <a:cxn ang="0">
                    <a:pos x="54" y="254"/>
                  </a:cxn>
                  <a:cxn ang="0">
                    <a:pos x="25" y="245"/>
                  </a:cxn>
                  <a:cxn ang="0">
                    <a:pos x="4" y="220"/>
                  </a:cxn>
                  <a:cxn ang="0">
                    <a:pos x="40" y="175"/>
                  </a:cxn>
                  <a:cxn ang="0">
                    <a:pos x="85" y="136"/>
                  </a:cxn>
                </a:cxnLst>
                <a:rect l="0" t="0" r="r" b="b"/>
                <a:pathLst>
                  <a:path w="768" h="695">
                    <a:moveTo>
                      <a:pt x="85" y="136"/>
                    </a:moveTo>
                    <a:cubicBezTo>
                      <a:pt x="90" y="134"/>
                      <a:pt x="99" y="132"/>
                      <a:pt x="105" y="127"/>
                    </a:cubicBezTo>
                    <a:cubicBezTo>
                      <a:pt x="111" y="122"/>
                      <a:pt x="117" y="111"/>
                      <a:pt x="123" y="107"/>
                    </a:cubicBezTo>
                    <a:cubicBezTo>
                      <a:pt x="132" y="101"/>
                      <a:pt x="133" y="106"/>
                      <a:pt x="139" y="103"/>
                    </a:cubicBezTo>
                    <a:cubicBezTo>
                      <a:pt x="145" y="100"/>
                      <a:pt x="144" y="103"/>
                      <a:pt x="159" y="88"/>
                    </a:cubicBezTo>
                    <a:cubicBezTo>
                      <a:pt x="173" y="82"/>
                      <a:pt x="212" y="13"/>
                      <a:pt x="229" y="11"/>
                    </a:cubicBezTo>
                    <a:cubicBezTo>
                      <a:pt x="243" y="0"/>
                      <a:pt x="244" y="2"/>
                      <a:pt x="250" y="13"/>
                    </a:cubicBezTo>
                    <a:cubicBezTo>
                      <a:pt x="258" y="18"/>
                      <a:pt x="273" y="34"/>
                      <a:pt x="280" y="41"/>
                    </a:cubicBezTo>
                    <a:cubicBezTo>
                      <a:pt x="287" y="48"/>
                      <a:pt x="291" y="50"/>
                      <a:pt x="294" y="55"/>
                    </a:cubicBezTo>
                    <a:cubicBezTo>
                      <a:pt x="297" y="60"/>
                      <a:pt x="295" y="68"/>
                      <a:pt x="298" y="73"/>
                    </a:cubicBezTo>
                    <a:cubicBezTo>
                      <a:pt x="312" y="78"/>
                      <a:pt x="300" y="85"/>
                      <a:pt x="315" y="86"/>
                    </a:cubicBezTo>
                    <a:cubicBezTo>
                      <a:pt x="339" y="91"/>
                      <a:pt x="311" y="86"/>
                      <a:pt x="336" y="89"/>
                    </a:cubicBezTo>
                    <a:cubicBezTo>
                      <a:pt x="342" y="90"/>
                      <a:pt x="334" y="121"/>
                      <a:pt x="334" y="121"/>
                    </a:cubicBezTo>
                    <a:cubicBezTo>
                      <a:pt x="335" y="134"/>
                      <a:pt x="362" y="130"/>
                      <a:pt x="364" y="139"/>
                    </a:cubicBezTo>
                    <a:cubicBezTo>
                      <a:pt x="373" y="143"/>
                      <a:pt x="383" y="142"/>
                      <a:pt x="391" y="145"/>
                    </a:cubicBezTo>
                    <a:cubicBezTo>
                      <a:pt x="392" y="152"/>
                      <a:pt x="413" y="151"/>
                      <a:pt x="415" y="158"/>
                    </a:cubicBezTo>
                    <a:cubicBezTo>
                      <a:pt x="426" y="160"/>
                      <a:pt x="429" y="164"/>
                      <a:pt x="439" y="172"/>
                    </a:cubicBezTo>
                    <a:cubicBezTo>
                      <a:pt x="457" y="176"/>
                      <a:pt x="445" y="172"/>
                      <a:pt x="468" y="175"/>
                    </a:cubicBezTo>
                    <a:cubicBezTo>
                      <a:pt x="475" y="180"/>
                      <a:pt x="477" y="170"/>
                      <a:pt x="489" y="182"/>
                    </a:cubicBezTo>
                    <a:cubicBezTo>
                      <a:pt x="497" y="184"/>
                      <a:pt x="507" y="182"/>
                      <a:pt x="517" y="187"/>
                    </a:cubicBezTo>
                    <a:cubicBezTo>
                      <a:pt x="528" y="196"/>
                      <a:pt x="538" y="200"/>
                      <a:pt x="549" y="214"/>
                    </a:cubicBezTo>
                    <a:cubicBezTo>
                      <a:pt x="559" y="221"/>
                      <a:pt x="568" y="224"/>
                      <a:pt x="576" y="227"/>
                    </a:cubicBezTo>
                    <a:cubicBezTo>
                      <a:pt x="584" y="230"/>
                      <a:pt x="588" y="231"/>
                      <a:pt x="595" y="233"/>
                    </a:cubicBezTo>
                    <a:cubicBezTo>
                      <a:pt x="601" y="238"/>
                      <a:pt x="610" y="228"/>
                      <a:pt x="616" y="238"/>
                    </a:cubicBezTo>
                    <a:cubicBezTo>
                      <a:pt x="623" y="240"/>
                      <a:pt x="630" y="246"/>
                      <a:pt x="639" y="247"/>
                    </a:cubicBezTo>
                    <a:cubicBezTo>
                      <a:pt x="648" y="248"/>
                      <a:pt x="663" y="246"/>
                      <a:pt x="673" y="247"/>
                    </a:cubicBezTo>
                    <a:cubicBezTo>
                      <a:pt x="683" y="248"/>
                      <a:pt x="698" y="247"/>
                      <a:pt x="702" y="251"/>
                    </a:cubicBezTo>
                    <a:cubicBezTo>
                      <a:pt x="706" y="255"/>
                      <a:pt x="698" y="264"/>
                      <a:pt x="697" y="272"/>
                    </a:cubicBezTo>
                    <a:cubicBezTo>
                      <a:pt x="696" y="280"/>
                      <a:pt x="696" y="292"/>
                      <a:pt x="696" y="298"/>
                    </a:cubicBezTo>
                    <a:cubicBezTo>
                      <a:pt x="701" y="302"/>
                      <a:pt x="691" y="308"/>
                      <a:pt x="697" y="311"/>
                    </a:cubicBezTo>
                    <a:cubicBezTo>
                      <a:pt x="702" y="318"/>
                      <a:pt x="692" y="325"/>
                      <a:pt x="699" y="331"/>
                    </a:cubicBezTo>
                    <a:cubicBezTo>
                      <a:pt x="697" y="321"/>
                      <a:pt x="717" y="349"/>
                      <a:pt x="723" y="352"/>
                    </a:cubicBezTo>
                    <a:cubicBezTo>
                      <a:pt x="727" y="362"/>
                      <a:pt x="726" y="387"/>
                      <a:pt x="726" y="398"/>
                    </a:cubicBezTo>
                    <a:cubicBezTo>
                      <a:pt x="726" y="409"/>
                      <a:pt x="725" y="417"/>
                      <a:pt x="724" y="421"/>
                    </a:cubicBezTo>
                    <a:cubicBezTo>
                      <a:pt x="723" y="425"/>
                      <a:pt x="719" y="418"/>
                      <a:pt x="717" y="425"/>
                    </a:cubicBezTo>
                    <a:cubicBezTo>
                      <a:pt x="716" y="444"/>
                      <a:pt x="714" y="451"/>
                      <a:pt x="714" y="461"/>
                    </a:cubicBezTo>
                    <a:cubicBezTo>
                      <a:pt x="717" y="468"/>
                      <a:pt x="728" y="464"/>
                      <a:pt x="732" y="469"/>
                    </a:cubicBezTo>
                    <a:cubicBezTo>
                      <a:pt x="736" y="474"/>
                      <a:pt x="734" y="483"/>
                      <a:pt x="739" y="490"/>
                    </a:cubicBezTo>
                    <a:cubicBezTo>
                      <a:pt x="744" y="497"/>
                      <a:pt x="760" y="498"/>
                      <a:pt x="765" y="509"/>
                    </a:cubicBezTo>
                    <a:cubicBezTo>
                      <a:pt x="767" y="518"/>
                      <a:pt x="763" y="545"/>
                      <a:pt x="768" y="553"/>
                    </a:cubicBezTo>
                    <a:cubicBezTo>
                      <a:pt x="767" y="562"/>
                      <a:pt x="763" y="561"/>
                      <a:pt x="762" y="565"/>
                    </a:cubicBezTo>
                    <a:cubicBezTo>
                      <a:pt x="761" y="569"/>
                      <a:pt x="766" y="568"/>
                      <a:pt x="760" y="575"/>
                    </a:cubicBezTo>
                    <a:cubicBezTo>
                      <a:pt x="754" y="582"/>
                      <a:pt x="737" y="601"/>
                      <a:pt x="727" y="608"/>
                    </a:cubicBezTo>
                    <a:cubicBezTo>
                      <a:pt x="717" y="615"/>
                      <a:pt x="707" y="617"/>
                      <a:pt x="700" y="619"/>
                    </a:cubicBezTo>
                    <a:cubicBezTo>
                      <a:pt x="693" y="621"/>
                      <a:pt x="691" y="619"/>
                      <a:pt x="684" y="622"/>
                    </a:cubicBezTo>
                    <a:cubicBezTo>
                      <a:pt x="679" y="630"/>
                      <a:pt x="668" y="633"/>
                      <a:pt x="660" y="638"/>
                    </a:cubicBezTo>
                    <a:cubicBezTo>
                      <a:pt x="656" y="639"/>
                      <a:pt x="659" y="639"/>
                      <a:pt x="657" y="641"/>
                    </a:cubicBezTo>
                    <a:cubicBezTo>
                      <a:pt x="656" y="643"/>
                      <a:pt x="655" y="649"/>
                      <a:pt x="652" y="653"/>
                    </a:cubicBezTo>
                    <a:cubicBezTo>
                      <a:pt x="645" y="665"/>
                      <a:pt x="648" y="654"/>
                      <a:pt x="637" y="665"/>
                    </a:cubicBezTo>
                    <a:cubicBezTo>
                      <a:pt x="635" y="668"/>
                      <a:pt x="628" y="671"/>
                      <a:pt x="624" y="673"/>
                    </a:cubicBezTo>
                    <a:cubicBezTo>
                      <a:pt x="621" y="676"/>
                      <a:pt x="622" y="682"/>
                      <a:pt x="618" y="685"/>
                    </a:cubicBezTo>
                    <a:cubicBezTo>
                      <a:pt x="614" y="688"/>
                      <a:pt x="605" y="693"/>
                      <a:pt x="601" y="694"/>
                    </a:cubicBezTo>
                    <a:cubicBezTo>
                      <a:pt x="596" y="695"/>
                      <a:pt x="587" y="695"/>
                      <a:pt x="585" y="692"/>
                    </a:cubicBezTo>
                    <a:cubicBezTo>
                      <a:pt x="583" y="689"/>
                      <a:pt x="588" y="682"/>
                      <a:pt x="589" y="677"/>
                    </a:cubicBezTo>
                    <a:cubicBezTo>
                      <a:pt x="590" y="672"/>
                      <a:pt x="590" y="668"/>
                      <a:pt x="589" y="664"/>
                    </a:cubicBezTo>
                    <a:cubicBezTo>
                      <a:pt x="575" y="665"/>
                      <a:pt x="581" y="657"/>
                      <a:pt x="580" y="653"/>
                    </a:cubicBezTo>
                    <a:cubicBezTo>
                      <a:pt x="579" y="649"/>
                      <a:pt x="582" y="644"/>
                      <a:pt x="582" y="638"/>
                    </a:cubicBezTo>
                    <a:cubicBezTo>
                      <a:pt x="582" y="632"/>
                      <a:pt x="582" y="624"/>
                      <a:pt x="580" y="619"/>
                    </a:cubicBezTo>
                    <a:cubicBezTo>
                      <a:pt x="578" y="614"/>
                      <a:pt x="571" y="612"/>
                      <a:pt x="568" y="610"/>
                    </a:cubicBezTo>
                    <a:cubicBezTo>
                      <a:pt x="565" y="608"/>
                      <a:pt x="561" y="610"/>
                      <a:pt x="558" y="608"/>
                    </a:cubicBezTo>
                    <a:cubicBezTo>
                      <a:pt x="555" y="606"/>
                      <a:pt x="556" y="602"/>
                      <a:pt x="553" y="598"/>
                    </a:cubicBezTo>
                    <a:cubicBezTo>
                      <a:pt x="550" y="594"/>
                      <a:pt x="545" y="586"/>
                      <a:pt x="540" y="581"/>
                    </a:cubicBezTo>
                    <a:cubicBezTo>
                      <a:pt x="535" y="576"/>
                      <a:pt x="529" y="573"/>
                      <a:pt x="525" y="569"/>
                    </a:cubicBezTo>
                    <a:cubicBezTo>
                      <a:pt x="521" y="565"/>
                      <a:pt x="516" y="559"/>
                      <a:pt x="513" y="554"/>
                    </a:cubicBezTo>
                    <a:cubicBezTo>
                      <a:pt x="510" y="549"/>
                      <a:pt x="510" y="539"/>
                      <a:pt x="508" y="536"/>
                    </a:cubicBezTo>
                    <a:cubicBezTo>
                      <a:pt x="500" y="510"/>
                      <a:pt x="503" y="538"/>
                      <a:pt x="499" y="538"/>
                    </a:cubicBezTo>
                    <a:cubicBezTo>
                      <a:pt x="496" y="539"/>
                      <a:pt x="492" y="541"/>
                      <a:pt x="489" y="542"/>
                    </a:cubicBezTo>
                    <a:cubicBezTo>
                      <a:pt x="486" y="543"/>
                      <a:pt x="484" y="542"/>
                      <a:pt x="481" y="544"/>
                    </a:cubicBezTo>
                    <a:cubicBezTo>
                      <a:pt x="478" y="546"/>
                      <a:pt x="473" y="555"/>
                      <a:pt x="469" y="557"/>
                    </a:cubicBezTo>
                    <a:cubicBezTo>
                      <a:pt x="465" y="559"/>
                      <a:pt x="460" y="557"/>
                      <a:pt x="453" y="557"/>
                    </a:cubicBezTo>
                    <a:cubicBezTo>
                      <a:pt x="446" y="557"/>
                      <a:pt x="432" y="560"/>
                      <a:pt x="426" y="559"/>
                    </a:cubicBezTo>
                    <a:cubicBezTo>
                      <a:pt x="411" y="555"/>
                      <a:pt x="421" y="551"/>
                      <a:pt x="417" y="548"/>
                    </a:cubicBezTo>
                    <a:cubicBezTo>
                      <a:pt x="413" y="545"/>
                      <a:pt x="408" y="539"/>
                      <a:pt x="403" y="538"/>
                    </a:cubicBezTo>
                    <a:cubicBezTo>
                      <a:pt x="398" y="537"/>
                      <a:pt x="392" y="540"/>
                      <a:pt x="387" y="541"/>
                    </a:cubicBezTo>
                    <a:cubicBezTo>
                      <a:pt x="382" y="542"/>
                      <a:pt x="376" y="544"/>
                      <a:pt x="372" y="544"/>
                    </a:cubicBezTo>
                    <a:cubicBezTo>
                      <a:pt x="368" y="544"/>
                      <a:pt x="364" y="543"/>
                      <a:pt x="360" y="544"/>
                    </a:cubicBezTo>
                    <a:cubicBezTo>
                      <a:pt x="356" y="545"/>
                      <a:pt x="351" y="552"/>
                      <a:pt x="346" y="553"/>
                    </a:cubicBezTo>
                    <a:cubicBezTo>
                      <a:pt x="341" y="554"/>
                      <a:pt x="334" y="550"/>
                      <a:pt x="328" y="550"/>
                    </a:cubicBezTo>
                    <a:cubicBezTo>
                      <a:pt x="317" y="551"/>
                      <a:pt x="316" y="555"/>
                      <a:pt x="310" y="554"/>
                    </a:cubicBezTo>
                    <a:cubicBezTo>
                      <a:pt x="304" y="554"/>
                      <a:pt x="299" y="550"/>
                      <a:pt x="294" y="551"/>
                    </a:cubicBezTo>
                    <a:cubicBezTo>
                      <a:pt x="289" y="552"/>
                      <a:pt x="284" y="559"/>
                      <a:pt x="277" y="560"/>
                    </a:cubicBezTo>
                    <a:cubicBezTo>
                      <a:pt x="270" y="561"/>
                      <a:pt x="260" y="561"/>
                      <a:pt x="253" y="559"/>
                    </a:cubicBezTo>
                    <a:cubicBezTo>
                      <a:pt x="246" y="557"/>
                      <a:pt x="243" y="552"/>
                      <a:pt x="237" y="548"/>
                    </a:cubicBezTo>
                    <a:cubicBezTo>
                      <a:pt x="221" y="547"/>
                      <a:pt x="224" y="537"/>
                      <a:pt x="219" y="533"/>
                    </a:cubicBezTo>
                    <a:cubicBezTo>
                      <a:pt x="214" y="529"/>
                      <a:pt x="208" y="525"/>
                      <a:pt x="205" y="521"/>
                    </a:cubicBezTo>
                    <a:cubicBezTo>
                      <a:pt x="202" y="517"/>
                      <a:pt x="201" y="515"/>
                      <a:pt x="199" y="511"/>
                    </a:cubicBezTo>
                    <a:cubicBezTo>
                      <a:pt x="194" y="507"/>
                      <a:pt x="196" y="502"/>
                      <a:pt x="193" y="499"/>
                    </a:cubicBezTo>
                    <a:cubicBezTo>
                      <a:pt x="190" y="496"/>
                      <a:pt x="186" y="498"/>
                      <a:pt x="181" y="496"/>
                    </a:cubicBezTo>
                    <a:cubicBezTo>
                      <a:pt x="176" y="494"/>
                      <a:pt x="168" y="489"/>
                      <a:pt x="165" y="484"/>
                    </a:cubicBezTo>
                    <a:cubicBezTo>
                      <a:pt x="162" y="479"/>
                      <a:pt x="164" y="472"/>
                      <a:pt x="162" y="467"/>
                    </a:cubicBezTo>
                    <a:cubicBezTo>
                      <a:pt x="160" y="462"/>
                      <a:pt x="157" y="456"/>
                      <a:pt x="153" y="451"/>
                    </a:cubicBezTo>
                    <a:cubicBezTo>
                      <a:pt x="149" y="446"/>
                      <a:pt x="140" y="443"/>
                      <a:pt x="136" y="439"/>
                    </a:cubicBezTo>
                    <a:cubicBezTo>
                      <a:pt x="132" y="435"/>
                      <a:pt x="129" y="430"/>
                      <a:pt x="130" y="427"/>
                    </a:cubicBezTo>
                    <a:cubicBezTo>
                      <a:pt x="131" y="424"/>
                      <a:pt x="141" y="422"/>
                      <a:pt x="144" y="418"/>
                    </a:cubicBezTo>
                    <a:cubicBezTo>
                      <a:pt x="147" y="414"/>
                      <a:pt x="147" y="409"/>
                      <a:pt x="147" y="404"/>
                    </a:cubicBezTo>
                    <a:cubicBezTo>
                      <a:pt x="147" y="399"/>
                      <a:pt x="145" y="392"/>
                      <a:pt x="147" y="388"/>
                    </a:cubicBezTo>
                    <a:cubicBezTo>
                      <a:pt x="144" y="373"/>
                      <a:pt x="155" y="379"/>
                      <a:pt x="160" y="376"/>
                    </a:cubicBezTo>
                    <a:cubicBezTo>
                      <a:pt x="165" y="373"/>
                      <a:pt x="175" y="374"/>
                      <a:pt x="177" y="368"/>
                    </a:cubicBezTo>
                    <a:cubicBezTo>
                      <a:pt x="171" y="358"/>
                      <a:pt x="174" y="341"/>
                      <a:pt x="174" y="341"/>
                    </a:cubicBezTo>
                    <a:cubicBezTo>
                      <a:pt x="178" y="333"/>
                      <a:pt x="165" y="334"/>
                      <a:pt x="163" y="331"/>
                    </a:cubicBezTo>
                    <a:cubicBezTo>
                      <a:pt x="161" y="328"/>
                      <a:pt x="163" y="323"/>
                      <a:pt x="163" y="320"/>
                    </a:cubicBezTo>
                    <a:cubicBezTo>
                      <a:pt x="163" y="317"/>
                      <a:pt x="164" y="315"/>
                      <a:pt x="162" y="313"/>
                    </a:cubicBezTo>
                    <a:cubicBezTo>
                      <a:pt x="160" y="311"/>
                      <a:pt x="158" y="305"/>
                      <a:pt x="153" y="304"/>
                    </a:cubicBezTo>
                    <a:cubicBezTo>
                      <a:pt x="148" y="303"/>
                      <a:pt x="138" y="304"/>
                      <a:pt x="132" y="304"/>
                    </a:cubicBezTo>
                    <a:cubicBezTo>
                      <a:pt x="126" y="304"/>
                      <a:pt x="120" y="306"/>
                      <a:pt x="115" y="305"/>
                    </a:cubicBezTo>
                    <a:cubicBezTo>
                      <a:pt x="110" y="304"/>
                      <a:pt x="101" y="302"/>
                      <a:pt x="99" y="299"/>
                    </a:cubicBezTo>
                    <a:cubicBezTo>
                      <a:pt x="97" y="296"/>
                      <a:pt x="97" y="287"/>
                      <a:pt x="100" y="284"/>
                    </a:cubicBezTo>
                    <a:cubicBezTo>
                      <a:pt x="103" y="281"/>
                      <a:pt x="115" y="283"/>
                      <a:pt x="120" y="280"/>
                    </a:cubicBezTo>
                    <a:cubicBezTo>
                      <a:pt x="125" y="277"/>
                      <a:pt x="126" y="270"/>
                      <a:pt x="130" y="268"/>
                    </a:cubicBezTo>
                    <a:cubicBezTo>
                      <a:pt x="134" y="266"/>
                      <a:pt x="143" y="267"/>
                      <a:pt x="147" y="266"/>
                    </a:cubicBezTo>
                    <a:cubicBezTo>
                      <a:pt x="151" y="265"/>
                      <a:pt x="154" y="262"/>
                      <a:pt x="156" y="259"/>
                    </a:cubicBezTo>
                    <a:cubicBezTo>
                      <a:pt x="152" y="240"/>
                      <a:pt x="158" y="250"/>
                      <a:pt x="157" y="248"/>
                    </a:cubicBezTo>
                    <a:cubicBezTo>
                      <a:pt x="156" y="246"/>
                      <a:pt x="150" y="247"/>
                      <a:pt x="147" y="247"/>
                    </a:cubicBezTo>
                    <a:cubicBezTo>
                      <a:pt x="144" y="247"/>
                      <a:pt x="141" y="245"/>
                      <a:pt x="138" y="245"/>
                    </a:cubicBezTo>
                    <a:cubicBezTo>
                      <a:pt x="135" y="245"/>
                      <a:pt x="131" y="249"/>
                      <a:pt x="129" y="247"/>
                    </a:cubicBezTo>
                    <a:cubicBezTo>
                      <a:pt x="127" y="245"/>
                      <a:pt x="129" y="235"/>
                      <a:pt x="126" y="233"/>
                    </a:cubicBezTo>
                    <a:cubicBezTo>
                      <a:pt x="123" y="231"/>
                      <a:pt x="118" y="235"/>
                      <a:pt x="114" y="235"/>
                    </a:cubicBezTo>
                    <a:cubicBezTo>
                      <a:pt x="110" y="235"/>
                      <a:pt x="107" y="233"/>
                      <a:pt x="103" y="233"/>
                    </a:cubicBezTo>
                    <a:cubicBezTo>
                      <a:pt x="99" y="233"/>
                      <a:pt x="94" y="236"/>
                      <a:pt x="90" y="236"/>
                    </a:cubicBezTo>
                    <a:cubicBezTo>
                      <a:pt x="86" y="236"/>
                      <a:pt x="79" y="232"/>
                      <a:pt x="76" y="230"/>
                    </a:cubicBezTo>
                    <a:cubicBezTo>
                      <a:pt x="73" y="228"/>
                      <a:pt x="71" y="223"/>
                      <a:pt x="69" y="221"/>
                    </a:cubicBezTo>
                    <a:cubicBezTo>
                      <a:pt x="67" y="219"/>
                      <a:pt x="66" y="217"/>
                      <a:pt x="66" y="214"/>
                    </a:cubicBezTo>
                    <a:cubicBezTo>
                      <a:pt x="66" y="211"/>
                      <a:pt x="71" y="206"/>
                      <a:pt x="70" y="203"/>
                    </a:cubicBezTo>
                    <a:cubicBezTo>
                      <a:pt x="69" y="200"/>
                      <a:pt x="62" y="196"/>
                      <a:pt x="60" y="197"/>
                    </a:cubicBezTo>
                    <a:cubicBezTo>
                      <a:pt x="63" y="196"/>
                      <a:pt x="61" y="220"/>
                      <a:pt x="57" y="212"/>
                    </a:cubicBezTo>
                    <a:cubicBezTo>
                      <a:pt x="51" y="213"/>
                      <a:pt x="44" y="209"/>
                      <a:pt x="45" y="212"/>
                    </a:cubicBezTo>
                    <a:cubicBezTo>
                      <a:pt x="46" y="215"/>
                      <a:pt x="58" y="224"/>
                      <a:pt x="61" y="229"/>
                    </a:cubicBezTo>
                    <a:cubicBezTo>
                      <a:pt x="64" y="234"/>
                      <a:pt x="67" y="241"/>
                      <a:pt x="66" y="245"/>
                    </a:cubicBezTo>
                    <a:cubicBezTo>
                      <a:pt x="65" y="249"/>
                      <a:pt x="58" y="251"/>
                      <a:pt x="54" y="254"/>
                    </a:cubicBezTo>
                    <a:cubicBezTo>
                      <a:pt x="50" y="257"/>
                      <a:pt x="46" y="264"/>
                      <a:pt x="42" y="266"/>
                    </a:cubicBezTo>
                    <a:cubicBezTo>
                      <a:pt x="38" y="268"/>
                      <a:pt x="30" y="269"/>
                      <a:pt x="27" y="266"/>
                    </a:cubicBezTo>
                    <a:cubicBezTo>
                      <a:pt x="24" y="263"/>
                      <a:pt x="26" y="250"/>
                      <a:pt x="25" y="245"/>
                    </a:cubicBezTo>
                    <a:cubicBezTo>
                      <a:pt x="24" y="240"/>
                      <a:pt x="22" y="237"/>
                      <a:pt x="18" y="235"/>
                    </a:cubicBezTo>
                    <a:cubicBezTo>
                      <a:pt x="14" y="233"/>
                      <a:pt x="5" y="232"/>
                      <a:pt x="3" y="230"/>
                    </a:cubicBezTo>
                    <a:cubicBezTo>
                      <a:pt x="1" y="228"/>
                      <a:pt x="0" y="223"/>
                      <a:pt x="4" y="220"/>
                    </a:cubicBezTo>
                    <a:cubicBezTo>
                      <a:pt x="8" y="217"/>
                      <a:pt x="21" y="214"/>
                      <a:pt x="25" y="209"/>
                    </a:cubicBezTo>
                    <a:cubicBezTo>
                      <a:pt x="29" y="204"/>
                      <a:pt x="29" y="197"/>
                      <a:pt x="31" y="191"/>
                    </a:cubicBezTo>
                    <a:cubicBezTo>
                      <a:pt x="33" y="185"/>
                      <a:pt x="37" y="180"/>
                      <a:pt x="40" y="175"/>
                    </a:cubicBezTo>
                    <a:cubicBezTo>
                      <a:pt x="43" y="170"/>
                      <a:pt x="45" y="162"/>
                      <a:pt x="49" y="158"/>
                    </a:cubicBezTo>
                    <a:cubicBezTo>
                      <a:pt x="53" y="154"/>
                      <a:pt x="61" y="152"/>
                      <a:pt x="67" y="148"/>
                    </a:cubicBezTo>
                    <a:cubicBezTo>
                      <a:pt x="68" y="142"/>
                      <a:pt x="85" y="139"/>
                      <a:pt x="85" y="13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ABD36E4E-8DEF-4EDA-8A9C-2DBD4C6DDA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821" y="3200204"/>
                <a:ext cx="2713867" cy="1672383"/>
              </a:xfrm>
              <a:custGeom>
                <a:avLst/>
                <a:gdLst/>
                <a:ahLst/>
                <a:cxnLst>
                  <a:cxn ang="0">
                    <a:pos x="216" y="180"/>
                  </a:cxn>
                  <a:cxn ang="0">
                    <a:pos x="228" y="168"/>
                  </a:cxn>
                  <a:cxn ang="0">
                    <a:pos x="234" y="128"/>
                  </a:cxn>
                  <a:cxn ang="0">
                    <a:pos x="258" y="87"/>
                  </a:cxn>
                  <a:cxn ang="0">
                    <a:pos x="288" y="65"/>
                  </a:cxn>
                  <a:cxn ang="0">
                    <a:pos x="324" y="47"/>
                  </a:cxn>
                  <a:cxn ang="0">
                    <a:pos x="372" y="39"/>
                  </a:cxn>
                  <a:cxn ang="0">
                    <a:pos x="403" y="14"/>
                  </a:cxn>
                  <a:cxn ang="0">
                    <a:pos x="447" y="2"/>
                  </a:cxn>
                  <a:cxn ang="0">
                    <a:pos x="481" y="24"/>
                  </a:cxn>
                  <a:cxn ang="0">
                    <a:pos x="514" y="24"/>
                  </a:cxn>
                  <a:cxn ang="0">
                    <a:pos x="553" y="32"/>
                  </a:cxn>
                  <a:cxn ang="0">
                    <a:pos x="595" y="39"/>
                  </a:cxn>
                  <a:cxn ang="0">
                    <a:pos x="634" y="57"/>
                  </a:cxn>
                  <a:cxn ang="0">
                    <a:pos x="658" y="104"/>
                  </a:cxn>
                  <a:cxn ang="0">
                    <a:pos x="693" y="143"/>
                  </a:cxn>
                  <a:cxn ang="0">
                    <a:pos x="685" y="189"/>
                  </a:cxn>
                  <a:cxn ang="0">
                    <a:pos x="661" y="237"/>
                  </a:cxn>
                  <a:cxn ang="0">
                    <a:pos x="670" y="273"/>
                  </a:cxn>
                  <a:cxn ang="0">
                    <a:pos x="643" y="311"/>
                  </a:cxn>
                  <a:cxn ang="0">
                    <a:pos x="592" y="335"/>
                  </a:cxn>
                  <a:cxn ang="0">
                    <a:pos x="558" y="363"/>
                  </a:cxn>
                  <a:cxn ang="0">
                    <a:pos x="462" y="398"/>
                  </a:cxn>
                  <a:cxn ang="0">
                    <a:pos x="409" y="390"/>
                  </a:cxn>
                  <a:cxn ang="0">
                    <a:pos x="354" y="396"/>
                  </a:cxn>
                  <a:cxn ang="0">
                    <a:pos x="309" y="413"/>
                  </a:cxn>
                  <a:cxn ang="0">
                    <a:pos x="259" y="435"/>
                  </a:cxn>
                  <a:cxn ang="0">
                    <a:pos x="210" y="431"/>
                  </a:cxn>
                  <a:cxn ang="0">
                    <a:pos x="166" y="399"/>
                  </a:cxn>
                  <a:cxn ang="0">
                    <a:pos x="126" y="380"/>
                  </a:cxn>
                  <a:cxn ang="0">
                    <a:pos x="75" y="372"/>
                  </a:cxn>
                  <a:cxn ang="0">
                    <a:pos x="40" y="362"/>
                  </a:cxn>
                  <a:cxn ang="0">
                    <a:pos x="22" y="314"/>
                  </a:cxn>
                  <a:cxn ang="0">
                    <a:pos x="3" y="276"/>
                  </a:cxn>
                  <a:cxn ang="0">
                    <a:pos x="24" y="245"/>
                  </a:cxn>
                  <a:cxn ang="0">
                    <a:pos x="46" y="218"/>
                  </a:cxn>
                  <a:cxn ang="0">
                    <a:pos x="64" y="180"/>
                  </a:cxn>
                  <a:cxn ang="0">
                    <a:pos x="93" y="141"/>
                  </a:cxn>
                  <a:cxn ang="0">
                    <a:pos x="117" y="110"/>
                  </a:cxn>
                  <a:cxn ang="0">
                    <a:pos x="148" y="92"/>
                  </a:cxn>
                  <a:cxn ang="0">
                    <a:pos x="189" y="114"/>
                  </a:cxn>
                  <a:cxn ang="0">
                    <a:pos x="192" y="149"/>
                  </a:cxn>
                </a:cxnLst>
                <a:rect l="0" t="0" r="r" b="b"/>
                <a:pathLst>
                  <a:path w="702" h="438">
                    <a:moveTo>
                      <a:pt x="192" y="171"/>
                    </a:moveTo>
                    <a:cubicBezTo>
                      <a:pt x="197" y="177"/>
                      <a:pt x="193" y="174"/>
                      <a:pt x="201" y="177"/>
                    </a:cubicBezTo>
                    <a:cubicBezTo>
                      <a:pt x="216" y="188"/>
                      <a:pt x="198" y="177"/>
                      <a:pt x="216" y="180"/>
                    </a:cubicBezTo>
                    <a:cubicBezTo>
                      <a:pt x="226" y="181"/>
                      <a:pt x="216" y="171"/>
                      <a:pt x="216" y="171"/>
                    </a:cubicBezTo>
                    <a:cubicBezTo>
                      <a:pt x="223" y="170"/>
                      <a:pt x="221" y="172"/>
                      <a:pt x="228" y="170"/>
                    </a:cubicBezTo>
                    <a:cubicBezTo>
                      <a:pt x="230" y="169"/>
                      <a:pt x="228" y="171"/>
                      <a:pt x="228" y="168"/>
                    </a:cubicBezTo>
                    <a:cubicBezTo>
                      <a:pt x="228" y="165"/>
                      <a:pt x="226" y="157"/>
                      <a:pt x="228" y="153"/>
                    </a:cubicBezTo>
                    <a:cubicBezTo>
                      <a:pt x="230" y="149"/>
                      <a:pt x="236" y="150"/>
                      <a:pt x="237" y="146"/>
                    </a:cubicBezTo>
                    <a:cubicBezTo>
                      <a:pt x="238" y="142"/>
                      <a:pt x="234" y="135"/>
                      <a:pt x="234" y="128"/>
                    </a:cubicBezTo>
                    <a:cubicBezTo>
                      <a:pt x="234" y="119"/>
                      <a:pt x="233" y="107"/>
                      <a:pt x="235" y="102"/>
                    </a:cubicBezTo>
                    <a:cubicBezTo>
                      <a:pt x="237" y="97"/>
                      <a:pt x="243" y="100"/>
                      <a:pt x="247" y="98"/>
                    </a:cubicBezTo>
                    <a:cubicBezTo>
                      <a:pt x="251" y="96"/>
                      <a:pt x="253" y="89"/>
                      <a:pt x="258" y="87"/>
                    </a:cubicBezTo>
                    <a:cubicBezTo>
                      <a:pt x="263" y="85"/>
                      <a:pt x="276" y="89"/>
                      <a:pt x="280" y="87"/>
                    </a:cubicBezTo>
                    <a:cubicBezTo>
                      <a:pt x="284" y="85"/>
                      <a:pt x="281" y="79"/>
                      <a:pt x="282" y="75"/>
                    </a:cubicBezTo>
                    <a:cubicBezTo>
                      <a:pt x="289" y="72"/>
                      <a:pt x="281" y="68"/>
                      <a:pt x="288" y="65"/>
                    </a:cubicBezTo>
                    <a:cubicBezTo>
                      <a:pt x="294" y="63"/>
                      <a:pt x="301" y="60"/>
                      <a:pt x="301" y="60"/>
                    </a:cubicBezTo>
                    <a:cubicBezTo>
                      <a:pt x="302" y="51"/>
                      <a:pt x="306" y="58"/>
                      <a:pt x="310" y="56"/>
                    </a:cubicBezTo>
                    <a:cubicBezTo>
                      <a:pt x="314" y="54"/>
                      <a:pt x="319" y="48"/>
                      <a:pt x="324" y="47"/>
                    </a:cubicBezTo>
                    <a:cubicBezTo>
                      <a:pt x="329" y="46"/>
                      <a:pt x="334" y="50"/>
                      <a:pt x="339" y="50"/>
                    </a:cubicBezTo>
                    <a:cubicBezTo>
                      <a:pt x="344" y="50"/>
                      <a:pt x="352" y="46"/>
                      <a:pt x="357" y="44"/>
                    </a:cubicBezTo>
                    <a:cubicBezTo>
                      <a:pt x="361" y="32"/>
                      <a:pt x="368" y="42"/>
                      <a:pt x="372" y="39"/>
                    </a:cubicBezTo>
                    <a:cubicBezTo>
                      <a:pt x="376" y="36"/>
                      <a:pt x="375" y="30"/>
                      <a:pt x="379" y="27"/>
                    </a:cubicBezTo>
                    <a:cubicBezTo>
                      <a:pt x="376" y="0"/>
                      <a:pt x="392" y="23"/>
                      <a:pt x="396" y="21"/>
                    </a:cubicBezTo>
                    <a:cubicBezTo>
                      <a:pt x="400" y="19"/>
                      <a:pt x="400" y="17"/>
                      <a:pt x="403" y="14"/>
                    </a:cubicBezTo>
                    <a:cubicBezTo>
                      <a:pt x="406" y="11"/>
                      <a:pt x="410" y="6"/>
                      <a:pt x="415" y="5"/>
                    </a:cubicBezTo>
                    <a:cubicBezTo>
                      <a:pt x="420" y="4"/>
                      <a:pt x="427" y="9"/>
                      <a:pt x="432" y="8"/>
                    </a:cubicBezTo>
                    <a:cubicBezTo>
                      <a:pt x="437" y="7"/>
                      <a:pt x="443" y="1"/>
                      <a:pt x="447" y="2"/>
                    </a:cubicBezTo>
                    <a:cubicBezTo>
                      <a:pt x="451" y="3"/>
                      <a:pt x="450" y="9"/>
                      <a:pt x="454" y="11"/>
                    </a:cubicBezTo>
                    <a:cubicBezTo>
                      <a:pt x="482" y="12"/>
                      <a:pt x="448" y="11"/>
                      <a:pt x="471" y="14"/>
                    </a:cubicBezTo>
                    <a:cubicBezTo>
                      <a:pt x="478" y="20"/>
                      <a:pt x="472" y="21"/>
                      <a:pt x="481" y="24"/>
                    </a:cubicBezTo>
                    <a:cubicBezTo>
                      <a:pt x="486" y="30"/>
                      <a:pt x="478" y="39"/>
                      <a:pt x="495" y="35"/>
                    </a:cubicBezTo>
                    <a:cubicBezTo>
                      <a:pt x="490" y="25"/>
                      <a:pt x="502" y="31"/>
                      <a:pt x="505" y="29"/>
                    </a:cubicBezTo>
                    <a:cubicBezTo>
                      <a:pt x="508" y="27"/>
                      <a:pt x="512" y="25"/>
                      <a:pt x="514" y="24"/>
                    </a:cubicBezTo>
                    <a:cubicBezTo>
                      <a:pt x="515" y="26"/>
                      <a:pt x="518" y="24"/>
                      <a:pt x="519" y="26"/>
                    </a:cubicBezTo>
                    <a:cubicBezTo>
                      <a:pt x="519" y="26"/>
                      <a:pt x="531" y="29"/>
                      <a:pt x="532" y="33"/>
                    </a:cubicBezTo>
                    <a:cubicBezTo>
                      <a:pt x="532" y="27"/>
                      <a:pt x="548" y="30"/>
                      <a:pt x="553" y="32"/>
                    </a:cubicBezTo>
                    <a:cubicBezTo>
                      <a:pt x="558" y="34"/>
                      <a:pt x="558" y="43"/>
                      <a:pt x="562" y="45"/>
                    </a:cubicBezTo>
                    <a:cubicBezTo>
                      <a:pt x="566" y="47"/>
                      <a:pt x="571" y="48"/>
                      <a:pt x="576" y="47"/>
                    </a:cubicBezTo>
                    <a:cubicBezTo>
                      <a:pt x="581" y="46"/>
                      <a:pt x="590" y="38"/>
                      <a:pt x="595" y="39"/>
                    </a:cubicBezTo>
                    <a:cubicBezTo>
                      <a:pt x="600" y="40"/>
                      <a:pt x="603" y="50"/>
                      <a:pt x="607" y="51"/>
                    </a:cubicBezTo>
                    <a:cubicBezTo>
                      <a:pt x="611" y="52"/>
                      <a:pt x="614" y="44"/>
                      <a:pt x="618" y="45"/>
                    </a:cubicBezTo>
                    <a:cubicBezTo>
                      <a:pt x="622" y="46"/>
                      <a:pt x="629" y="53"/>
                      <a:pt x="634" y="57"/>
                    </a:cubicBezTo>
                    <a:cubicBezTo>
                      <a:pt x="639" y="61"/>
                      <a:pt x="644" y="67"/>
                      <a:pt x="646" y="72"/>
                    </a:cubicBezTo>
                    <a:cubicBezTo>
                      <a:pt x="631" y="90"/>
                      <a:pt x="646" y="81"/>
                      <a:pt x="649" y="86"/>
                    </a:cubicBezTo>
                    <a:cubicBezTo>
                      <a:pt x="672" y="74"/>
                      <a:pt x="655" y="100"/>
                      <a:pt x="658" y="104"/>
                    </a:cubicBezTo>
                    <a:cubicBezTo>
                      <a:pt x="661" y="108"/>
                      <a:pt x="663" y="110"/>
                      <a:pt x="667" y="113"/>
                    </a:cubicBezTo>
                    <a:cubicBezTo>
                      <a:pt x="681" y="116"/>
                      <a:pt x="681" y="118"/>
                      <a:pt x="685" y="123"/>
                    </a:cubicBezTo>
                    <a:cubicBezTo>
                      <a:pt x="689" y="128"/>
                      <a:pt x="690" y="138"/>
                      <a:pt x="693" y="143"/>
                    </a:cubicBezTo>
                    <a:cubicBezTo>
                      <a:pt x="696" y="148"/>
                      <a:pt x="702" y="151"/>
                      <a:pt x="702" y="156"/>
                    </a:cubicBezTo>
                    <a:cubicBezTo>
                      <a:pt x="702" y="161"/>
                      <a:pt x="694" y="166"/>
                      <a:pt x="691" y="171"/>
                    </a:cubicBezTo>
                    <a:cubicBezTo>
                      <a:pt x="697" y="178"/>
                      <a:pt x="687" y="183"/>
                      <a:pt x="685" y="189"/>
                    </a:cubicBezTo>
                    <a:cubicBezTo>
                      <a:pt x="683" y="195"/>
                      <a:pt x="681" y="202"/>
                      <a:pt x="679" y="207"/>
                    </a:cubicBezTo>
                    <a:cubicBezTo>
                      <a:pt x="677" y="212"/>
                      <a:pt x="675" y="217"/>
                      <a:pt x="672" y="222"/>
                    </a:cubicBezTo>
                    <a:cubicBezTo>
                      <a:pt x="669" y="227"/>
                      <a:pt x="667" y="234"/>
                      <a:pt x="661" y="237"/>
                    </a:cubicBezTo>
                    <a:cubicBezTo>
                      <a:pt x="670" y="249"/>
                      <a:pt x="660" y="250"/>
                      <a:pt x="660" y="254"/>
                    </a:cubicBezTo>
                    <a:cubicBezTo>
                      <a:pt x="660" y="258"/>
                      <a:pt x="661" y="261"/>
                      <a:pt x="663" y="264"/>
                    </a:cubicBezTo>
                    <a:cubicBezTo>
                      <a:pt x="665" y="267"/>
                      <a:pt x="670" y="270"/>
                      <a:pt x="670" y="273"/>
                    </a:cubicBezTo>
                    <a:cubicBezTo>
                      <a:pt x="670" y="276"/>
                      <a:pt x="665" y="279"/>
                      <a:pt x="663" y="284"/>
                    </a:cubicBezTo>
                    <a:cubicBezTo>
                      <a:pt x="661" y="289"/>
                      <a:pt x="660" y="301"/>
                      <a:pt x="657" y="305"/>
                    </a:cubicBezTo>
                    <a:cubicBezTo>
                      <a:pt x="654" y="309"/>
                      <a:pt x="648" y="309"/>
                      <a:pt x="643" y="311"/>
                    </a:cubicBezTo>
                    <a:cubicBezTo>
                      <a:pt x="638" y="313"/>
                      <a:pt x="636" y="313"/>
                      <a:pt x="628" y="315"/>
                    </a:cubicBezTo>
                    <a:cubicBezTo>
                      <a:pt x="620" y="317"/>
                      <a:pt x="601" y="317"/>
                      <a:pt x="595" y="320"/>
                    </a:cubicBezTo>
                    <a:cubicBezTo>
                      <a:pt x="590" y="330"/>
                      <a:pt x="594" y="331"/>
                      <a:pt x="592" y="335"/>
                    </a:cubicBezTo>
                    <a:cubicBezTo>
                      <a:pt x="590" y="339"/>
                      <a:pt x="588" y="339"/>
                      <a:pt x="585" y="342"/>
                    </a:cubicBezTo>
                    <a:cubicBezTo>
                      <a:pt x="583" y="348"/>
                      <a:pt x="577" y="348"/>
                      <a:pt x="573" y="351"/>
                    </a:cubicBezTo>
                    <a:cubicBezTo>
                      <a:pt x="569" y="354"/>
                      <a:pt x="564" y="361"/>
                      <a:pt x="558" y="363"/>
                    </a:cubicBezTo>
                    <a:cubicBezTo>
                      <a:pt x="552" y="365"/>
                      <a:pt x="548" y="356"/>
                      <a:pt x="538" y="363"/>
                    </a:cubicBezTo>
                    <a:cubicBezTo>
                      <a:pt x="529" y="367"/>
                      <a:pt x="508" y="399"/>
                      <a:pt x="495" y="405"/>
                    </a:cubicBezTo>
                    <a:cubicBezTo>
                      <a:pt x="482" y="411"/>
                      <a:pt x="471" y="398"/>
                      <a:pt x="462" y="398"/>
                    </a:cubicBezTo>
                    <a:cubicBezTo>
                      <a:pt x="453" y="398"/>
                      <a:pt x="444" y="404"/>
                      <a:pt x="438" y="404"/>
                    </a:cubicBezTo>
                    <a:cubicBezTo>
                      <a:pt x="432" y="404"/>
                      <a:pt x="428" y="397"/>
                      <a:pt x="423" y="395"/>
                    </a:cubicBezTo>
                    <a:cubicBezTo>
                      <a:pt x="418" y="393"/>
                      <a:pt x="414" y="391"/>
                      <a:pt x="409" y="390"/>
                    </a:cubicBezTo>
                    <a:cubicBezTo>
                      <a:pt x="404" y="389"/>
                      <a:pt x="399" y="386"/>
                      <a:pt x="393" y="386"/>
                    </a:cubicBezTo>
                    <a:cubicBezTo>
                      <a:pt x="376" y="389"/>
                      <a:pt x="376" y="390"/>
                      <a:pt x="370" y="392"/>
                    </a:cubicBezTo>
                    <a:cubicBezTo>
                      <a:pt x="364" y="394"/>
                      <a:pt x="359" y="395"/>
                      <a:pt x="354" y="396"/>
                    </a:cubicBezTo>
                    <a:cubicBezTo>
                      <a:pt x="349" y="397"/>
                      <a:pt x="344" y="397"/>
                      <a:pt x="339" y="399"/>
                    </a:cubicBezTo>
                    <a:cubicBezTo>
                      <a:pt x="334" y="401"/>
                      <a:pt x="327" y="406"/>
                      <a:pt x="322" y="408"/>
                    </a:cubicBezTo>
                    <a:cubicBezTo>
                      <a:pt x="317" y="410"/>
                      <a:pt x="314" y="412"/>
                      <a:pt x="309" y="413"/>
                    </a:cubicBezTo>
                    <a:cubicBezTo>
                      <a:pt x="294" y="423"/>
                      <a:pt x="298" y="411"/>
                      <a:pt x="294" y="413"/>
                    </a:cubicBezTo>
                    <a:cubicBezTo>
                      <a:pt x="290" y="415"/>
                      <a:pt x="288" y="421"/>
                      <a:pt x="282" y="425"/>
                    </a:cubicBezTo>
                    <a:cubicBezTo>
                      <a:pt x="276" y="429"/>
                      <a:pt x="266" y="433"/>
                      <a:pt x="259" y="435"/>
                    </a:cubicBezTo>
                    <a:cubicBezTo>
                      <a:pt x="252" y="437"/>
                      <a:pt x="247" y="438"/>
                      <a:pt x="241" y="437"/>
                    </a:cubicBezTo>
                    <a:cubicBezTo>
                      <a:pt x="235" y="436"/>
                      <a:pt x="228" y="427"/>
                      <a:pt x="223" y="426"/>
                    </a:cubicBezTo>
                    <a:cubicBezTo>
                      <a:pt x="218" y="425"/>
                      <a:pt x="215" y="432"/>
                      <a:pt x="210" y="431"/>
                    </a:cubicBezTo>
                    <a:cubicBezTo>
                      <a:pt x="205" y="430"/>
                      <a:pt x="197" y="421"/>
                      <a:pt x="192" y="417"/>
                    </a:cubicBezTo>
                    <a:cubicBezTo>
                      <a:pt x="173" y="410"/>
                      <a:pt x="198" y="415"/>
                      <a:pt x="178" y="408"/>
                    </a:cubicBezTo>
                    <a:cubicBezTo>
                      <a:pt x="172" y="404"/>
                      <a:pt x="173" y="402"/>
                      <a:pt x="166" y="399"/>
                    </a:cubicBezTo>
                    <a:cubicBezTo>
                      <a:pt x="160" y="392"/>
                      <a:pt x="161" y="397"/>
                      <a:pt x="154" y="392"/>
                    </a:cubicBezTo>
                    <a:cubicBezTo>
                      <a:pt x="150" y="385"/>
                      <a:pt x="150" y="392"/>
                      <a:pt x="142" y="389"/>
                    </a:cubicBezTo>
                    <a:cubicBezTo>
                      <a:pt x="138" y="385"/>
                      <a:pt x="131" y="382"/>
                      <a:pt x="126" y="380"/>
                    </a:cubicBezTo>
                    <a:cubicBezTo>
                      <a:pt x="121" y="378"/>
                      <a:pt x="117" y="377"/>
                      <a:pt x="111" y="377"/>
                    </a:cubicBezTo>
                    <a:cubicBezTo>
                      <a:pt x="105" y="377"/>
                      <a:pt x="96" y="387"/>
                      <a:pt x="91" y="378"/>
                    </a:cubicBezTo>
                    <a:cubicBezTo>
                      <a:pt x="85" y="377"/>
                      <a:pt x="81" y="373"/>
                      <a:pt x="75" y="372"/>
                    </a:cubicBezTo>
                    <a:cubicBezTo>
                      <a:pt x="69" y="371"/>
                      <a:pt x="60" y="369"/>
                      <a:pt x="55" y="369"/>
                    </a:cubicBezTo>
                    <a:cubicBezTo>
                      <a:pt x="50" y="368"/>
                      <a:pt x="45" y="370"/>
                      <a:pt x="43" y="369"/>
                    </a:cubicBezTo>
                    <a:cubicBezTo>
                      <a:pt x="41" y="368"/>
                      <a:pt x="42" y="364"/>
                      <a:pt x="40" y="362"/>
                    </a:cubicBezTo>
                    <a:cubicBezTo>
                      <a:pt x="38" y="360"/>
                      <a:pt x="35" y="359"/>
                      <a:pt x="33" y="354"/>
                    </a:cubicBezTo>
                    <a:cubicBezTo>
                      <a:pt x="31" y="349"/>
                      <a:pt x="32" y="336"/>
                      <a:pt x="30" y="329"/>
                    </a:cubicBezTo>
                    <a:cubicBezTo>
                      <a:pt x="28" y="322"/>
                      <a:pt x="23" y="319"/>
                      <a:pt x="22" y="314"/>
                    </a:cubicBezTo>
                    <a:cubicBezTo>
                      <a:pt x="10" y="308"/>
                      <a:pt x="23" y="305"/>
                      <a:pt x="22" y="300"/>
                    </a:cubicBezTo>
                    <a:cubicBezTo>
                      <a:pt x="21" y="295"/>
                      <a:pt x="18" y="289"/>
                      <a:pt x="15" y="285"/>
                    </a:cubicBezTo>
                    <a:cubicBezTo>
                      <a:pt x="0" y="285"/>
                      <a:pt x="5" y="280"/>
                      <a:pt x="3" y="276"/>
                    </a:cubicBezTo>
                    <a:cubicBezTo>
                      <a:pt x="1" y="272"/>
                      <a:pt x="2" y="267"/>
                      <a:pt x="3" y="263"/>
                    </a:cubicBezTo>
                    <a:cubicBezTo>
                      <a:pt x="4" y="259"/>
                      <a:pt x="8" y="257"/>
                      <a:pt x="12" y="254"/>
                    </a:cubicBezTo>
                    <a:cubicBezTo>
                      <a:pt x="16" y="251"/>
                      <a:pt x="19" y="247"/>
                      <a:pt x="24" y="245"/>
                    </a:cubicBezTo>
                    <a:cubicBezTo>
                      <a:pt x="20" y="240"/>
                      <a:pt x="37" y="243"/>
                      <a:pt x="40" y="240"/>
                    </a:cubicBezTo>
                    <a:cubicBezTo>
                      <a:pt x="43" y="237"/>
                      <a:pt x="42" y="232"/>
                      <a:pt x="43" y="228"/>
                    </a:cubicBezTo>
                    <a:cubicBezTo>
                      <a:pt x="44" y="224"/>
                      <a:pt x="44" y="222"/>
                      <a:pt x="46" y="218"/>
                    </a:cubicBezTo>
                    <a:cubicBezTo>
                      <a:pt x="48" y="214"/>
                      <a:pt x="52" y="208"/>
                      <a:pt x="54" y="204"/>
                    </a:cubicBezTo>
                    <a:cubicBezTo>
                      <a:pt x="56" y="200"/>
                      <a:pt x="59" y="195"/>
                      <a:pt x="61" y="191"/>
                    </a:cubicBezTo>
                    <a:cubicBezTo>
                      <a:pt x="62" y="182"/>
                      <a:pt x="63" y="184"/>
                      <a:pt x="64" y="180"/>
                    </a:cubicBezTo>
                    <a:cubicBezTo>
                      <a:pt x="65" y="176"/>
                      <a:pt x="67" y="171"/>
                      <a:pt x="69" y="167"/>
                    </a:cubicBezTo>
                    <a:cubicBezTo>
                      <a:pt x="71" y="163"/>
                      <a:pt x="74" y="157"/>
                      <a:pt x="78" y="153"/>
                    </a:cubicBezTo>
                    <a:cubicBezTo>
                      <a:pt x="82" y="149"/>
                      <a:pt x="90" y="146"/>
                      <a:pt x="93" y="141"/>
                    </a:cubicBezTo>
                    <a:cubicBezTo>
                      <a:pt x="96" y="136"/>
                      <a:pt x="91" y="128"/>
                      <a:pt x="93" y="123"/>
                    </a:cubicBezTo>
                    <a:cubicBezTo>
                      <a:pt x="95" y="122"/>
                      <a:pt x="100" y="105"/>
                      <a:pt x="106" y="111"/>
                    </a:cubicBezTo>
                    <a:cubicBezTo>
                      <a:pt x="110" y="109"/>
                      <a:pt x="114" y="113"/>
                      <a:pt x="117" y="110"/>
                    </a:cubicBezTo>
                    <a:cubicBezTo>
                      <a:pt x="120" y="107"/>
                      <a:pt x="119" y="98"/>
                      <a:pt x="123" y="95"/>
                    </a:cubicBezTo>
                    <a:cubicBezTo>
                      <a:pt x="127" y="92"/>
                      <a:pt x="135" y="89"/>
                      <a:pt x="139" y="89"/>
                    </a:cubicBezTo>
                    <a:cubicBezTo>
                      <a:pt x="143" y="89"/>
                      <a:pt x="145" y="90"/>
                      <a:pt x="148" y="92"/>
                    </a:cubicBezTo>
                    <a:cubicBezTo>
                      <a:pt x="152" y="94"/>
                      <a:pt x="162" y="96"/>
                      <a:pt x="166" y="99"/>
                    </a:cubicBezTo>
                    <a:cubicBezTo>
                      <a:pt x="167" y="104"/>
                      <a:pt x="176" y="98"/>
                      <a:pt x="172" y="110"/>
                    </a:cubicBezTo>
                    <a:cubicBezTo>
                      <a:pt x="176" y="112"/>
                      <a:pt x="184" y="111"/>
                      <a:pt x="189" y="114"/>
                    </a:cubicBezTo>
                    <a:cubicBezTo>
                      <a:pt x="194" y="117"/>
                      <a:pt x="197" y="122"/>
                      <a:pt x="199" y="126"/>
                    </a:cubicBezTo>
                    <a:cubicBezTo>
                      <a:pt x="201" y="130"/>
                      <a:pt x="187" y="127"/>
                      <a:pt x="199" y="137"/>
                    </a:cubicBezTo>
                    <a:cubicBezTo>
                      <a:pt x="198" y="141"/>
                      <a:pt x="192" y="145"/>
                      <a:pt x="192" y="149"/>
                    </a:cubicBezTo>
                    <a:cubicBezTo>
                      <a:pt x="192" y="153"/>
                      <a:pt x="198" y="158"/>
                      <a:pt x="198" y="162"/>
                    </a:cubicBezTo>
                    <a:cubicBezTo>
                      <a:pt x="198" y="166"/>
                      <a:pt x="204" y="169"/>
                      <a:pt x="192" y="17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898DC164-5937-4E94-A96C-4F7F0B7F36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8489" y="5884415"/>
                <a:ext cx="2319544" cy="2458938"/>
              </a:xfrm>
              <a:custGeom>
                <a:avLst/>
                <a:gdLst/>
                <a:ahLst/>
                <a:cxnLst>
                  <a:cxn ang="0">
                    <a:pos x="255" y="82"/>
                  </a:cxn>
                  <a:cxn ang="0">
                    <a:pos x="253" y="101"/>
                  </a:cxn>
                  <a:cxn ang="0">
                    <a:pos x="219" y="71"/>
                  </a:cxn>
                  <a:cxn ang="0">
                    <a:pos x="183" y="67"/>
                  </a:cxn>
                  <a:cxn ang="0">
                    <a:pos x="132" y="64"/>
                  </a:cxn>
                  <a:cxn ang="0">
                    <a:pos x="102" y="91"/>
                  </a:cxn>
                  <a:cxn ang="0">
                    <a:pos x="76" y="112"/>
                  </a:cxn>
                  <a:cxn ang="0">
                    <a:pos x="87" y="152"/>
                  </a:cxn>
                  <a:cxn ang="0">
                    <a:pos x="40" y="137"/>
                  </a:cxn>
                  <a:cxn ang="0">
                    <a:pos x="18" y="140"/>
                  </a:cxn>
                  <a:cxn ang="0">
                    <a:pos x="0" y="169"/>
                  </a:cxn>
                  <a:cxn ang="0">
                    <a:pos x="27" y="202"/>
                  </a:cxn>
                  <a:cxn ang="0">
                    <a:pos x="46" y="238"/>
                  </a:cxn>
                  <a:cxn ang="0">
                    <a:pos x="48" y="284"/>
                  </a:cxn>
                  <a:cxn ang="0">
                    <a:pos x="61" y="319"/>
                  </a:cxn>
                  <a:cxn ang="0">
                    <a:pos x="70" y="349"/>
                  </a:cxn>
                  <a:cxn ang="0">
                    <a:pos x="88" y="368"/>
                  </a:cxn>
                  <a:cxn ang="0">
                    <a:pos x="109" y="392"/>
                  </a:cxn>
                  <a:cxn ang="0">
                    <a:pos x="142" y="401"/>
                  </a:cxn>
                  <a:cxn ang="0">
                    <a:pos x="162" y="431"/>
                  </a:cxn>
                  <a:cxn ang="0">
                    <a:pos x="142" y="461"/>
                  </a:cxn>
                  <a:cxn ang="0">
                    <a:pos x="127" y="499"/>
                  </a:cxn>
                  <a:cxn ang="0">
                    <a:pos x="147" y="529"/>
                  </a:cxn>
                  <a:cxn ang="0">
                    <a:pos x="196" y="500"/>
                  </a:cxn>
                  <a:cxn ang="0">
                    <a:pos x="234" y="485"/>
                  </a:cxn>
                  <a:cxn ang="0">
                    <a:pos x="255" y="487"/>
                  </a:cxn>
                  <a:cxn ang="0">
                    <a:pos x="283" y="481"/>
                  </a:cxn>
                  <a:cxn ang="0">
                    <a:pos x="324" y="494"/>
                  </a:cxn>
                  <a:cxn ang="0">
                    <a:pos x="346" y="523"/>
                  </a:cxn>
                  <a:cxn ang="0">
                    <a:pos x="358" y="562"/>
                  </a:cxn>
                  <a:cxn ang="0">
                    <a:pos x="387" y="592"/>
                  </a:cxn>
                  <a:cxn ang="0">
                    <a:pos x="405" y="625"/>
                  </a:cxn>
                  <a:cxn ang="0">
                    <a:pos x="438" y="641"/>
                  </a:cxn>
                  <a:cxn ang="0">
                    <a:pos x="465" y="599"/>
                  </a:cxn>
                  <a:cxn ang="0">
                    <a:pos x="474" y="562"/>
                  </a:cxn>
                  <a:cxn ang="0">
                    <a:pos x="477" y="521"/>
                  </a:cxn>
                  <a:cxn ang="0">
                    <a:pos x="487" y="493"/>
                  </a:cxn>
                  <a:cxn ang="0">
                    <a:pos x="487" y="470"/>
                  </a:cxn>
                  <a:cxn ang="0">
                    <a:pos x="502" y="439"/>
                  </a:cxn>
                  <a:cxn ang="0">
                    <a:pos x="498" y="394"/>
                  </a:cxn>
                  <a:cxn ang="0">
                    <a:pos x="513" y="361"/>
                  </a:cxn>
                  <a:cxn ang="0">
                    <a:pos x="505" y="307"/>
                  </a:cxn>
                  <a:cxn ang="0">
                    <a:pos x="513" y="284"/>
                  </a:cxn>
                  <a:cxn ang="0">
                    <a:pos x="525" y="250"/>
                  </a:cxn>
                  <a:cxn ang="0">
                    <a:pos x="531" y="212"/>
                  </a:cxn>
                  <a:cxn ang="0">
                    <a:pos x="562" y="182"/>
                  </a:cxn>
                  <a:cxn ang="0">
                    <a:pos x="597" y="160"/>
                  </a:cxn>
                  <a:cxn ang="0">
                    <a:pos x="588" y="104"/>
                  </a:cxn>
                  <a:cxn ang="0">
                    <a:pos x="576" y="55"/>
                  </a:cxn>
                  <a:cxn ang="0">
                    <a:pos x="547" y="38"/>
                  </a:cxn>
                  <a:cxn ang="0">
                    <a:pos x="505" y="1"/>
                  </a:cxn>
                  <a:cxn ang="0">
                    <a:pos x="468" y="17"/>
                  </a:cxn>
                  <a:cxn ang="0">
                    <a:pos x="375" y="19"/>
                  </a:cxn>
                  <a:cxn ang="0">
                    <a:pos x="343" y="34"/>
                  </a:cxn>
                  <a:cxn ang="0">
                    <a:pos x="292" y="49"/>
                  </a:cxn>
                  <a:cxn ang="0">
                    <a:pos x="256" y="52"/>
                  </a:cxn>
                </a:cxnLst>
                <a:rect l="0" t="0" r="r" b="b"/>
                <a:pathLst>
                  <a:path w="600" h="644">
                    <a:moveTo>
                      <a:pt x="244" y="61"/>
                    </a:moveTo>
                    <a:cubicBezTo>
                      <a:pt x="219" y="62"/>
                      <a:pt x="282" y="70"/>
                      <a:pt x="259" y="71"/>
                    </a:cubicBezTo>
                    <a:cubicBezTo>
                      <a:pt x="248" y="73"/>
                      <a:pt x="266" y="80"/>
                      <a:pt x="255" y="82"/>
                    </a:cubicBezTo>
                    <a:cubicBezTo>
                      <a:pt x="249" y="83"/>
                      <a:pt x="268" y="92"/>
                      <a:pt x="268" y="92"/>
                    </a:cubicBezTo>
                    <a:cubicBezTo>
                      <a:pt x="259" y="97"/>
                      <a:pt x="274" y="98"/>
                      <a:pt x="265" y="103"/>
                    </a:cubicBezTo>
                    <a:cubicBezTo>
                      <a:pt x="260" y="105"/>
                      <a:pt x="253" y="101"/>
                      <a:pt x="253" y="101"/>
                    </a:cubicBezTo>
                    <a:cubicBezTo>
                      <a:pt x="249" y="98"/>
                      <a:pt x="250" y="85"/>
                      <a:pt x="247" y="80"/>
                    </a:cubicBezTo>
                    <a:cubicBezTo>
                      <a:pt x="244" y="75"/>
                      <a:pt x="237" y="72"/>
                      <a:pt x="232" y="71"/>
                    </a:cubicBezTo>
                    <a:cubicBezTo>
                      <a:pt x="226" y="66"/>
                      <a:pt x="224" y="71"/>
                      <a:pt x="219" y="71"/>
                    </a:cubicBezTo>
                    <a:cubicBezTo>
                      <a:pt x="214" y="71"/>
                      <a:pt x="208" y="69"/>
                      <a:pt x="204" y="70"/>
                    </a:cubicBezTo>
                    <a:cubicBezTo>
                      <a:pt x="200" y="71"/>
                      <a:pt x="199" y="76"/>
                      <a:pt x="196" y="76"/>
                    </a:cubicBezTo>
                    <a:cubicBezTo>
                      <a:pt x="193" y="76"/>
                      <a:pt x="188" y="69"/>
                      <a:pt x="183" y="67"/>
                    </a:cubicBezTo>
                    <a:cubicBezTo>
                      <a:pt x="178" y="65"/>
                      <a:pt x="170" y="64"/>
                      <a:pt x="165" y="62"/>
                    </a:cubicBezTo>
                    <a:cubicBezTo>
                      <a:pt x="150" y="59"/>
                      <a:pt x="164" y="57"/>
                      <a:pt x="150" y="55"/>
                    </a:cubicBezTo>
                    <a:cubicBezTo>
                      <a:pt x="148" y="60"/>
                      <a:pt x="130" y="44"/>
                      <a:pt x="132" y="64"/>
                    </a:cubicBezTo>
                    <a:cubicBezTo>
                      <a:pt x="126" y="67"/>
                      <a:pt x="118" y="72"/>
                      <a:pt x="114" y="74"/>
                    </a:cubicBezTo>
                    <a:cubicBezTo>
                      <a:pt x="110" y="76"/>
                      <a:pt x="107" y="74"/>
                      <a:pt x="105" y="77"/>
                    </a:cubicBezTo>
                    <a:cubicBezTo>
                      <a:pt x="103" y="80"/>
                      <a:pt x="105" y="88"/>
                      <a:pt x="102" y="91"/>
                    </a:cubicBezTo>
                    <a:cubicBezTo>
                      <a:pt x="99" y="94"/>
                      <a:pt x="89" y="93"/>
                      <a:pt x="85" y="95"/>
                    </a:cubicBezTo>
                    <a:cubicBezTo>
                      <a:pt x="81" y="97"/>
                      <a:pt x="80" y="100"/>
                      <a:pt x="79" y="103"/>
                    </a:cubicBezTo>
                    <a:cubicBezTo>
                      <a:pt x="78" y="106"/>
                      <a:pt x="75" y="108"/>
                      <a:pt x="76" y="112"/>
                    </a:cubicBezTo>
                    <a:cubicBezTo>
                      <a:pt x="80" y="118"/>
                      <a:pt x="70" y="117"/>
                      <a:pt x="84" y="128"/>
                    </a:cubicBezTo>
                    <a:cubicBezTo>
                      <a:pt x="85" y="132"/>
                      <a:pt x="84" y="135"/>
                      <a:pt x="85" y="139"/>
                    </a:cubicBezTo>
                    <a:cubicBezTo>
                      <a:pt x="82" y="145"/>
                      <a:pt x="90" y="146"/>
                      <a:pt x="87" y="152"/>
                    </a:cubicBezTo>
                    <a:cubicBezTo>
                      <a:pt x="88" y="161"/>
                      <a:pt x="71" y="133"/>
                      <a:pt x="73" y="142"/>
                    </a:cubicBezTo>
                    <a:cubicBezTo>
                      <a:pt x="74" y="144"/>
                      <a:pt x="60" y="140"/>
                      <a:pt x="55" y="139"/>
                    </a:cubicBezTo>
                    <a:cubicBezTo>
                      <a:pt x="50" y="138"/>
                      <a:pt x="44" y="139"/>
                      <a:pt x="40" y="137"/>
                    </a:cubicBezTo>
                    <a:cubicBezTo>
                      <a:pt x="35" y="136"/>
                      <a:pt x="34" y="128"/>
                      <a:pt x="30" y="127"/>
                    </a:cubicBezTo>
                    <a:cubicBezTo>
                      <a:pt x="26" y="126"/>
                      <a:pt x="15" y="126"/>
                      <a:pt x="13" y="128"/>
                    </a:cubicBezTo>
                    <a:cubicBezTo>
                      <a:pt x="11" y="130"/>
                      <a:pt x="18" y="137"/>
                      <a:pt x="18" y="140"/>
                    </a:cubicBezTo>
                    <a:cubicBezTo>
                      <a:pt x="18" y="143"/>
                      <a:pt x="15" y="146"/>
                      <a:pt x="12" y="148"/>
                    </a:cubicBezTo>
                    <a:cubicBezTo>
                      <a:pt x="9" y="150"/>
                      <a:pt x="3" y="152"/>
                      <a:pt x="1" y="155"/>
                    </a:cubicBezTo>
                    <a:lnTo>
                      <a:pt x="0" y="169"/>
                    </a:lnTo>
                    <a:cubicBezTo>
                      <a:pt x="1" y="173"/>
                      <a:pt x="4" y="175"/>
                      <a:pt x="7" y="179"/>
                    </a:cubicBezTo>
                    <a:cubicBezTo>
                      <a:pt x="1" y="195"/>
                      <a:pt x="12" y="188"/>
                      <a:pt x="18" y="193"/>
                    </a:cubicBezTo>
                    <a:cubicBezTo>
                      <a:pt x="21" y="197"/>
                      <a:pt x="23" y="200"/>
                      <a:pt x="27" y="202"/>
                    </a:cubicBezTo>
                    <a:cubicBezTo>
                      <a:pt x="31" y="204"/>
                      <a:pt x="40" y="200"/>
                      <a:pt x="43" y="203"/>
                    </a:cubicBezTo>
                    <a:cubicBezTo>
                      <a:pt x="46" y="206"/>
                      <a:pt x="45" y="211"/>
                      <a:pt x="45" y="217"/>
                    </a:cubicBezTo>
                    <a:lnTo>
                      <a:pt x="46" y="238"/>
                    </a:lnTo>
                    <a:lnTo>
                      <a:pt x="55" y="242"/>
                    </a:lnTo>
                    <a:lnTo>
                      <a:pt x="48" y="262"/>
                    </a:lnTo>
                    <a:lnTo>
                      <a:pt x="48" y="284"/>
                    </a:lnTo>
                    <a:lnTo>
                      <a:pt x="52" y="301"/>
                    </a:lnTo>
                    <a:cubicBezTo>
                      <a:pt x="52" y="305"/>
                      <a:pt x="46" y="308"/>
                      <a:pt x="48" y="311"/>
                    </a:cubicBezTo>
                    <a:cubicBezTo>
                      <a:pt x="50" y="314"/>
                      <a:pt x="57" y="317"/>
                      <a:pt x="61" y="319"/>
                    </a:cubicBezTo>
                    <a:cubicBezTo>
                      <a:pt x="65" y="321"/>
                      <a:pt x="69" y="323"/>
                      <a:pt x="70" y="326"/>
                    </a:cubicBezTo>
                    <a:cubicBezTo>
                      <a:pt x="71" y="329"/>
                      <a:pt x="66" y="334"/>
                      <a:pt x="66" y="338"/>
                    </a:cubicBezTo>
                    <a:cubicBezTo>
                      <a:pt x="66" y="342"/>
                      <a:pt x="68" y="347"/>
                      <a:pt x="70" y="349"/>
                    </a:cubicBezTo>
                    <a:cubicBezTo>
                      <a:pt x="72" y="351"/>
                      <a:pt x="75" y="347"/>
                      <a:pt x="76" y="349"/>
                    </a:cubicBezTo>
                    <a:cubicBezTo>
                      <a:pt x="77" y="351"/>
                      <a:pt x="76" y="356"/>
                      <a:pt x="78" y="359"/>
                    </a:cubicBezTo>
                    <a:cubicBezTo>
                      <a:pt x="80" y="362"/>
                      <a:pt x="83" y="365"/>
                      <a:pt x="88" y="368"/>
                    </a:cubicBezTo>
                    <a:cubicBezTo>
                      <a:pt x="93" y="371"/>
                      <a:pt x="102" y="377"/>
                      <a:pt x="106" y="379"/>
                    </a:cubicBezTo>
                    <a:cubicBezTo>
                      <a:pt x="110" y="381"/>
                      <a:pt x="115" y="377"/>
                      <a:pt x="115" y="379"/>
                    </a:cubicBezTo>
                    <a:cubicBezTo>
                      <a:pt x="115" y="381"/>
                      <a:pt x="107" y="390"/>
                      <a:pt x="109" y="392"/>
                    </a:cubicBezTo>
                    <a:cubicBezTo>
                      <a:pt x="111" y="394"/>
                      <a:pt x="123" y="389"/>
                      <a:pt x="126" y="391"/>
                    </a:cubicBezTo>
                    <a:cubicBezTo>
                      <a:pt x="129" y="393"/>
                      <a:pt x="128" y="401"/>
                      <a:pt x="130" y="403"/>
                    </a:cubicBezTo>
                    <a:cubicBezTo>
                      <a:pt x="132" y="405"/>
                      <a:pt x="138" y="401"/>
                      <a:pt x="142" y="401"/>
                    </a:cubicBezTo>
                    <a:cubicBezTo>
                      <a:pt x="146" y="401"/>
                      <a:pt x="154" y="401"/>
                      <a:pt x="156" y="403"/>
                    </a:cubicBezTo>
                    <a:cubicBezTo>
                      <a:pt x="158" y="405"/>
                      <a:pt x="153" y="410"/>
                      <a:pt x="154" y="415"/>
                    </a:cubicBezTo>
                    <a:cubicBezTo>
                      <a:pt x="155" y="420"/>
                      <a:pt x="162" y="427"/>
                      <a:pt x="162" y="431"/>
                    </a:cubicBezTo>
                    <a:cubicBezTo>
                      <a:pt x="162" y="435"/>
                      <a:pt x="156" y="439"/>
                      <a:pt x="153" y="442"/>
                    </a:cubicBezTo>
                    <a:cubicBezTo>
                      <a:pt x="150" y="445"/>
                      <a:pt x="144" y="446"/>
                      <a:pt x="142" y="449"/>
                    </a:cubicBezTo>
                    <a:cubicBezTo>
                      <a:pt x="140" y="452"/>
                      <a:pt x="144" y="458"/>
                      <a:pt x="142" y="461"/>
                    </a:cubicBezTo>
                    <a:cubicBezTo>
                      <a:pt x="140" y="464"/>
                      <a:pt x="131" y="465"/>
                      <a:pt x="129" y="469"/>
                    </a:cubicBezTo>
                    <a:cubicBezTo>
                      <a:pt x="127" y="473"/>
                      <a:pt x="132" y="483"/>
                      <a:pt x="132" y="488"/>
                    </a:cubicBezTo>
                    <a:cubicBezTo>
                      <a:pt x="132" y="493"/>
                      <a:pt x="125" y="497"/>
                      <a:pt x="127" y="499"/>
                    </a:cubicBezTo>
                    <a:cubicBezTo>
                      <a:pt x="129" y="501"/>
                      <a:pt x="143" y="497"/>
                      <a:pt x="145" y="500"/>
                    </a:cubicBezTo>
                    <a:cubicBezTo>
                      <a:pt x="147" y="503"/>
                      <a:pt x="141" y="510"/>
                      <a:pt x="141" y="515"/>
                    </a:cubicBezTo>
                    <a:cubicBezTo>
                      <a:pt x="141" y="520"/>
                      <a:pt x="143" y="528"/>
                      <a:pt x="147" y="529"/>
                    </a:cubicBezTo>
                    <a:cubicBezTo>
                      <a:pt x="151" y="530"/>
                      <a:pt x="159" y="523"/>
                      <a:pt x="165" y="521"/>
                    </a:cubicBezTo>
                    <a:cubicBezTo>
                      <a:pt x="171" y="519"/>
                      <a:pt x="178" y="518"/>
                      <a:pt x="183" y="514"/>
                    </a:cubicBezTo>
                    <a:cubicBezTo>
                      <a:pt x="188" y="510"/>
                      <a:pt x="191" y="503"/>
                      <a:pt x="196" y="500"/>
                    </a:cubicBezTo>
                    <a:cubicBezTo>
                      <a:pt x="201" y="497"/>
                      <a:pt x="206" y="495"/>
                      <a:pt x="211" y="494"/>
                    </a:cubicBezTo>
                    <a:cubicBezTo>
                      <a:pt x="215" y="485"/>
                      <a:pt x="221" y="496"/>
                      <a:pt x="225" y="494"/>
                    </a:cubicBezTo>
                    <a:cubicBezTo>
                      <a:pt x="229" y="492"/>
                      <a:pt x="230" y="484"/>
                      <a:pt x="234" y="485"/>
                    </a:cubicBezTo>
                    <a:cubicBezTo>
                      <a:pt x="235" y="495"/>
                      <a:pt x="244" y="493"/>
                      <a:pt x="247" y="503"/>
                    </a:cubicBezTo>
                    <a:cubicBezTo>
                      <a:pt x="251" y="510"/>
                      <a:pt x="254" y="502"/>
                      <a:pt x="255" y="497"/>
                    </a:cubicBezTo>
                    <a:cubicBezTo>
                      <a:pt x="256" y="494"/>
                      <a:pt x="253" y="488"/>
                      <a:pt x="255" y="487"/>
                    </a:cubicBezTo>
                    <a:cubicBezTo>
                      <a:pt x="258" y="482"/>
                      <a:pt x="261" y="490"/>
                      <a:pt x="267" y="488"/>
                    </a:cubicBezTo>
                    <a:cubicBezTo>
                      <a:pt x="271" y="488"/>
                      <a:pt x="277" y="491"/>
                      <a:pt x="280" y="490"/>
                    </a:cubicBezTo>
                    <a:cubicBezTo>
                      <a:pt x="283" y="489"/>
                      <a:pt x="281" y="481"/>
                      <a:pt x="283" y="481"/>
                    </a:cubicBezTo>
                    <a:cubicBezTo>
                      <a:pt x="288" y="481"/>
                      <a:pt x="290" y="486"/>
                      <a:pt x="295" y="487"/>
                    </a:cubicBezTo>
                    <a:cubicBezTo>
                      <a:pt x="300" y="488"/>
                      <a:pt x="310" y="487"/>
                      <a:pt x="315" y="488"/>
                    </a:cubicBezTo>
                    <a:cubicBezTo>
                      <a:pt x="320" y="489"/>
                      <a:pt x="322" y="491"/>
                      <a:pt x="324" y="494"/>
                    </a:cubicBezTo>
                    <a:cubicBezTo>
                      <a:pt x="326" y="497"/>
                      <a:pt x="323" y="504"/>
                      <a:pt x="325" y="508"/>
                    </a:cubicBezTo>
                    <a:cubicBezTo>
                      <a:pt x="331" y="508"/>
                      <a:pt x="326" y="521"/>
                      <a:pt x="337" y="517"/>
                    </a:cubicBezTo>
                    <a:cubicBezTo>
                      <a:pt x="340" y="519"/>
                      <a:pt x="345" y="519"/>
                      <a:pt x="346" y="523"/>
                    </a:cubicBezTo>
                    <a:cubicBezTo>
                      <a:pt x="347" y="527"/>
                      <a:pt x="344" y="539"/>
                      <a:pt x="345" y="542"/>
                    </a:cubicBezTo>
                    <a:cubicBezTo>
                      <a:pt x="346" y="545"/>
                      <a:pt x="352" y="538"/>
                      <a:pt x="354" y="541"/>
                    </a:cubicBezTo>
                    <a:cubicBezTo>
                      <a:pt x="356" y="544"/>
                      <a:pt x="355" y="558"/>
                      <a:pt x="358" y="562"/>
                    </a:cubicBezTo>
                    <a:cubicBezTo>
                      <a:pt x="361" y="566"/>
                      <a:pt x="369" y="565"/>
                      <a:pt x="372" y="568"/>
                    </a:cubicBezTo>
                    <a:cubicBezTo>
                      <a:pt x="375" y="571"/>
                      <a:pt x="374" y="577"/>
                      <a:pt x="376" y="581"/>
                    </a:cubicBezTo>
                    <a:cubicBezTo>
                      <a:pt x="381" y="583"/>
                      <a:pt x="371" y="592"/>
                      <a:pt x="387" y="592"/>
                    </a:cubicBezTo>
                    <a:cubicBezTo>
                      <a:pt x="388" y="597"/>
                      <a:pt x="384" y="605"/>
                      <a:pt x="385" y="610"/>
                    </a:cubicBezTo>
                    <a:cubicBezTo>
                      <a:pt x="386" y="615"/>
                      <a:pt x="393" y="620"/>
                      <a:pt x="396" y="622"/>
                    </a:cubicBezTo>
                    <a:cubicBezTo>
                      <a:pt x="399" y="624"/>
                      <a:pt x="402" y="623"/>
                      <a:pt x="405" y="625"/>
                    </a:cubicBezTo>
                    <a:cubicBezTo>
                      <a:pt x="408" y="627"/>
                      <a:pt x="408" y="631"/>
                      <a:pt x="411" y="634"/>
                    </a:cubicBezTo>
                    <a:cubicBezTo>
                      <a:pt x="414" y="637"/>
                      <a:pt x="422" y="642"/>
                      <a:pt x="426" y="643"/>
                    </a:cubicBezTo>
                    <a:cubicBezTo>
                      <a:pt x="430" y="644"/>
                      <a:pt x="435" y="644"/>
                      <a:pt x="438" y="641"/>
                    </a:cubicBezTo>
                    <a:cubicBezTo>
                      <a:pt x="441" y="638"/>
                      <a:pt x="441" y="627"/>
                      <a:pt x="445" y="623"/>
                    </a:cubicBezTo>
                    <a:cubicBezTo>
                      <a:pt x="449" y="619"/>
                      <a:pt x="459" y="621"/>
                      <a:pt x="462" y="617"/>
                    </a:cubicBezTo>
                    <a:cubicBezTo>
                      <a:pt x="465" y="613"/>
                      <a:pt x="463" y="604"/>
                      <a:pt x="465" y="599"/>
                    </a:cubicBezTo>
                    <a:cubicBezTo>
                      <a:pt x="467" y="594"/>
                      <a:pt x="471" y="588"/>
                      <a:pt x="472" y="584"/>
                    </a:cubicBezTo>
                    <a:cubicBezTo>
                      <a:pt x="473" y="580"/>
                      <a:pt x="471" y="576"/>
                      <a:pt x="471" y="572"/>
                    </a:cubicBezTo>
                    <a:cubicBezTo>
                      <a:pt x="469" y="565"/>
                      <a:pt x="474" y="562"/>
                      <a:pt x="474" y="562"/>
                    </a:cubicBezTo>
                    <a:cubicBezTo>
                      <a:pt x="489" y="579"/>
                      <a:pt x="477" y="552"/>
                      <a:pt x="478" y="548"/>
                    </a:cubicBezTo>
                    <a:cubicBezTo>
                      <a:pt x="479" y="544"/>
                      <a:pt x="483" y="542"/>
                      <a:pt x="483" y="538"/>
                    </a:cubicBezTo>
                    <a:cubicBezTo>
                      <a:pt x="483" y="534"/>
                      <a:pt x="478" y="526"/>
                      <a:pt x="477" y="521"/>
                    </a:cubicBezTo>
                    <a:cubicBezTo>
                      <a:pt x="476" y="516"/>
                      <a:pt x="473" y="508"/>
                      <a:pt x="474" y="505"/>
                    </a:cubicBezTo>
                    <a:cubicBezTo>
                      <a:pt x="475" y="502"/>
                      <a:pt x="482" y="502"/>
                      <a:pt x="484" y="500"/>
                    </a:cubicBezTo>
                    <a:cubicBezTo>
                      <a:pt x="486" y="498"/>
                      <a:pt x="485" y="495"/>
                      <a:pt x="487" y="493"/>
                    </a:cubicBezTo>
                    <a:cubicBezTo>
                      <a:pt x="489" y="491"/>
                      <a:pt x="494" y="493"/>
                      <a:pt x="496" y="490"/>
                    </a:cubicBezTo>
                    <a:cubicBezTo>
                      <a:pt x="498" y="487"/>
                      <a:pt x="500" y="479"/>
                      <a:pt x="498" y="476"/>
                    </a:cubicBezTo>
                    <a:cubicBezTo>
                      <a:pt x="496" y="473"/>
                      <a:pt x="487" y="472"/>
                      <a:pt x="487" y="470"/>
                    </a:cubicBezTo>
                    <a:cubicBezTo>
                      <a:pt x="487" y="468"/>
                      <a:pt x="494" y="466"/>
                      <a:pt x="495" y="463"/>
                    </a:cubicBezTo>
                    <a:cubicBezTo>
                      <a:pt x="496" y="460"/>
                      <a:pt x="492" y="455"/>
                      <a:pt x="493" y="451"/>
                    </a:cubicBezTo>
                    <a:cubicBezTo>
                      <a:pt x="494" y="447"/>
                      <a:pt x="501" y="444"/>
                      <a:pt x="502" y="439"/>
                    </a:cubicBezTo>
                    <a:cubicBezTo>
                      <a:pt x="503" y="434"/>
                      <a:pt x="501" y="424"/>
                      <a:pt x="499" y="418"/>
                    </a:cubicBezTo>
                    <a:cubicBezTo>
                      <a:pt x="497" y="412"/>
                      <a:pt x="490" y="408"/>
                      <a:pt x="490" y="404"/>
                    </a:cubicBezTo>
                    <a:cubicBezTo>
                      <a:pt x="490" y="400"/>
                      <a:pt x="496" y="398"/>
                      <a:pt x="498" y="394"/>
                    </a:cubicBezTo>
                    <a:cubicBezTo>
                      <a:pt x="500" y="390"/>
                      <a:pt x="504" y="386"/>
                      <a:pt x="505" y="382"/>
                    </a:cubicBezTo>
                    <a:cubicBezTo>
                      <a:pt x="506" y="378"/>
                      <a:pt x="504" y="374"/>
                      <a:pt x="505" y="371"/>
                    </a:cubicBezTo>
                    <a:cubicBezTo>
                      <a:pt x="506" y="368"/>
                      <a:pt x="512" y="365"/>
                      <a:pt x="513" y="361"/>
                    </a:cubicBezTo>
                    <a:cubicBezTo>
                      <a:pt x="523" y="358"/>
                      <a:pt x="500" y="348"/>
                      <a:pt x="511" y="346"/>
                    </a:cubicBezTo>
                    <a:cubicBezTo>
                      <a:pt x="522" y="353"/>
                      <a:pt x="514" y="328"/>
                      <a:pt x="513" y="322"/>
                    </a:cubicBezTo>
                    <a:cubicBezTo>
                      <a:pt x="512" y="316"/>
                      <a:pt x="504" y="310"/>
                      <a:pt x="505" y="307"/>
                    </a:cubicBezTo>
                    <a:cubicBezTo>
                      <a:pt x="506" y="304"/>
                      <a:pt x="515" y="308"/>
                      <a:pt x="517" y="305"/>
                    </a:cubicBezTo>
                    <a:cubicBezTo>
                      <a:pt x="527" y="311"/>
                      <a:pt x="518" y="296"/>
                      <a:pt x="517" y="292"/>
                    </a:cubicBezTo>
                    <a:cubicBezTo>
                      <a:pt x="516" y="289"/>
                      <a:pt x="512" y="287"/>
                      <a:pt x="513" y="284"/>
                    </a:cubicBezTo>
                    <a:cubicBezTo>
                      <a:pt x="514" y="281"/>
                      <a:pt x="518" y="278"/>
                      <a:pt x="520" y="274"/>
                    </a:cubicBezTo>
                    <a:cubicBezTo>
                      <a:pt x="522" y="270"/>
                      <a:pt x="525" y="266"/>
                      <a:pt x="526" y="262"/>
                    </a:cubicBezTo>
                    <a:cubicBezTo>
                      <a:pt x="527" y="258"/>
                      <a:pt x="526" y="255"/>
                      <a:pt x="525" y="250"/>
                    </a:cubicBezTo>
                    <a:cubicBezTo>
                      <a:pt x="524" y="245"/>
                      <a:pt x="518" y="236"/>
                      <a:pt x="519" y="232"/>
                    </a:cubicBezTo>
                    <a:cubicBezTo>
                      <a:pt x="526" y="232"/>
                      <a:pt x="530" y="230"/>
                      <a:pt x="532" y="227"/>
                    </a:cubicBezTo>
                    <a:cubicBezTo>
                      <a:pt x="534" y="224"/>
                      <a:pt x="530" y="217"/>
                      <a:pt x="531" y="212"/>
                    </a:cubicBezTo>
                    <a:cubicBezTo>
                      <a:pt x="532" y="207"/>
                      <a:pt x="537" y="201"/>
                      <a:pt x="540" y="196"/>
                    </a:cubicBezTo>
                    <a:cubicBezTo>
                      <a:pt x="543" y="191"/>
                      <a:pt x="543" y="181"/>
                      <a:pt x="547" y="179"/>
                    </a:cubicBezTo>
                    <a:cubicBezTo>
                      <a:pt x="551" y="177"/>
                      <a:pt x="556" y="182"/>
                      <a:pt x="562" y="182"/>
                    </a:cubicBezTo>
                    <a:cubicBezTo>
                      <a:pt x="568" y="182"/>
                      <a:pt x="577" y="183"/>
                      <a:pt x="583" y="182"/>
                    </a:cubicBezTo>
                    <a:cubicBezTo>
                      <a:pt x="589" y="181"/>
                      <a:pt x="595" y="179"/>
                      <a:pt x="597" y="175"/>
                    </a:cubicBezTo>
                    <a:cubicBezTo>
                      <a:pt x="599" y="171"/>
                      <a:pt x="597" y="167"/>
                      <a:pt x="597" y="160"/>
                    </a:cubicBezTo>
                    <a:cubicBezTo>
                      <a:pt x="597" y="153"/>
                      <a:pt x="600" y="139"/>
                      <a:pt x="598" y="134"/>
                    </a:cubicBezTo>
                    <a:cubicBezTo>
                      <a:pt x="596" y="129"/>
                      <a:pt x="587" y="132"/>
                      <a:pt x="585" y="127"/>
                    </a:cubicBezTo>
                    <a:cubicBezTo>
                      <a:pt x="583" y="122"/>
                      <a:pt x="589" y="109"/>
                      <a:pt x="588" y="104"/>
                    </a:cubicBezTo>
                    <a:cubicBezTo>
                      <a:pt x="587" y="99"/>
                      <a:pt x="580" y="98"/>
                      <a:pt x="579" y="95"/>
                    </a:cubicBezTo>
                    <a:cubicBezTo>
                      <a:pt x="578" y="92"/>
                      <a:pt x="580" y="92"/>
                      <a:pt x="580" y="85"/>
                    </a:cubicBezTo>
                    <a:cubicBezTo>
                      <a:pt x="580" y="78"/>
                      <a:pt x="579" y="59"/>
                      <a:pt x="576" y="55"/>
                    </a:cubicBezTo>
                    <a:cubicBezTo>
                      <a:pt x="573" y="51"/>
                      <a:pt x="564" y="62"/>
                      <a:pt x="561" y="61"/>
                    </a:cubicBezTo>
                    <a:cubicBezTo>
                      <a:pt x="558" y="60"/>
                      <a:pt x="558" y="54"/>
                      <a:pt x="556" y="50"/>
                    </a:cubicBezTo>
                    <a:cubicBezTo>
                      <a:pt x="554" y="46"/>
                      <a:pt x="551" y="42"/>
                      <a:pt x="547" y="38"/>
                    </a:cubicBezTo>
                    <a:cubicBezTo>
                      <a:pt x="543" y="34"/>
                      <a:pt x="536" y="32"/>
                      <a:pt x="531" y="28"/>
                    </a:cubicBezTo>
                    <a:cubicBezTo>
                      <a:pt x="526" y="24"/>
                      <a:pt x="523" y="18"/>
                      <a:pt x="519" y="14"/>
                    </a:cubicBezTo>
                    <a:cubicBezTo>
                      <a:pt x="515" y="10"/>
                      <a:pt x="509" y="2"/>
                      <a:pt x="505" y="1"/>
                    </a:cubicBezTo>
                    <a:cubicBezTo>
                      <a:pt x="501" y="0"/>
                      <a:pt x="497" y="10"/>
                      <a:pt x="493" y="11"/>
                    </a:cubicBezTo>
                    <a:cubicBezTo>
                      <a:pt x="489" y="12"/>
                      <a:pt x="485" y="7"/>
                      <a:pt x="481" y="8"/>
                    </a:cubicBezTo>
                    <a:cubicBezTo>
                      <a:pt x="477" y="9"/>
                      <a:pt x="473" y="17"/>
                      <a:pt x="468" y="17"/>
                    </a:cubicBezTo>
                    <a:cubicBezTo>
                      <a:pt x="463" y="17"/>
                      <a:pt x="466" y="11"/>
                      <a:pt x="453" y="10"/>
                    </a:cubicBezTo>
                    <a:cubicBezTo>
                      <a:pt x="440" y="9"/>
                      <a:pt x="400" y="6"/>
                      <a:pt x="387" y="8"/>
                    </a:cubicBezTo>
                    <a:cubicBezTo>
                      <a:pt x="374" y="10"/>
                      <a:pt x="380" y="17"/>
                      <a:pt x="375" y="19"/>
                    </a:cubicBezTo>
                    <a:cubicBezTo>
                      <a:pt x="370" y="21"/>
                      <a:pt x="358" y="18"/>
                      <a:pt x="354" y="19"/>
                    </a:cubicBezTo>
                    <a:cubicBezTo>
                      <a:pt x="350" y="20"/>
                      <a:pt x="353" y="26"/>
                      <a:pt x="351" y="28"/>
                    </a:cubicBezTo>
                    <a:cubicBezTo>
                      <a:pt x="349" y="30"/>
                      <a:pt x="346" y="33"/>
                      <a:pt x="343" y="34"/>
                    </a:cubicBezTo>
                    <a:cubicBezTo>
                      <a:pt x="340" y="35"/>
                      <a:pt x="337" y="31"/>
                      <a:pt x="333" y="32"/>
                    </a:cubicBezTo>
                    <a:cubicBezTo>
                      <a:pt x="326" y="25"/>
                      <a:pt x="325" y="40"/>
                      <a:pt x="318" y="43"/>
                    </a:cubicBezTo>
                    <a:cubicBezTo>
                      <a:pt x="311" y="46"/>
                      <a:pt x="299" y="49"/>
                      <a:pt x="292" y="49"/>
                    </a:cubicBezTo>
                    <a:cubicBezTo>
                      <a:pt x="288" y="56"/>
                      <a:pt x="279" y="45"/>
                      <a:pt x="274" y="44"/>
                    </a:cubicBezTo>
                    <a:cubicBezTo>
                      <a:pt x="269" y="43"/>
                      <a:pt x="262" y="40"/>
                      <a:pt x="259" y="41"/>
                    </a:cubicBezTo>
                    <a:cubicBezTo>
                      <a:pt x="256" y="42"/>
                      <a:pt x="258" y="49"/>
                      <a:pt x="256" y="52"/>
                    </a:cubicBezTo>
                    <a:cubicBezTo>
                      <a:pt x="254" y="55"/>
                      <a:pt x="245" y="59"/>
                      <a:pt x="244" y="6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2" name="Freeform 7">
                <a:extLst>
                  <a:ext uri="{FF2B5EF4-FFF2-40B4-BE49-F238E27FC236}">
                    <a16:creationId xmlns:a16="http://schemas.microsoft.com/office/drawing/2014/main" id="{59493EDD-0145-4273-85B5-B394F83F8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553" y="4548036"/>
                <a:ext cx="2876235" cy="1573109"/>
              </a:xfrm>
              <a:custGeom>
                <a:avLst/>
                <a:gdLst/>
                <a:ahLst/>
                <a:cxnLst>
                  <a:cxn ang="0">
                    <a:pos x="67" y="19"/>
                  </a:cxn>
                  <a:cxn ang="0">
                    <a:pos x="115" y="21"/>
                  </a:cxn>
                  <a:cxn ang="0">
                    <a:pos x="148" y="33"/>
                  </a:cxn>
                  <a:cxn ang="0">
                    <a:pos x="185" y="61"/>
                  </a:cxn>
                  <a:cxn ang="0">
                    <a:pos x="221" y="70"/>
                  </a:cxn>
                  <a:cxn ang="0">
                    <a:pos x="265" y="79"/>
                  </a:cxn>
                  <a:cxn ang="0">
                    <a:pos x="311" y="61"/>
                  </a:cxn>
                  <a:cxn ang="0">
                    <a:pos x="361" y="39"/>
                  </a:cxn>
                  <a:cxn ang="0">
                    <a:pos x="409" y="37"/>
                  </a:cxn>
                  <a:cxn ang="0">
                    <a:pos x="448" y="46"/>
                  </a:cxn>
                  <a:cxn ang="0">
                    <a:pos x="503" y="45"/>
                  </a:cxn>
                  <a:cxn ang="0">
                    <a:pos x="541" y="7"/>
                  </a:cxn>
                  <a:cxn ang="0">
                    <a:pos x="584" y="4"/>
                  </a:cxn>
                  <a:cxn ang="0">
                    <a:pos x="611" y="30"/>
                  </a:cxn>
                  <a:cxn ang="0">
                    <a:pos x="640" y="66"/>
                  </a:cxn>
                  <a:cxn ang="0">
                    <a:pos x="659" y="108"/>
                  </a:cxn>
                  <a:cxn ang="0">
                    <a:pos x="665" y="175"/>
                  </a:cxn>
                  <a:cxn ang="0">
                    <a:pos x="658" y="211"/>
                  </a:cxn>
                  <a:cxn ang="0">
                    <a:pos x="653" y="261"/>
                  </a:cxn>
                  <a:cxn ang="0">
                    <a:pos x="667" y="298"/>
                  </a:cxn>
                  <a:cxn ang="0">
                    <a:pos x="698" y="337"/>
                  </a:cxn>
                  <a:cxn ang="0">
                    <a:pos x="739" y="360"/>
                  </a:cxn>
                  <a:cxn ang="0">
                    <a:pos x="743" y="399"/>
                  </a:cxn>
                  <a:cxn ang="0">
                    <a:pos x="703" y="378"/>
                  </a:cxn>
                  <a:cxn ang="0">
                    <a:pos x="664" y="360"/>
                  </a:cxn>
                  <a:cxn ang="0">
                    <a:pos x="631" y="363"/>
                  </a:cxn>
                  <a:cxn ang="0">
                    <a:pos x="578" y="360"/>
                  </a:cxn>
                  <a:cxn ang="0">
                    <a:pos x="527" y="373"/>
                  </a:cxn>
                  <a:cxn ang="0">
                    <a:pos x="496" y="390"/>
                  </a:cxn>
                  <a:cxn ang="0">
                    <a:pos x="452" y="397"/>
                  </a:cxn>
                  <a:cxn ang="0">
                    <a:pos x="449" y="348"/>
                  </a:cxn>
                  <a:cxn ang="0">
                    <a:pos x="455" y="267"/>
                  </a:cxn>
                  <a:cxn ang="0">
                    <a:pos x="380" y="235"/>
                  </a:cxn>
                  <a:cxn ang="0">
                    <a:pos x="253" y="232"/>
                  </a:cxn>
                  <a:cxn ang="0">
                    <a:pos x="218" y="250"/>
                  </a:cxn>
                  <a:cxn ang="0">
                    <a:pos x="169" y="252"/>
                  </a:cxn>
                  <a:cxn ang="0">
                    <a:pos x="104" y="244"/>
                  </a:cxn>
                  <a:cxn ang="0">
                    <a:pos x="125" y="166"/>
                  </a:cxn>
                  <a:cxn ang="0">
                    <a:pos x="97" y="100"/>
                  </a:cxn>
                  <a:cxn ang="0">
                    <a:pos x="43" y="73"/>
                  </a:cxn>
                  <a:cxn ang="0">
                    <a:pos x="11" y="73"/>
                  </a:cxn>
                  <a:cxn ang="0">
                    <a:pos x="13" y="21"/>
                  </a:cxn>
                </a:cxnLst>
                <a:rect l="0" t="0" r="r" b="b"/>
                <a:pathLst>
                  <a:path w="744" h="412">
                    <a:moveTo>
                      <a:pt x="34" y="9"/>
                    </a:moveTo>
                    <a:cubicBezTo>
                      <a:pt x="36" y="10"/>
                      <a:pt x="48" y="11"/>
                      <a:pt x="53" y="13"/>
                    </a:cubicBezTo>
                    <a:cubicBezTo>
                      <a:pt x="58" y="15"/>
                      <a:pt x="63" y="18"/>
                      <a:pt x="67" y="19"/>
                    </a:cubicBezTo>
                    <a:cubicBezTo>
                      <a:pt x="72" y="22"/>
                      <a:pt x="74" y="20"/>
                      <a:pt x="80" y="21"/>
                    </a:cubicBezTo>
                    <a:cubicBezTo>
                      <a:pt x="88" y="20"/>
                      <a:pt x="90" y="24"/>
                      <a:pt x="97" y="27"/>
                    </a:cubicBezTo>
                    <a:cubicBezTo>
                      <a:pt x="102" y="27"/>
                      <a:pt x="109" y="20"/>
                      <a:pt x="115" y="21"/>
                    </a:cubicBezTo>
                    <a:cubicBezTo>
                      <a:pt x="121" y="22"/>
                      <a:pt x="127" y="27"/>
                      <a:pt x="131" y="30"/>
                    </a:cubicBezTo>
                    <a:cubicBezTo>
                      <a:pt x="135" y="33"/>
                      <a:pt x="137" y="36"/>
                      <a:pt x="140" y="36"/>
                    </a:cubicBezTo>
                    <a:cubicBezTo>
                      <a:pt x="147" y="38"/>
                      <a:pt x="145" y="32"/>
                      <a:pt x="148" y="33"/>
                    </a:cubicBezTo>
                    <a:cubicBezTo>
                      <a:pt x="151" y="34"/>
                      <a:pt x="153" y="39"/>
                      <a:pt x="157" y="42"/>
                    </a:cubicBezTo>
                    <a:cubicBezTo>
                      <a:pt x="164" y="44"/>
                      <a:pt x="167" y="48"/>
                      <a:pt x="172" y="51"/>
                    </a:cubicBezTo>
                    <a:cubicBezTo>
                      <a:pt x="177" y="54"/>
                      <a:pt x="181" y="58"/>
                      <a:pt x="185" y="61"/>
                    </a:cubicBezTo>
                    <a:cubicBezTo>
                      <a:pt x="191" y="67"/>
                      <a:pt x="195" y="66"/>
                      <a:pt x="199" y="69"/>
                    </a:cubicBezTo>
                    <a:cubicBezTo>
                      <a:pt x="203" y="72"/>
                      <a:pt x="205" y="76"/>
                      <a:pt x="209" y="76"/>
                    </a:cubicBezTo>
                    <a:cubicBezTo>
                      <a:pt x="215" y="77"/>
                      <a:pt x="218" y="70"/>
                      <a:pt x="221" y="70"/>
                    </a:cubicBezTo>
                    <a:cubicBezTo>
                      <a:pt x="224" y="70"/>
                      <a:pt x="226" y="74"/>
                      <a:pt x="230" y="76"/>
                    </a:cubicBezTo>
                    <a:cubicBezTo>
                      <a:pt x="235" y="80"/>
                      <a:pt x="238" y="84"/>
                      <a:pt x="244" y="85"/>
                    </a:cubicBezTo>
                    <a:cubicBezTo>
                      <a:pt x="250" y="84"/>
                      <a:pt x="258" y="82"/>
                      <a:pt x="265" y="79"/>
                    </a:cubicBezTo>
                    <a:cubicBezTo>
                      <a:pt x="272" y="76"/>
                      <a:pt x="280" y="72"/>
                      <a:pt x="286" y="67"/>
                    </a:cubicBezTo>
                    <a:cubicBezTo>
                      <a:pt x="292" y="62"/>
                      <a:pt x="295" y="53"/>
                      <a:pt x="299" y="52"/>
                    </a:cubicBezTo>
                    <a:cubicBezTo>
                      <a:pt x="301" y="40"/>
                      <a:pt x="291" y="66"/>
                      <a:pt x="311" y="61"/>
                    </a:cubicBezTo>
                    <a:cubicBezTo>
                      <a:pt x="317" y="58"/>
                      <a:pt x="321" y="54"/>
                      <a:pt x="326" y="51"/>
                    </a:cubicBezTo>
                    <a:cubicBezTo>
                      <a:pt x="331" y="48"/>
                      <a:pt x="337" y="44"/>
                      <a:pt x="343" y="42"/>
                    </a:cubicBezTo>
                    <a:cubicBezTo>
                      <a:pt x="349" y="40"/>
                      <a:pt x="355" y="40"/>
                      <a:pt x="361" y="39"/>
                    </a:cubicBezTo>
                    <a:cubicBezTo>
                      <a:pt x="367" y="38"/>
                      <a:pt x="371" y="35"/>
                      <a:pt x="377" y="34"/>
                    </a:cubicBezTo>
                    <a:cubicBezTo>
                      <a:pt x="391" y="30"/>
                      <a:pt x="390" y="30"/>
                      <a:pt x="395" y="30"/>
                    </a:cubicBezTo>
                    <a:cubicBezTo>
                      <a:pt x="400" y="30"/>
                      <a:pt x="404" y="34"/>
                      <a:pt x="409" y="37"/>
                    </a:cubicBezTo>
                    <a:cubicBezTo>
                      <a:pt x="414" y="40"/>
                      <a:pt x="421" y="43"/>
                      <a:pt x="425" y="45"/>
                    </a:cubicBezTo>
                    <a:cubicBezTo>
                      <a:pt x="434" y="46"/>
                      <a:pt x="432" y="52"/>
                      <a:pt x="436" y="52"/>
                    </a:cubicBezTo>
                    <a:cubicBezTo>
                      <a:pt x="440" y="52"/>
                      <a:pt x="443" y="47"/>
                      <a:pt x="448" y="46"/>
                    </a:cubicBezTo>
                    <a:cubicBezTo>
                      <a:pt x="453" y="45"/>
                      <a:pt x="463" y="45"/>
                      <a:pt x="469" y="46"/>
                    </a:cubicBezTo>
                    <a:cubicBezTo>
                      <a:pt x="475" y="47"/>
                      <a:pt x="478" y="52"/>
                      <a:pt x="484" y="52"/>
                    </a:cubicBezTo>
                    <a:cubicBezTo>
                      <a:pt x="494" y="51"/>
                      <a:pt x="494" y="48"/>
                      <a:pt x="503" y="45"/>
                    </a:cubicBezTo>
                    <a:cubicBezTo>
                      <a:pt x="497" y="39"/>
                      <a:pt x="508" y="34"/>
                      <a:pt x="511" y="30"/>
                    </a:cubicBezTo>
                    <a:cubicBezTo>
                      <a:pt x="514" y="26"/>
                      <a:pt x="519" y="25"/>
                      <a:pt x="524" y="21"/>
                    </a:cubicBezTo>
                    <a:cubicBezTo>
                      <a:pt x="530" y="16"/>
                      <a:pt x="536" y="8"/>
                      <a:pt x="541" y="7"/>
                    </a:cubicBezTo>
                    <a:cubicBezTo>
                      <a:pt x="546" y="5"/>
                      <a:pt x="552" y="8"/>
                      <a:pt x="557" y="7"/>
                    </a:cubicBezTo>
                    <a:cubicBezTo>
                      <a:pt x="564" y="5"/>
                      <a:pt x="567" y="0"/>
                      <a:pt x="571" y="0"/>
                    </a:cubicBezTo>
                    <a:cubicBezTo>
                      <a:pt x="575" y="0"/>
                      <a:pt x="579" y="3"/>
                      <a:pt x="584" y="4"/>
                    </a:cubicBezTo>
                    <a:cubicBezTo>
                      <a:pt x="589" y="5"/>
                      <a:pt x="598" y="2"/>
                      <a:pt x="602" y="4"/>
                    </a:cubicBezTo>
                    <a:cubicBezTo>
                      <a:pt x="609" y="5"/>
                      <a:pt x="606" y="14"/>
                      <a:pt x="607" y="18"/>
                    </a:cubicBezTo>
                    <a:cubicBezTo>
                      <a:pt x="608" y="22"/>
                      <a:pt x="610" y="25"/>
                      <a:pt x="611" y="30"/>
                    </a:cubicBezTo>
                    <a:cubicBezTo>
                      <a:pt x="613" y="36"/>
                      <a:pt x="614" y="44"/>
                      <a:pt x="616" y="49"/>
                    </a:cubicBezTo>
                    <a:cubicBezTo>
                      <a:pt x="618" y="54"/>
                      <a:pt x="621" y="60"/>
                      <a:pt x="625" y="63"/>
                    </a:cubicBezTo>
                    <a:cubicBezTo>
                      <a:pt x="626" y="64"/>
                      <a:pt x="639" y="66"/>
                      <a:pt x="640" y="66"/>
                    </a:cubicBezTo>
                    <a:cubicBezTo>
                      <a:pt x="647" y="67"/>
                      <a:pt x="647" y="64"/>
                      <a:pt x="653" y="66"/>
                    </a:cubicBezTo>
                    <a:cubicBezTo>
                      <a:pt x="653" y="66"/>
                      <a:pt x="658" y="76"/>
                      <a:pt x="659" y="78"/>
                    </a:cubicBezTo>
                    <a:cubicBezTo>
                      <a:pt x="658" y="88"/>
                      <a:pt x="665" y="88"/>
                      <a:pt x="659" y="108"/>
                    </a:cubicBezTo>
                    <a:cubicBezTo>
                      <a:pt x="659" y="118"/>
                      <a:pt x="659" y="127"/>
                      <a:pt x="659" y="136"/>
                    </a:cubicBezTo>
                    <a:cubicBezTo>
                      <a:pt x="659" y="145"/>
                      <a:pt x="658" y="154"/>
                      <a:pt x="659" y="160"/>
                    </a:cubicBezTo>
                    <a:cubicBezTo>
                      <a:pt x="660" y="166"/>
                      <a:pt x="664" y="170"/>
                      <a:pt x="665" y="175"/>
                    </a:cubicBezTo>
                    <a:cubicBezTo>
                      <a:pt x="666" y="180"/>
                      <a:pt x="664" y="186"/>
                      <a:pt x="664" y="190"/>
                    </a:cubicBezTo>
                    <a:cubicBezTo>
                      <a:pt x="664" y="194"/>
                      <a:pt x="665" y="198"/>
                      <a:pt x="664" y="202"/>
                    </a:cubicBezTo>
                    <a:cubicBezTo>
                      <a:pt x="663" y="206"/>
                      <a:pt x="662" y="213"/>
                      <a:pt x="658" y="211"/>
                    </a:cubicBezTo>
                    <a:cubicBezTo>
                      <a:pt x="655" y="216"/>
                      <a:pt x="663" y="219"/>
                      <a:pt x="656" y="226"/>
                    </a:cubicBezTo>
                    <a:cubicBezTo>
                      <a:pt x="655" y="231"/>
                      <a:pt x="653" y="237"/>
                      <a:pt x="653" y="243"/>
                    </a:cubicBezTo>
                    <a:cubicBezTo>
                      <a:pt x="653" y="249"/>
                      <a:pt x="653" y="256"/>
                      <a:pt x="653" y="261"/>
                    </a:cubicBezTo>
                    <a:cubicBezTo>
                      <a:pt x="649" y="276"/>
                      <a:pt x="651" y="270"/>
                      <a:pt x="653" y="273"/>
                    </a:cubicBezTo>
                    <a:cubicBezTo>
                      <a:pt x="655" y="276"/>
                      <a:pt x="663" y="278"/>
                      <a:pt x="665" y="282"/>
                    </a:cubicBezTo>
                    <a:cubicBezTo>
                      <a:pt x="667" y="286"/>
                      <a:pt x="666" y="293"/>
                      <a:pt x="667" y="298"/>
                    </a:cubicBezTo>
                    <a:cubicBezTo>
                      <a:pt x="668" y="303"/>
                      <a:pt x="667" y="308"/>
                      <a:pt x="670" y="312"/>
                    </a:cubicBezTo>
                    <a:cubicBezTo>
                      <a:pt x="673" y="316"/>
                      <a:pt x="678" y="320"/>
                      <a:pt x="683" y="324"/>
                    </a:cubicBezTo>
                    <a:cubicBezTo>
                      <a:pt x="688" y="332"/>
                      <a:pt x="689" y="335"/>
                      <a:pt x="698" y="337"/>
                    </a:cubicBezTo>
                    <a:cubicBezTo>
                      <a:pt x="702" y="340"/>
                      <a:pt x="707" y="337"/>
                      <a:pt x="710" y="340"/>
                    </a:cubicBezTo>
                    <a:cubicBezTo>
                      <a:pt x="714" y="341"/>
                      <a:pt x="717" y="343"/>
                      <a:pt x="722" y="346"/>
                    </a:cubicBezTo>
                    <a:cubicBezTo>
                      <a:pt x="726" y="350"/>
                      <a:pt x="737" y="356"/>
                      <a:pt x="739" y="360"/>
                    </a:cubicBezTo>
                    <a:cubicBezTo>
                      <a:pt x="742" y="364"/>
                      <a:pt x="742" y="369"/>
                      <a:pt x="742" y="373"/>
                    </a:cubicBezTo>
                    <a:cubicBezTo>
                      <a:pt x="743" y="379"/>
                      <a:pt x="740" y="379"/>
                      <a:pt x="742" y="385"/>
                    </a:cubicBezTo>
                    <a:cubicBezTo>
                      <a:pt x="742" y="389"/>
                      <a:pt x="744" y="395"/>
                      <a:pt x="743" y="399"/>
                    </a:cubicBezTo>
                    <a:cubicBezTo>
                      <a:pt x="741" y="403"/>
                      <a:pt x="735" y="412"/>
                      <a:pt x="731" y="411"/>
                    </a:cubicBezTo>
                    <a:cubicBezTo>
                      <a:pt x="724" y="406"/>
                      <a:pt x="730" y="394"/>
                      <a:pt x="721" y="391"/>
                    </a:cubicBezTo>
                    <a:cubicBezTo>
                      <a:pt x="715" y="384"/>
                      <a:pt x="710" y="384"/>
                      <a:pt x="703" y="378"/>
                    </a:cubicBezTo>
                    <a:cubicBezTo>
                      <a:pt x="699" y="372"/>
                      <a:pt x="698" y="369"/>
                      <a:pt x="691" y="366"/>
                    </a:cubicBezTo>
                    <a:cubicBezTo>
                      <a:pt x="687" y="360"/>
                      <a:pt x="686" y="356"/>
                      <a:pt x="680" y="352"/>
                    </a:cubicBezTo>
                    <a:cubicBezTo>
                      <a:pt x="667" y="355"/>
                      <a:pt x="673" y="353"/>
                      <a:pt x="664" y="360"/>
                    </a:cubicBezTo>
                    <a:cubicBezTo>
                      <a:pt x="658" y="356"/>
                      <a:pt x="657" y="360"/>
                      <a:pt x="649" y="361"/>
                    </a:cubicBezTo>
                    <a:cubicBezTo>
                      <a:pt x="643" y="373"/>
                      <a:pt x="650" y="371"/>
                      <a:pt x="640" y="366"/>
                    </a:cubicBezTo>
                    <a:cubicBezTo>
                      <a:pt x="637" y="364"/>
                      <a:pt x="635" y="364"/>
                      <a:pt x="631" y="363"/>
                    </a:cubicBezTo>
                    <a:cubicBezTo>
                      <a:pt x="627" y="362"/>
                      <a:pt x="619" y="360"/>
                      <a:pt x="614" y="360"/>
                    </a:cubicBezTo>
                    <a:cubicBezTo>
                      <a:pt x="608" y="360"/>
                      <a:pt x="604" y="360"/>
                      <a:pt x="598" y="360"/>
                    </a:cubicBezTo>
                    <a:cubicBezTo>
                      <a:pt x="592" y="360"/>
                      <a:pt x="584" y="360"/>
                      <a:pt x="578" y="360"/>
                    </a:cubicBezTo>
                    <a:cubicBezTo>
                      <a:pt x="572" y="360"/>
                      <a:pt x="564" y="355"/>
                      <a:pt x="559" y="357"/>
                    </a:cubicBezTo>
                    <a:cubicBezTo>
                      <a:pt x="548" y="360"/>
                      <a:pt x="552" y="369"/>
                      <a:pt x="547" y="372"/>
                    </a:cubicBezTo>
                    <a:cubicBezTo>
                      <a:pt x="542" y="375"/>
                      <a:pt x="532" y="371"/>
                      <a:pt x="527" y="373"/>
                    </a:cubicBezTo>
                    <a:cubicBezTo>
                      <a:pt x="521" y="378"/>
                      <a:pt x="521" y="383"/>
                      <a:pt x="518" y="384"/>
                    </a:cubicBezTo>
                    <a:cubicBezTo>
                      <a:pt x="515" y="385"/>
                      <a:pt x="510" y="380"/>
                      <a:pt x="506" y="381"/>
                    </a:cubicBezTo>
                    <a:cubicBezTo>
                      <a:pt x="500" y="383"/>
                      <a:pt x="501" y="388"/>
                      <a:pt x="496" y="390"/>
                    </a:cubicBezTo>
                    <a:cubicBezTo>
                      <a:pt x="491" y="392"/>
                      <a:pt x="483" y="394"/>
                      <a:pt x="478" y="396"/>
                    </a:cubicBezTo>
                    <a:cubicBezTo>
                      <a:pt x="472" y="399"/>
                      <a:pt x="468" y="402"/>
                      <a:pt x="464" y="402"/>
                    </a:cubicBezTo>
                    <a:cubicBezTo>
                      <a:pt x="460" y="402"/>
                      <a:pt x="456" y="399"/>
                      <a:pt x="452" y="397"/>
                    </a:cubicBezTo>
                    <a:cubicBezTo>
                      <a:pt x="448" y="395"/>
                      <a:pt x="441" y="393"/>
                      <a:pt x="442" y="388"/>
                    </a:cubicBezTo>
                    <a:cubicBezTo>
                      <a:pt x="443" y="378"/>
                      <a:pt x="451" y="376"/>
                      <a:pt x="457" y="369"/>
                    </a:cubicBezTo>
                    <a:cubicBezTo>
                      <a:pt x="459" y="361"/>
                      <a:pt x="454" y="355"/>
                      <a:pt x="449" y="348"/>
                    </a:cubicBezTo>
                    <a:cubicBezTo>
                      <a:pt x="453" y="337"/>
                      <a:pt x="452" y="330"/>
                      <a:pt x="463" y="324"/>
                    </a:cubicBezTo>
                    <a:cubicBezTo>
                      <a:pt x="470" y="311"/>
                      <a:pt x="465" y="315"/>
                      <a:pt x="473" y="309"/>
                    </a:cubicBezTo>
                    <a:cubicBezTo>
                      <a:pt x="480" y="297"/>
                      <a:pt x="467" y="273"/>
                      <a:pt x="455" y="267"/>
                    </a:cubicBezTo>
                    <a:cubicBezTo>
                      <a:pt x="450" y="257"/>
                      <a:pt x="444" y="253"/>
                      <a:pt x="434" y="247"/>
                    </a:cubicBezTo>
                    <a:cubicBezTo>
                      <a:pt x="427" y="249"/>
                      <a:pt x="420" y="250"/>
                      <a:pt x="413" y="252"/>
                    </a:cubicBezTo>
                    <a:cubicBezTo>
                      <a:pt x="400" y="248"/>
                      <a:pt x="389" y="244"/>
                      <a:pt x="380" y="235"/>
                    </a:cubicBezTo>
                    <a:cubicBezTo>
                      <a:pt x="376" y="237"/>
                      <a:pt x="371" y="238"/>
                      <a:pt x="367" y="240"/>
                    </a:cubicBezTo>
                    <a:cubicBezTo>
                      <a:pt x="357" y="234"/>
                      <a:pt x="357" y="230"/>
                      <a:pt x="344" y="226"/>
                    </a:cubicBezTo>
                    <a:cubicBezTo>
                      <a:pt x="313" y="227"/>
                      <a:pt x="283" y="228"/>
                      <a:pt x="253" y="232"/>
                    </a:cubicBezTo>
                    <a:cubicBezTo>
                      <a:pt x="248" y="234"/>
                      <a:pt x="244" y="233"/>
                      <a:pt x="239" y="235"/>
                    </a:cubicBezTo>
                    <a:cubicBezTo>
                      <a:pt x="235" y="236"/>
                      <a:pt x="229" y="240"/>
                      <a:pt x="229" y="240"/>
                    </a:cubicBezTo>
                    <a:cubicBezTo>
                      <a:pt x="225" y="245"/>
                      <a:pt x="225" y="249"/>
                      <a:pt x="218" y="250"/>
                    </a:cubicBezTo>
                    <a:cubicBezTo>
                      <a:pt x="212" y="255"/>
                      <a:pt x="206" y="258"/>
                      <a:pt x="199" y="261"/>
                    </a:cubicBezTo>
                    <a:cubicBezTo>
                      <a:pt x="197" y="262"/>
                      <a:pt x="193" y="264"/>
                      <a:pt x="193" y="264"/>
                    </a:cubicBezTo>
                    <a:cubicBezTo>
                      <a:pt x="184" y="261"/>
                      <a:pt x="177" y="256"/>
                      <a:pt x="169" y="252"/>
                    </a:cubicBezTo>
                    <a:cubicBezTo>
                      <a:pt x="160" y="253"/>
                      <a:pt x="154" y="254"/>
                      <a:pt x="146" y="256"/>
                    </a:cubicBezTo>
                    <a:cubicBezTo>
                      <a:pt x="141" y="259"/>
                      <a:pt x="136" y="262"/>
                      <a:pt x="131" y="264"/>
                    </a:cubicBezTo>
                    <a:cubicBezTo>
                      <a:pt x="123" y="260"/>
                      <a:pt x="114" y="250"/>
                      <a:pt x="104" y="244"/>
                    </a:cubicBezTo>
                    <a:cubicBezTo>
                      <a:pt x="100" y="238"/>
                      <a:pt x="90" y="217"/>
                      <a:pt x="86" y="208"/>
                    </a:cubicBezTo>
                    <a:cubicBezTo>
                      <a:pt x="89" y="188"/>
                      <a:pt x="95" y="182"/>
                      <a:pt x="115" y="178"/>
                    </a:cubicBezTo>
                    <a:cubicBezTo>
                      <a:pt x="121" y="174"/>
                      <a:pt x="124" y="174"/>
                      <a:pt x="125" y="166"/>
                    </a:cubicBezTo>
                    <a:cubicBezTo>
                      <a:pt x="115" y="159"/>
                      <a:pt x="117" y="148"/>
                      <a:pt x="127" y="142"/>
                    </a:cubicBezTo>
                    <a:cubicBezTo>
                      <a:pt x="128" y="133"/>
                      <a:pt x="123" y="128"/>
                      <a:pt x="115" y="124"/>
                    </a:cubicBezTo>
                    <a:cubicBezTo>
                      <a:pt x="111" y="115"/>
                      <a:pt x="106" y="104"/>
                      <a:pt x="97" y="100"/>
                    </a:cubicBezTo>
                    <a:cubicBezTo>
                      <a:pt x="86" y="102"/>
                      <a:pt x="84" y="102"/>
                      <a:pt x="86" y="91"/>
                    </a:cubicBezTo>
                    <a:cubicBezTo>
                      <a:pt x="77" y="82"/>
                      <a:pt x="74" y="72"/>
                      <a:pt x="64" y="64"/>
                    </a:cubicBezTo>
                    <a:cubicBezTo>
                      <a:pt x="56" y="67"/>
                      <a:pt x="52" y="71"/>
                      <a:pt x="43" y="73"/>
                    </a:cubicBezTo>
                    <a:cubicBezTo>
                      <a:pt x="38" y="75"/>
                      <a:pt x="34" y="72"/>
                      <a:pt x="31" y="73"/>
                    </a:cubicBezTo>
                    <a:cubicBezTo>
                      <a:pt x="28" y="74"/>
                      <a:pt x="25" y="82"/>
                      <a:pt x="22" y="82"/>
                    </a:cubicBezTo>
                    <a:cubicBezTo>
                      <a:pt x="19" y="82"/>
                      <a:pt x="13" y="76"/>
                      <a:pt x="11" y="73"/>
                    </a:cubicBezTo>
                    <a:cubicBezTo>
                      <a:pt x="9" y="70"/>
                      <a:pt x="8" y="69"/>
                      <a:pt x="7" y="63"/>
                    </a:cubicBezTo>
                    <a:cubicBezTo>
                      <a:pt x="1" y="53"/>
                      <a:pt x="0" y="48"/>
                      <a:pt x="7" y="37"/>
                    </a:cubicBezTo>
                    <a:cubicBezTo>
                      <a:pt x="8" y="31"/>
                      <a:pt x="13" y="21"/>
                      <a:pt x="13" y="21"/>
                    </a:cubicBezTo>
                    <a:cubicBezTo>
                      <a:pt x="15" y="0"/>
                      <a:pt x="18" y="8"/>
                      <a:pt x="35" y="10"/>
                    </a:cubicBezTo>
                    <a:cubicBezTo>
                      <a:pt x="42" y="13"/>
                      <a:pt x="41" y="8"/>
                      <a:pt x="34" y="9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0D0E4CE3-13C9-4136-8340-7C3FF8B91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5523" y="3730936"/>
                <a:ext cx="3243497" cy="2817851"/>
              </a:xfrm>
              <a:custGeom>
                <a:avLst/>
                <a:gdLst/>
                <a:ahLst/>
                <a:cxnLst>
                  <a:cxn ang="0">
                    <a:pos x="116" y="47"/>
                  </a:cxn>
                  <a:cxn ang="0">
                    <a:pos x="93" y="107"/>
                  </a:cxn>
                  <a:cxn ang="0">
                    <a:pos x="93" y="142"/>
                  </a:cxn>
                  <a:cxn ang="0">
                    <a:pos x="48" y="178"/>
                  </a:cxn>
                  <a:cxn ang="0">
                    <a:pos x="12" y="203"/>
                  </a:cxn>
                  <a:cxn ang="0">
                    <a:pos x="33" y="218"/>
                  </a:cxn>
                  <a:cxn ang="0">
                    <a:pos x="56" y="277"/>
                  </a:cxn>
                  <a:cxn ang="0">
                    <a:pos x="90" y="305"/>
                  </a:cxn>
                  <a:cxn ang="0">
                    <a:pos x="90" y="361"/>
                  </a:cxn>
                  <a:cxn ang="0">
                    <a:pos x="95" y="421"/>
                  </a:cxn>
                  <a:cxn ang="0">
                    <a:pos x="84" y="466"/>
                  </a:cxn>
                  <a:cxn ang="0">
                    <a:pos x="101" y="518"/>
                  </a:cxn>
                  <a:cxn ang="0">
                    <a:pos x="139" y="556"/>
                  </a:cxn>
                  <a:cxn ang="0">
                    <a:pos x="172" y="584"/>
                  </a:cxn>
                  <a:cxn ang="0">
                    <a:pos x="185" y="626"/>
                  </a:cxn>
                  <a:cxn ang="0">
                    <a:pos x="188" y="662"/>
                  </a:cxn>
                  <a:cxn ang="0">
                    <a:pos x="197" y="694"/>
                  </a:cxn>
                  <a:cxn ang="0">
                    <a:pos x="202" y="737"/>
                  </a:cxn>
                  <a:cxn ang="0">
                    <a:pos x="256" y="722"/>
                  </a:cxn>
                  <a:cxn ang="0">
                    <a:pos x="313" y="715"/>
                  </a:cxn>
                  <a:cxn ang="0">
                    <a:pos x="376" y="691"/>
                  </a:cxn>
                  <a:cxn ang="0">
                    <a:pos x="400" y="646"/>
                  </a:cxn>
                  <a:cxn ang="0">
                    <a:pos x="433" y="610"/>
                  </a:cxn>
                  <a:cxn ang="0">
                    <a:pos x="473" y="563"/>
                  </a:cxn>
                  <a:cxn ang="0">
                    <a:pos x="523" y="532"/>
                  </a:cxn>
                  <a:cxn ang="0">
                    <a:pos x="565" y="509"/>
                  </a:cxn>
                  <a:cxn ang="0">
                    <a:pos x="604" y="457"/>
                  </a:cxn>
                  <a:cxn ang="0">
                    <a:pos x="686" y="473"/>
                  </a:cxn>
                  <a:cxn ang="0">
                    <a:pos x="709" y="505"/>
                  </a:cxn>
                  <a:cxn ang="0">
                    <a:pos x="734" y="520"/>
                  </a:cxn>
                  <a:cxn ang="0">
                    <a:pos x="775" y="497"/>
                  </a:cxn>
                  <a:cxn ang="0">
                    <a:pos x="808" y="470"/>
                  </a:cxn>
                  <a:cxn ang="0">
                    <a:pos x="838" y="439"/>
                  </a:cxn>
                  <a:cxn ang="0">
                    <a:pos x="797" y="383"/>
                  </a:cxn>
                  <a:cxn ang="0">
                    <a:pos x="763" y="340"/>
                  </a:cxn>
                  <a:cxn ang="0">
                    <a:pos x="701" y="317"/>
                  </a:cxn>
                  <a:cxn ang="0">
                    <a:pos x="700" y="238"/>
                  </a:cxn>
                  <a:cxn ang="0">
                    <a:pos x="721" y="172"/>
                  </a:cxn>
                  <a:cxn ang="0">
                    <a:pos x="710" y="118"/>
                  </a:cxn>
                  <a:cxn ang="0">
                    <a:pos x="680" y="61"/>
                  </a:cxn>
                  <a:cxn ang="0">
                    <a:pos x="638" y="61"/>
                  </a:cxn>
                  <a:cxn ang="0">
                    <a:pos x="595" y="92"/>
                  </a:cxn>
                  <a:cxn ang="0">
                    <a:pos x="539" y="67"/>
                  </a:cxn>
                  <a:cxn ang="0">
                    <a:pos x="486" y="88"/>
                  </a:cxn>
                  <a:cxn ang="0">
                    <a:pos x="448" y="52"/>
                  </a:cxn>
                  <a:cxn ang="0">
                    <a:pos x="423" y="28"/>
                  </a:cxn>
                  <a:cxn ang="0">
                    <a:pos x="390" y="35"/>
                  </a:cxn>
                  <a:cxn ang="0">
                    <a:pos x="333" y="17"/>
                  </a:cxn>
                  <a:cxn ang="0">
                    <a:pos x="281" y="19"/>
                  </a:cxn>
                  <a:cxn ang="0">
                    <a:pos x="215" y="31"/>
                  </a:cxn>
                  <a:cxn ang="0">
                    <a:pos x="179" y="35"/>
                  </a:cxn>
                  <a:cxn ang="0">
                    <a:pos x="137" y="1"/>
                  </a:cxn>
                </a:cxnLst>
                <a:rect l="0" t="0" r="r" b="b"/>
                <a:pathLst>
                  <a:path w="839" h="738">
                    <a:moveTo>
                      <a:pt x="131" y="20"/>
                    </a:moveTo>
                    <a:cubicBezTo>
                      <a:pt x="131" y="29"/>
                      <a:pt x="120" y="24"/>
                      <a:pt x="119" y="28"/>
                    </a:cubicBezTo>
                    <a:cubicBezTo>
                      <a:pt x="118" y="31"/>
                      <a:pt x="122" y="38"/>
                      <a:pt x="122" y="41"/>
                    </a:cubicBezTo>
                    <a:cubicBezTo>
                      <a:pt x="122" y="44"/>
                      <a:pt x="118" y="43"/>
                      <a:pt x="116" y="47"/>
                    </a:cubicBezTo>
                    <a:cubicBezTo>
                      <a:pt x="114" y="51"/>
                      <a:pt x="110" y="59"/>
                      <a:pt x="108" y="64"/>
                    </a:cubicBezTo>
                    <a:cubicBezTo>
                      <a:pt x="106" y="69"/>
                      <a:pt x="105" y="74"/>
                      <a:pt x="102" y="79"/>
                    </a:cubicBezTo>
                    <a:cubicBezTo>
                      <a:pt x="99" y="84"/>
                      <a:pt x="91" y="89"/>
                      <a:pt x="90" y="94"/>
                    </a:cubicBezTo>
                    <a:cubicBezTo>
                      <a:pt x="89" y="99"/>
                      <a:pt x="93" y="103"/>
                      <a:pt x="93" y="107"/>
                    </a:cubicBezTo>
                    <a:cubicBezTo>
                      <a:pt x="93" y="111"/>
                      <a:pt x="89" y="113"/>
                      <a:pt x="89" y="116"/>
                    </a:cubicBezTo>
                    <a:cubicBezTo>
                      <a:pt x="89" y="119"/>
                      <a:pt x="91" y="121"/>
                      <a:pt x="93" y="124"/>
                    </a:cubicBezTo>
                    <a:cubicBezTo>
                      <a:pt x="95" y="127"/>
                      <a:pt x="99" y="130"/>
                      <a:pt x="99" y="133"/>
                    </a:cubicBezTo>
                    <a:cubicBezTo>
                      <a:pt x="98" y="140"/>
                      <a:pt x="96" y="136"/>
                      <a:pt x="93" y="142"/>
                    </a:cubicBezTo>
                    <a:cubicBezTo>
                      <a:pt x="92" y="149"/>
                      <a:pt x="87" y="152"/>
                      <a:pt x="84" y="157"/>
                    </a:cubicBezTo>
                    <a:cubicBezTo>
                      <a:pt x="81" y="162"/>
                      <a:pt x="80" y="166"/>
                      <a:pt x="77" y="169"/>
                    </a:cubicBezTo>
                    <a:cubicBezTo>
                      <a:pt x="74" y="172"/>
                      <a:pt x="70" y="174"/>
                      <a:pt x="65" y="175"/>
                    </a:cubicBezTo>
                    <a:cubicBezTo>
                      <a:pt x="64" y="180"/>
                      <a:pt x="45" y="165"/>
                      <a:pt x="48" y="178"/>
                    </a:cubicBezTo>
                    <a:cubicBezTo>
                      <a:pt x="43" y="178"/>
                      <a:pt x="40" y="175"/>
                      <a:pt x="36" y="176"/>
                    </a:cubicBezTo>
                    <a:cubicBezTo>
                      <a:pt x="32" y="177"/>
                      <a:pt x="25" y="179"/>
                      <a:pt x="23" y="182"/>
                    </a:cubicBezTo>
                    <a:cubicBezTo>
                      <a:pt x="21" y="185"/>
                      <a:pt x="25" y="191"/>
                      <a:pt x="23" y="194"/>
                    </a:cubicBezTo>
                    <a:cubicBezTo>
                      <a:pt x="21" y="197"/>
                      <a:pt x="16" y="200"/>
                      <a:pt x="12" y="203"/>
                    </a:cubicBezTo>
                    <a:cubicBezTo>
                      <a:pt x="8" y="206"/>
                      <a:pt x="0" y="209"/>
                      <a:pt x="0" y="211"/>
                    </a:cubicBezTo>
                    <a:cubicBezTo>
                      <a:pt x="0" y="213"/>
                      <a:pt x="5" y="217"/>
                      <a:pt x="9" y="218"/>
                    </a:cubicBezTo>
                    <a:cubicBezTo>
                      <a:pt x="13" y="219"/>
                      <a:pt x="19" y="218"/>
                      <a:pt x="23" y="218"/>
                    </a:cubicBezTo>
                    <a:cubicBezTo>
                      <a:pt x="27" y="218"/>
                      <a:pt x="31" y="216"/>
                      <a:pt x="33" y="218"/>
                    </a:cubicBezTo>
                    <a:cubicBezTo>
                      <a:pt x="35" y="220"/>
                      <a:pt x="37" y="228"/>
                      <a:pt x="38" y="232"/>
                    </a:cubicBezTo>
                    <a:cubicBezTo>
                      <a:pt x="39" y="236"/>
                      <a:pt x="39" y="240"/>
                      <a:pt x="41" y="245"/>
                    </a:cubicBezTo>
                    <a:cubicBezTo>
                      <a:pt x="43" y="250"/>
                      <a:pt x="46" y="255"/>
                      <a:pt x="48" y="260"/>
                    </a:cubicBezTo>
                    <a:cubicBezTo>
                      <a:pt x="50" y="265"/>
                      <a:pt x="52" y="274"/>
                      <a:pt x="56" y="277"/>
                    </a:cubicBezTo>
                    <a:cubicBezTo>
                      <a:pt x="60" y="280"/>
                      <a:pt x="66" y="280"/>
                      <a:pt x="71" y="280"/>
                    </a:cubicBezTo>
                    <a:cubicBezTo>
                      <a:pt x="73" y="290"/>
                      <a:pt x="76" y="274"/>
                      <a:pt x="84" y="280"/>
                    </a:cubicBezTo>
                    <a:cubicBezTo>
                      <a:pt x="87" y="286"/>
                      <a:pt x="84" y="287"/>
                      <a:pt x="89" y="292"/>
                    </a:cubicBezTo>
                    <a:cubicBezTo>
                      <a:pt x="92" y="295"/>
                      <a:pt x="86" y="303"/>
                      <a:pt x="90" y="305"/>
                    </a:cubicBezTo>
                    <a:cubicBezTo>
                      <a:pt x="91" y="309"/>
                      <a:pt x="93" y="314"/>
                      <a:pt x="93" y="319"/>
                    </a:cubicBezTo>
                    <a:cubicBezTo>
                      <a:pt x="93" y="324"/>
                      <a:pt x="89" y="329"/>
                      <a:pt x="89" y="334"/>
                    </a:cubicBezTo>
                    <a:cubicBezTo>
                      <a:pt x="89" y="339"/>
                      <a:pt x="90" y="348"/>
                      <a:pt x="90" y="352"/>
                    </a:cubicBezTo>
                    <a:cubicBezTo>
                      <a:pt x="90" y="356"/>
                      <a:pt x="90" y="357"/>
                      <a:pt x="90" y="361"/>
                    </a:cubicBezTo>
                    <a:cubicBezTo>
                      <a:pt x="90" y="365"/>
                      <a:pt x="89" y="371"/>
                      <a:pt x="90" y="376"/>
                    </a:cubicBezTo>
                    <a:cubicBezTo>
                      <a:pt x="91" y="381"/>
                      <a:pt x="97" y="384"/>
                      <a:pt x="98" y="389"/>
                    </a:cubicBezTo>
                    <a:cubicBezTo>
                      <a:pt x="99" y="394"/>
                      <a:pt x="97" y="399"/>
                      <a:pt x="96" y="404"/>
                    </a:cubicBezTo>
                    <a:cubicBezTo>
                      <a:pt x="97" y="405"/>
                      <a:pt x="94" y="420"/>
                      <a:pt x="95" y="421"/>
                    </a:cubicBezTo>
                    <a:cubicBezTo>
                      <a:pt x="98" y="424"/>
                      <a:pt x="89" y="412"/>
                      <a:pt x="86" y="427"/>
                    </a:cubicBezTo>
                    <a:cubicBezTo>
                      <a:pt x="79" y="433"/>
                      <a:pt x="94" y="408"/>
                      <a:pt x="89" y="439"/>
                    </a:cubicBezTo>
                    <a:cubicBezTo>
                      <a:pt x="92" y="445"/>
                      <a:pt x="79" y="449"/>
                      <a:pt x="84" y="455"/>
                    </a:cubicBezTo>
                    <a:cubicBezTo>
                      <a:pt x="83" y="459"/>
                      <a:pt x="84" y="461"/>
                      <a:pt x="84" y="466"/>
                    </a:cubicBezTo>
                    <a:cubicBezTo>
                      <a:pt x="86" y="472"/>
                      <a:pt x="67" y="469"/>
                      <a:pt x="81" y="484"/>
                    </a:cubicBezTo>
                    <a:cubicBezTo>
                      <a:pt x="83" y="488"/>
                      <a:pt x="92" y="488"/>
                      <a:pt x="95" y="491"/>
                    </a:cubicBezTo>
                    <a:cubicBezTo>
                      <a:pt x="98" y="494"/>
                      <a:pt x="99" y="501"/>
                      <a:pt x="100" y="505"/>
                    </a:cubicBezTo>
                    <a:cubicBezTo>
                      <a:pt x="101" y="509"/>
                      <a:pt x="100" y="514"/>
                      <a:pt x="101" y="518"/>
                    </a:cubicBezTo>
                    <a:cubicBezTo>
                      <a:pt x="102" y="522"/>
                      <a:pt x="104" y="526"/>
                      <a:pt x="106" y="529"/>
                    </a:cubicBezTo>
                    <a:cubicBezTo>
                      <a:pt x="108" y="532"/>
                      <a:pt x="110" y="535"/>
                      <a:pt x="113" y="538"/>
                    </a:cubicBezTo>
                    <a:cubicBezTo>
                      <a:pt x="116" y="541"/>
                      <a:pt x="118" y="544"/>
                      <a:pt x="122" y="547"/>
                    </a:cubicBezTo>
                    <a:cubicBezTo>
                      <a:pt x="126" y="550"/>
                      <a:pt x="134" y="554"/>
                      <a:pt x="139" y="556"/>
                    </a:cubicBezTo>
                    <a:cubicBezTo>
                      <a:pt x="144" y="558"/>
                      <a:pt x="147" y="557"/>
                      <a:pt x="151" y="559"/>
                    </a:cubicBezTo>
                    <a:cubicBezTo>
                      <a:pt x="155" y="561"/>
                      <a:pt x="160" y="564"/>
                      <a:pt x="163" y="566"/>
                    </a:cubicBezTo>
                    <a:cubicBezTo>
                      <a:pt x="167" y="567"/>
                      <a:pt x="168" y="567"/>
                      <a:pt x="170" y="569"/>
                    </a:cubicBezTo>
                    <a:cubicBezTo>
                      <a:pt x="171" y="572"/>
                      <a:pt x="171" y="580"/>
                      <a:pt x="172" y="584"/>
                    </a:cubicBezTo>
                    <a:cubicBezTo>
                      <a:pt x="177" y="587"/>
                      <a:pt x="168" y="592"/>
                      <a:pt x="173" y="595"/>
                    </a:cubicBezTo>
                    <a:cubicBezTo>
                      <a:pt x="176" y="598"/>
                      <a:pt x="175" y="604"/>
                      <a:pt x="175" y="608"/>
                    </a:cubicBezTo>
                    <a:cubicBezTo>
                      <a:pt x="175" y="612"/>
                      <a:pt x="173" y="617"/>
                      <a:pt x="175" y="620"/>
                    </a:cubicBezTo>
                    <a:cubicBezTo>
                      <a:pt x="178" y="623"/>
                      <a:pt x="183" y="624"/>
                      <a:pt x="185" y="626"/>
                    </a:cubicBezTo>
                    <a:cubicBezTo>
                      <a:pt x="186" y="628"/>
                      <a:pt x="184" y="632"/>
                      <a:pt x="184" y="635"/>
                    </a:cubicBezTo>
                    <a:cubicBezTo>
                      <a:pt x="184" y="638"/>
                      <a:pt x="185" y="639"/>
                      <a:pt x="185" y="643"/>
                    </a:cubicBezTo>
                    <a:cubicBezTo>
                      <a:pt x="185" y="647"/>
                      <a:pt x="181" y="656"/>
                      <a:pt x="181" y="659"/>
                    </a:cubicBezTo>
                    <a:cubicBezTo>
                      <a:pt x="181" y="662"/>
                      <a:pt x="186" y="660"/>
                      <a:pt x="188" y="662"/>
                    </a:cubicBezTo>
                    <a:cubicBezTo>
                      <a:pt x="190" y="664"/>
                      <a:pt x="191" y="668"/>
                      <a:pt x="191" y="671"/>
                    </a:cubicBezTo>
                    <a:cubicBezTo>
                      <a:pt x="191" y="674"/>
                      <a:pt x="191" y="676"/>
                      <a:pt x="191" y="679"/>
                    </a:cubicBezTo>
                    <a:cubicBezTo>
                      <a:pt x="191" y="682"/>
                      <a:pt x="189" y="690"/>
                      <a:pt x="190" y="692"/>
                    </a:cubicBezTo>
                    <a:cubicBezTo>
                      <a:pt x="191" y="694"/>
                      <a:pt x="194" y="693"/>
                      <a:pt x="197" y="694"/>
                    </a:cubicBezTo>
                    <a:cubicBezTo>
                      <a:pt x="200" y="695"/>
                      <a:pt x="205" y="695"/>
                      <a:pt x="206" y="698"/>
                    </a:cubicBezTo>
                    <a:cubicBezTo>
                      <a:pt x="207" y="701"/>
                      <a:pt x="201" y="706"/>
                      <a:pt x="200" y="710"/>
                    </a:cubicBezTo>
                    <a:cubicBezTo>
                      <a:pt x="199" y="714"/>
                      <a:pt x="199" y="718"/>
                      <a:pt x="199" y="722"/>
                    </a:cubicBezTo>
                    <a:cubicBezTo>
                      <a:pt x="199" y="726"/>
                      <a:pt x="199" y="736"/>
                      <a:pt x="202" y="737"/>
                    </a:cubicBezTo>
                    <a:cubicBezTo>
                      <a:pt x="205" y="738"/>
                      <a:pt x="212" y="729"/>
                      <a:pt x="217" y="727"/>
                    </a:cubicBezTo>
                    <a:cubicBezTo>
                      <a:pt x="222" y="725"/>
                      <a:pt x="226" y="726"/>
                      <a:pt x="230" y="725"/>
                    </a:cubicBezTo>
                    <a:cubicBezTo>
                      <a:pt x="234" y="724"/>
                      <a:pt x="238" y="718"/>
                      <a:pt x="242" y="718"/>
                    </a:cubicBezTo>
                    <a:cubicBezTo>
                      <a:pt x="244" y="729"/>
                      <a:pt x="246" y="721"/>
                      <a:pt x="256" y="722"/>
                    </a:cubicBezTo>
                    <a:cubicBezTo>
                      <a:pt x="266" y="726"/>
                      <a:pt x="257" y="720"/>
                      <a:pt x="274" y="713"/>
                    </a:cubicBezTo>
                    <a:cubicBezTo>
                      <a:pt x="278" y="711"/>
                      <a:pt x="287" y="718"/>
                      <a:pt x="287" y="718"/>
                    </a:cubicBezTo>
                    <a:cubicBezTo>
                      <a:pt x="292" y="715"/>
                      <a:pt x="279" y="726"/>
                      <a:pt x="298" y="712"/>
                    </a:cubicBezTo>
                    <a:cubicBezTo>
                      <a:pt x="302" y="712"/>
                      <a:pt x="309" y="716"/>
                      <a:pt x="313" y="715"/>
                    </a:cubicBezTo>
                    <a:cubicBezTo>
                      <a:pt x="317" y="714"/>
                      <a:pt x="318" y="706"/>
                      <a:pt x="323" y="703"/>
                    </a:cubicBezTo>
                    <a:cubicBezTo>
                      <a:pt x="328" y="700"/>
                      <a:pt x="338" y="698"/>
                      <a:pt x="344" y="698"/>
                    </a:cubicBezTo>
                    <a:cubicBezTo>
                      <a:pt x="350" y="698"/>
                      <a:pt x="356" y="701"/>
                      <a:pt x="361" y="700"/>
                    </a:cubicBezTo>
                    <a:cubicBezTo>
                      <a:pt x="366" y="699"/>
                      <a:pt x="375" y="694"/>
                      <a:pt x="376" y="691"/>
                    </a:cubicBezTo>
                    <a:cubicBezTo>
                      <a:pt x="377" y="688"/>
                      <a:pt x="366" y="684"/>
                      <a:pt x="367" y="680"/>
                    </a:cubicBezTo>
                    <a:cubicBezTo>
                      <a:pt x="368" y="676"/>
                      <a:pt x="376" y="671"/>
                      <a:pt x="380" y="667"/>
                    </a:cubicBezTo>
                    <a:cubicBezTo>
                      <a:pt x="384" y="663"/>
                      <a:pt x="391" y="661"/>
                      <a:pt x="394" y="658"/>
                    </a:cubicBezTo>
                    <a:cubicBezTo>
                      <a:pt x="397" y="655"/>
                      <a:pt x="398" y="649"/>
                      <a:pt x="400" y="646"/>
                    </a:cubicBezTo>
                    <a:cubicBezTo>
                      <a:pt x="402" y="643"/>
                      <a:pt x="402" y="640"/>
                      <a:pt x="404" y="638"/>
                    </a:cubicBezTo>
                    <a:cubicBezTo>
                      <a:pt x="406" y="636"/>
                      <a:pt x="409" y="637"/>
                      <a:pt x="413" y="635"/>
                    </a:cubicBezTo>
                    <a:cubicBezTo>
                      <a:pt x="417" y="633"/>
                      <a:pt x="425" y="630"/>
                      <a:pt x="428" y="626"/>
                    </a:cubicBezTo>
                    <a:cubicBezTo>
                      <a:pt x="431" y="622"/>
                      <a:pt x="430" y="616"/>
                      <a:pt x="433" y="610"/>
                    </a:cubicBezTo>
                    <a:cubicBezTo>
                      <a:pt x="439" y="604"/>
                      <a:pt x="446" y="602"/>
                      <a:pt x="446" y="590"/>
                    </a:cubicBezTo>
                    <a:cubicBezTo>
                      <a:pt x="447" y="580"/>
                      <a:pt x="448" y="590"/>
                      <a:pt x="452" y="577"/>
                    </a:cubicBezTo>
                    <a:cubicBezTo>
                      <a:pt x="455" y="574"/>
                      <a:pt x="460" y="576"/>
                      <a:pt x="464" y="574"/>
                    </a:cubicBezTo>
                    <a:cubicBezTo>
                      <a:pt x="468" y="572"/>
                      <a:pt x="469" y="566"/>
                      <a:pt x="473" y="563"/>
                    </a:cubicBezTo>
                    <a:cubicBezTo>
                      <a:pt x="477" y="560"/>
                      <a:pt x="485" y="556"/>
                      <a:pt x="490" y="554"/>
                    </a:cubicBezTo>
                    <a:cubicBezTo>
                      <a:pt x="495" y="552"/>
                      <a:pt x="501" y="553"/>
                      <a:pt x="505" y="551"/>
                    </a:cubicBezTo>
                    <a:cubicBezTo>
                      <a:pt x="509" y="549"/>
                      <a:pt x="511" y="544"/>
                      <a:pt x="514" y="541"/>
                    </a:cubicBezTo>
                    <a:cubicBezTo>
                      <a:pt x="517" y="538"/>
                      <a:pt x="521" y="535"/>
                      <a:pt x="523" y="532"/>
                    </a:cubicBezTo>
                    <a:cubicBezTo>
                      <a:pt x="525" y="529"/>
                      <a:pt x="523" y="527"/>
                      <a:pt x="526" y="526"/>
                    </a:cubicBezTo>
                    <a:cubicBezTo>
                      <a:pt x="529" y="525"/>
                      <a:pt x="537" y="525"/>
                      <a:pt x="541" y="524"/>
                    </a:cubicBezTo>
                    <a:cubicBezTo>
                      <a:pt x="543" y="511"/>
                      <a:pt x="539" y="526"/>
                      <a:pt x="553" y="518"/>
                    </a:cubicBezTo>
                    <a:cubicBezTo>
                      <a:pt x="557" y="512"/>
                      <a:pt x="558" y="510"/>
                      <a:pt x="565" y="509"/>
                    </a:cubicBezTo>
                    <a:cubicBezTo>
                      <a:pt x="571" y="504"/>
                      <a:pt x="571" y="499"/>
                      <a:pt x="578" y="496"/>
                    </a:cubicBezTo>
                    <a:cubicBezTo>
                      <a:pt x="585" y="489"/>
                      <a:pt x="574" y="488"/>
                      <a:pt x="583" y="484"/>
                    </a:cubicBezTo>
                    <a:cubicBezTo>
                      <a:pt x="584" y="477"/>
                      <a:pt x="589" y="476"/>
                      <a:pt x="596" y="475"/>
                    </a:cubicBezTo>
                    <a:cubicBezTo>
                      <a:pt x="601" y="468"/>
                      <a:pt x="601" y="462"/>
                      <a:pt x="604" y="457"/>
                    </a:cubicBezTo>
                    <a:cubicBezTo>
                      <a:pt x="607" y="452"/>
                      <a:pt x="611" y="447"/>
                      <a:pt x="616" y="443"/>
                    </a:cubicBezTo>
                    <a:cubicBezTo>
                      <a:pt x="621" y="439"/>
                      <a:pt x="627" y="433"/>
                      <a:pt x="632" y="431"/>
                    </a:cubicBezTo>
                    <a:cubicBezTo>
                      <a:pt x="637" y="429"/>
                      <a:pt x="637" y="424"/>
                      <a:pt x="646" y="431"/>
                    </a:cubicBezTo>
                    <a:cubicBezTo>
                      <a:pt x="662" y="434"/>
                      <a:pt x="675" y="476"/>
                      <a:pt x="686" y="473"/>
                    </a:cubicBezTo>
                    <a:cubicBezTo>
                      <a:pt x="694" y="480"/>
                      <a:pt x="695" y="473"/>
                      <a:pt x="697" y="476"/>
                    </a:cubicBezTo>
                    <a:cubicBezTo>
                      <a:pt x="698" y="479"/>
                      <a:pt x="691" y="487"/>
                      <a:pt x="692" y="491"/>
                    </a:cubicBezTo>
                    <a:cubicBezTo>
                      <a:pt x="695" y="489"/>
                      <a:pt x="698" y="500"/>
                      <a:pt x="701" y="502"/>
                    </a:cubicBezTo>
                    <a:cubicBezTo>
                      <a:pt x="704" y="504"/>
                      <a:pt x="707" y="502"/>
                      <a:pt x="709" y="505"/>
                    </a:cubicBezTo>
                    <a:cubicBezTo>
                      <a:pt x="711" y="508"/>
                      <a:pt x="713" y="517"/>
                      <a:pt x="715" y="517"/>
                    </a:cubicBezTo>
                    <a:cubicBezTo>
                      <a:pt x="717" y="517"/>
                      <a:pt x="722" y="509"/>
                      <a:pt x="724" y="508"/>
                    </a:cubicBezTo>
                    <a:cubicBezTo>
                      <a:pt x="726" y="507"/>
                      <a:pt x="726" y="509"/>
                      <a:pt x="728" y="511"/>
                    </a:cubicBezTo>
                    <a:cubicBezTo>
                      <a:pt x="730" y="513"/>
                      <a:pt x="733" y="516"/>
                      <a:pt x="734" y="520"/>
                    </a:cubicBezTo>
                    <a:cubicBezTo>
                      <a:pt x="735" y="524"/>
                      <a:pt x="732" y="535"/>
                      <a:pt x="734" y="536"/>
                    </a:cubicBezTo>
                    <a:cubicBezTo>
                      <a:pt x="736" y="537"/>
                      <a:pt x="741" y="529"/>
                      <a:pt x="746" y="526"/>
                    </a:cubicBezTo>
                    <a:cubicBezTo>
                      <a:pt x="751" y="523"/>
                      <a:pt x="758" y="520"/>
                      <a:pt x="763" y="515"/>
                    </a:cubicBezTo>
                    <a:cubicBezTo>
                      <a:pt x="768" y="510"/>
                      <a:pt x="771" y="501"/>
                      <a:pt x="775" y="497"/>
                    </a:cubicBezTo>
                    <a:cubicBezTo>
                      <a:pt x="779" y="493"/>
                      <a:pt x="784" y="489"/>
                      <a:pt x="788" y="488"/>
                    </a:cubicBezTo>
                    <a:cubicBezTo>
                      <a:pt x="792" y="487"/>
                      <a:pt x="798" y="493"/>
                      <a:pt x="800" y="491"/>
                    </a:cubicBezTo>
                    <a:cubicBezTo>
                      <a:pt x="802" y="489"/>
                      <a:pt x="798" y="481"/>
                      <a:pt x="799" y="478"/>
                    </a:cubicBezTo>
                    <a:cubicBezTo>
                      <a:pt x="800" y="475"/>
                      <a:pt x="806" y="473"/>
                      <a:pt x="808" y="470"/>
                    </a:cubicBezTo>
                    <a:cubicBezTo>
                      <a:pt x="810" y="467"/>
                      <a:pt x="810" y="464"/>
                      <a:pt x="811" y="460"/>
                    </a:cubicBezTo>
                    <a:cubicBezTo>
                      <a:pt x="812" y="456"/>
                      <a:pt x="812" y="451"/>
                      <a:pt x="815" y="448"/>
                    </a:cubicBezTo>
                    <a:cubicBezTo>
                      <a:pt x="814" y="440"/>
                      <a:pt x="834" y="448"/>
                      <a:pt x="827" y="443"/>
                    </a:cubicBezTo>
                    <a:cubicBezTo>
                      <a:pt x="831" y="442"/>
                      <a:pt x="837" y="443"/>
                      <a:pt x="838" y="439"/>
                    </a:cubicBezTo>
                    <a:cubicBezTo>
                      <a:pt x="839" y="435"/>
                      <a:pt x="835" y="424"/>
                      <a:pt x="833" y="419"/>
                    </a:cubicBezTo>
                    <a:cubicBezTo>
                      <a:pt x="831" y="414"/>
                      <a:pt x="829" y="411"/>
                      <a:pt x="826" y="407"/>
                    </a:cubicBezTo>
                    <a:cubicBezTo>
                      <a:pt x="823" y="403"/>
                      <a:pt x="817" y="398"/>
                      <a:pt x="812" y="394"/>
                    </a:cubicBezTo>
                    <a:cubicBezTo>
                      <a:pt x="807" y="390"/>
                      <a:pt x="801" y="387"/>
                      <a:pt x="797" y="383"/>
                    </a:cubicBezTo>
                    <a:cubicBezTo>
                      <a:pt x="793" y="379"/>
                      <a:pt x="790" y="375"/>
                      <a:pt x="787" y="371"/>
                    </a:cubicBezTo>
                    <a:cubicBezTo>
                      <a:pt x="784" y="367"/>
                      <a:pt x="781" y="363"/>
                      <a:pt x="778" y="361"/>
                    </a:cubicBezTo>
                    <a:cubicBezTo>
                      <a:pt x="775" y="359"/>
                      <a:pt x="769" y="359"/>
                      <a:pt x="767" y="356"/>
                    </a:cubicBezTo>
                    <a:cubicBezTo>
                      <a:pt x="765" y="353"/>
                      <a:pt x="767" y="343"/>
                      <a:pt x="763" y="340"/>
                    </a:cubicBezTo>
                    <a:cubicBezTo>
                      <a:pt x="759" y="337"/>
                      <a:pt x="751" y="340"/>
                      <a:pt x="746" y="337"/>
                    </a:cubicBezTo>
                    <a:cubicBezTo>
                      <a:pt x="741" y="334"/>
                      <a:pt x="739" y="325"/>
                      <a:pt x="734" y="320"/>
                    </a:cubicBezTo>
                    <a:cubicBezTo>
                      <a:pt x="729" y="315"/>
                      <a:pt x="724" y="308"/>
                      <a:pt x="719" y="308"/>
                    </a:cubicBezTo>
                    <a:cubicBezTo>
                      <a:pt x="714" y="308"/>
                      <a:pt x="704" y="318"/>
                      <a:pt x="701" y="317"/>
                    </a:cubicBezTo>
                    <a:cubicBezTo>
                      <a:pt x="698" y="316"/>
                      <a:pt x="701" y="306"/>
                      <a:pt x="700" y="302"/>
                    </a:cubicBezTo>
                    <a:cubicBezTo>
                      <a:pt x="699" y="298"/>
                      <a:pt x="694" y="298"/>
                      <a:pt x="694" y="293"/>
                    </a:cubicBezTo>
                    <a:cubicBezTo>
                      <a:pt x="685" y="285"/>
                      <a:pt x="707" y="275"/>
                      <a:pt x="697" y="269"/>
                    </a:cubicBezTo>
                    <a:cubicBezTo>
                      <a:pt x="688" y="254"/>
                      <a:pt x="704" y="255"/>
                      <a:pt x="700" y="238"/>
                    </a:cubicBezTo>
                    <a:cubicBezTo>
                      <a:pt x="701" y="219"/>
                      <a:pt x="695" y="233"/>
                      <a:pt x="703" y="217"/>
                    </a:cubicBezTo>
                    <a:cubicBezTo>
                      <a:pt x="705" y="208"/>
                      <a:pt x="702" y="210"/>
                      <a:pt x="707" y="202"/>
                    </a:cubicBezTo>
                    <a:cubicBezTo>
                      <a:pt x="708" y="191"/>
                      <a:pt x="710" y="194"/>
                      <a:pt x="715" y="185"/>
                    </a:cubicBezTo>
                    <a:cubicBezTo>
                      <a:pt x="720" y="176"/>
                      <a:pt x="719" y="177"/>
                      <a:pt x="721" y="172"/>
                    </a:cubicBezTo>
                    <a:cubicBezTo>
                      <a:pt x="723" y="167"/>
                      <a:pt x="725" y="160"/>
                      <a:pt x="725" y="155"/>
                    </a:cubicBezTo>
                    <a:cubicBezTo>
                      <a:pt x="728" y="145"/>
                      <a:pt x="716" y="152"/>
                      <a:pt x="722" y="143"/>
                    </a:cubicBezTo>
                    <a:cubicBezTo>
                      <a:pt x="718" y="127"/>
                      <a:pt x="732" y="135"/>
                      <a:pt x="718" y="127"/>
                    </a:cubicBezTo>
                    <a:cubicBezTo>
                      <a:pt x="717" y="121"/>
                      <a:pt x="712" y="121"/>
                      <a:pt x="710" y="118"/>
                    </a:cubicBezTo>
                    <a:cubicBezTo>
                      <a:pt x="709" y="114"/>
                      <a:pt x="713" y="107"/>
                      <a:pt x="712" y="103"/>
                    </a:cubicBezTo>
                    <a:cubicBezTo>
                      <a:pt x="711" y="99"/>
                      <a:pt x="706" y="98"/>
                      <a:pt x="704" y="92"/>
                    </a:cubicBezTo>
                    <a:cubicBezTo>
                      <a:pt x="702" y="86"/>
                      <a:pt x="701" y="73"/>
                      <a:pt x="697" y="68"/>
                    </a:cubicBezTo>
                    <a:cubicBezTo>
                      <a:pt x="693" y="63"/>
                      <a:pt x="685" y="65"/>
                      <a:pt x="680" y="61"/>
                    </a:cubicBezTo>
                    <a:cubicBezTo>
                      <a:pt x="675" y="57"/>
                      <a:pt x="673" y="48"/>
                      <a:pt x="668" y="46"/>
                    </a:cubicBezTo>
                    <a:cubicBezTo>
                      <a:pt x="663" y="44"/>
                      <a:pt x="655" y="44"/>
                      <a:pt x="652" y="46"/>
                    </a:cubicBezTo>
                    <a:cubicBezTo>
                      <a:pt x="649" y="48"/>
                      <a:pt x="652" y="58"/>
                      <a:pt x="650" y="61"/>
                    </a:cubicBezTo>
                    <a:cubicBezTo>
                      <a:pt x="648" y="64"/>
                      <a:pt x="641" y="59"/>
                      <a:pt x="638" y="61"/>
                    </a:cubicBezTo>
                    <a:cubicBezTo>
                      <a:pt x="635" y="63"/>
                      <a:pt x="635" y="71"/>
                      <a:pt x="632" y="73"/>
                    </a:cubicBezTo>
                    <a:cubicBezTo>
                      <a:pt x="629" y="75"/>
                      <a:pt x="623" y="74"/>
                      <a:pt x="619" y="76"/>
                    </a:cubicBezTo>
                    <a:cubicBezTo>
                      <a:pt x="616" y="80"/>
                      <a:pt x="613" y="84"/>
                      <a:pt x="608" y="85"/>
                    </a:cubicBezTo>
                    <a:cubicBezTo>
                      <a:pt x="600" y="84"/>
                      <a:pt x="601" y="92"/>
                      <a:pt x="595" y="92"/>
                    </a:cubicBezTo>
                    <a:cubicBezTo>
                      <a:pt x="589" y="92"/>
                      <a:pt x="579" y="90"/>
                      <a:pt x="574" y="88"/>
                    </a:cubicBezTo>
                    <a:cubicBezTo>
                      <a:pt x="569" y="86"/>
                      <a:pt x="570" y="81"/>
                      <a:pt x="566" y="79"/>
                    </a:cubicBezTo>
                    <a:cubicBezTo>
                      <a:pt x="562" y="77"/>
                      <a:pt x="552" y="78"/>
                      <a:pt x="548" y="76"/>
                    </a:cubicBezTo>
                    <a:cubicBezTo>
                      <a:pt x="544" y="74"/>
                      <a:pt x="543" y="68"/>
                      <a:pt x="539" y="67"/>
                    </a:cubicBezTo>
                    <a:cubicBezTo>
                      <a:pt x="535" y="66"/>
                      <a:pt x="528" y="68"/>
                      <a:pt x="524" y="70"/>
                    </a:cubicBezTo>
                    <a:cubicBezTo>
                      <a:pt x="513" y="71"/>
                      <a:pt x="528" y="78"/>
                      <a:pt x="515" y="80"/>
                    </a:cubicBezTo>
                    <a:cubicBezTo>
                      <a:pt x="488" y="93"/>
                      <a:pt x="531" y="94"/>
                      <a:pt x="503" y="88"/>
                    </a:cubicBezTo>
                    <a:cubicBezTo>
                      <a:pt x="490" y="82"/>
                      <a:pt x="491" y="91"/>
                      <a:pt x="486" y="88"/>
                    </a:cubicBezTo>
                    <a:cubicBezTo>
                      <a:pt x="481" y="85"/>
                      <a:pt x="477" y="75"/>
                      <a:pt x="473" y="71"/>
                    </a:cubicBezTo>
                    <a:cubicBezTo>
                      <a:pt x="469" y="67"/>
                      <a:pt x="462" y="64"/>
                      <a:pt x="459" y="61"/>
                    </a:cubicBezTo>
                    <a:cubicBezTo>
                      <a:pt x="456" y="58"/>
                      <a:pt x="459" y="53"/>
                      <a:pt x="457" y="52"/>
                    </a:cubicBezTo>
                    <a:cubicBezTo>
                      <a:pt x="455" y="51"/>
                      <a:pt x="450" y="53"/>
                      <a:pt x="448" y="52"/>
                    </a:cubicBezTo>
                    <a:cubicBezTo>
                      <a:pt x="446" y="51"/>
                      <a:pt x="444" y="49"/>
                      <a:pt x="443" y="46"/>
                    </a:cubicBezTo>
                    <a:cubicBezTo>
                      <a:pt x="442" y="43"/>
                      <a:pt x="444" y="36"/>
                      <a:pt x="442" y="34"/>
                    </a:cubicBezTo>
                    <a:cubicBezTo>
                      <a:pt x="440" y="32"/>
                      <a:pt x="432" y="36"/>
                      <a:pt x="429" y="35"/>
                    </a:cubicBezTo>
                    <a:cubicBezTo>
                      <a:pt x="426" y="34"/>
                      <a:pt x="426" y="28"/>
                      <a:pt x="423" y="28"/>
                    </a:cubicBezTo>
                    <a:cubicBezTo>
                      <a:pt x="420" y="28"/>
                      <a:pt x="416" y="32"/>
                      <a:pt x="413" y="32"/>
                    </a:cubicBezTo>
                    <a:cubicBezTo>
                      <a:pt x="410" y="32"/>
                      <a:pt x="407" y="26"/>
                      <a:pt x="404" y="25"/>
                    </a:cubicBezTo>
                    <a:cubicBezTo>
                      <a:pt x="401" y="24"/>
                      <a:pt x="397" y="24"/>
                      <a:pt x="395" y="26"/>
                    </a:cubicBezTo>
                    <a:cubicBezTo>
                      <a:pt x="393" y="28"/>
                      <a:pt x="392" y="36"/>
                      <a:pt x="390" y="35"/>
                    </a:cubicBezTo>
                    <a:cubicBezTo>
                      <a:pt x="388" y="34"/>
                      <a:pt x="389" y="25"/>
                      <a:pt x="383" y="23"/>
                    </a:cubicBezTo>
                    <a:cubicBezTo>
                      <a:pt x="377" y="24"/>
                      <a:pt x="364" y="17"/>
                      <a:pt x="351" y="25"/>
                    </a:cubicBezTo>
                    <a:cubicBezTo>
                      <a:pt x="344" y="26"/>
                      <a:pt x="341" y="29"/>
                      <a:pt x="338" y="28"/>
                    </a:cubicBezTo>
                    <a:cubicBezTo>
                      <a:pt x="335" y="27"/>
                      <a:pt x="337" y="18"/>
                      <a:pt x="333" y="17"/>
                    </a:cubicBezTo>
                    <a:cubicBezTo>
                      <a:pt x="329" y="16"/>
                      <a:pt x="317" y="20"/>
                      <a:pt x="312" y="19"/>
                    </a:cubicBezTo>
                    <a:cubicBezTo>
                      <a:pt x="307" y="18"/>
                      <a:pt x="306" y="13"/>
                      <a:pt x="302" y="11"/>
                    </a:cubicBezTo>
                    <a:cubicBezTo>
                      <a:pt x="298" y="9"/>
                      <a:pt x="288" y="6"/>
                      <a:pt x="285" y="7"/>
                    </a:cubicBezTo>
                    <a:cubicBezTo>
                      <a:pt x="282" y="8"/>
                      <a:pt x="287" y="17"/>
                      <a:pt x="281" y="19"/>
                    </a:cubicBezTo>
                    <a:cubicBezTo>
                      <a:pt x="275" y="21"/>
                      <a:pt x="255" y="16"/>
                      <a:pt x="248" y="17"/>
                    </a:cubicBezTo>
                    <a:cubicBezTo>
                      <a:pt x="245" y="20"/>
                      <a:pt x="230" y="15"/>
                      <a:pt x="237" y="23"/>
                    </a:cubicBezTo>
                    <a:cubicBezTo>
                      <a:pt x="234" y="25"/>
                      <a:pt x="231" y="27"/>
                      <a:pt x="227" y="28"/>
                    </a:cubicBezTo>
                    <a:cubicBezTo>
                      <a:pt x="223" y="29"/>
                      <a:pt x="218" y="29"/>
                      <a:pt x="215" y="31"/>
                    </a:cubicBezTo>
                    <a:cubicBezTo>
                      <a:pt x="213" y="33"/>
                      <a:pt x="208" y="37"/>
                      <a:pt x="206" y="40"/>
                    </a:cubicBezTo>
                    <a:cubicBezTo>
                      <a:pt x="204" y="43"/>
                      <a:pt x="205" y="52"/>
                      <a:pt x="203" y="52"/>
                    </a:cubicBezTo>
                    <a:cubicBezTo>
                      <a:pt x="179" y="57"/>
                      <a:pt x="196" y="41"/>
                      <a:pt x="192" y="41"/>
                    </a:cubicBezTo>
                    <a:cubicBezTo>
                      <a:pt x="188" y="41"/>
                      <a:pt x="183" y="39"/>
                      <a:pt x="179" y="35"/>
                    </a:cubicBezTo>
                    <a:cubicBezTo>
                      <a:pt x="175" y="31"/>
                      <a:pt x="174" y="21"/>
                      <a:pt x="170" y="17"/>
                    </a:cubicBezTo>
                    <a:cubicBezTo>
                      <a:pt x="166" y="16"/>
                      <a:pt x="161" y="6"/>
                      <a:pt x="156" y="11"/>
                    </a:cubicBezTo>
                    <a:cubicBezTo>
                      <a:pt x="152" y="10"/>
                      <a:pt x="149" y="12"/>
                      <a:pt x="146" y="10"/>
                    </a:cubicBezTo>
                    <a:cubicBezTo>
                      <a:pt x="143" y="8"/>
                      <a:pt x="140" y="2"/>
                      <a:pt x="137" y="1"/>
                    </a:cubicBezTo>
                    <a:cubicBezTo>
                      <a:pt x="134" y="0"/>
                      <a:pt x="127" y="2"/>
                      <a:pt x="126" y="5"/>
                    </a:cubicBezTo>
                    <a:cubicBezTo>
                      <a:pt x="125" y="8"/>
                      <a:pt x="131" y="11"/>
                      <a:pt x="131" y="2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4" name="Freeform 9">
                <a:extLst>
                  <a:ext uri="{FF2B5EF4-FFF2-40B4-BE49-F238E27FC236}">
                    <a16:creationId xmlns:a16="http://schemas.microsoft.com/office/drawing/2014/main" id="{46BD1DA4-0A31-4AB3-9A9B-64AE2E800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92441" y="2371647"/>
                <a:ext cx="2304081" cy="2978216"/>
              </a:xfrm>
              <a:custGeom>
                <a:avLst/>
                <a:gdLst/>
                <a:ahLst/>
                <a:cxnLst>
                  <a:cxn ang="0">
                    <a:pos x="219" y="706"/>
                  </a:cxn>
                  <a:cxn ang="0">
                    <a:pos x="176" y="667"/>
                  </a:cxn>
                  <a:cxn ang="0">
                    <a:pos x="152" y="637"/>
                  </a:cxn>
                  <a:cxn ang="0">
                    <a:pos x="156" y="598"/>
                  </a:cxn>
                  <a:cxn ang="0">
                    <a:pos x="162" y="555"/>
                  </a:cxn>
                  <a:cxn ang="0">
                    <a:pos x="180" y="510"/>
                  </a:cxn>
                  <a:cxn ang="0">
                    <a:pos x="168" y="462"/>
                  </a:cxn>
                  <a:cxn ang="0">
                    <a:pos x="135" y="417"/>
                  </a:cxn>
                  <a:cxn ang="0">
                    <a:pos x="99" y="391"/>
                  </a:cxn>
                  <a:cxn ang="0">
                    <a:pos x="54" y="367"/>
                  </a:cxn>
                  <a:cxn ang="0">
                    <a:pos x="17" y="334"/>
                  </a:cxn>
                  <a:cxn ang="0">
                    <a:pos x="11" y="298"/>
                  </a:cxn>
                  <a:cxn ang="0">
                    <a:pos x="50" y="276"/>
                  </a:cxn>
                  <a:cxn ang="0">
                    <a:pos x="60" y="247"/>
                  </a:cxn>
                  <a:cxn ang="0">
                    <a:pos x="60" y="201"/>
                  </a:cxn>
                  <a:cxn ang="0">
                    <a:pos x="120" y="187"/>
                  </a:cxn>
                  <a:cxn ang="0">
                    <a:pos x="110" y="165"/>
                  </a:cxn>
                  <a:cxn ang="0">
                    <a:pos x="90" y="124"/>
                  </a:cxn>
                  <a:cxn ang="0">
                    <a:pos x="89" y="69"/>
                  </a:cxn>
                  <a:cxn ang="0">
                    <a:pos x="138" y="66"/>
                  </a:cxn>
                  <a:cxn ang="0">
                    <a:pos x="179" y="67"/>
                  </a:cxn>
                  <a:cxn ang="0">
                    <a:pos x="233" y="67"/>
                  </a:cxn>
                  <a:cxn ang="0">
                    <a:pos x="288" y="43"/>
                  </a:cxn>
                  <a:cxn ang="0">
                    <a:pos x="344" y="40"/>
                  </a:cxn>
                  <a:cxn ang="0">
                    <a:pos x="389" y="7"/>
                  </a:cxn>
                  <a:cxn ang="0">
                    <a:pos x="417" y="25"/>
                  </a:cxn>
                  <a:cxn ang="0">
                    <a:pos x="434" y="87"/>
                  </a:cxn>
                  <a:cxn ang="0">
                    <a:pos x="446" y="129"/>
                  </a:cxn>
                  <a:cxn ang="0">
                    <a:pos x="459" y="183"/>
                  </a:cxn>
                  <a:cxn ang="0">
                    <a:pos x="438" y="223"/>
                  </a:cxn>
                  <a:cxn ang="0">
                    <a:pos x="422" y="259"/>
                  </a:cxn>
                  <a:cxn ang="0">
                    <a:pos x="411" y="303"/>
                  </a:cxn>
                  <a:cxn ang="0">
                    <a:pos x="378" y="354"/>
                  </a:cxn>
                  <a:cxn ang="0">
                    <a:pos x="365" y="394"/>
                  </a:cxn>
                  <a:cxn ang="0">
                    <a:pos x="392" y="448"/>
                  </a:cxn>
                  <a:cxn ang="0">
                    <a:pos x="456" y="450"/>
                  </a:cxn>
                  <a:cxn ang="0">
                    <a:pos x="498" y="454"/>
                  </a:cxn>
                  <a:cxn ang="0">
                    <a:pos x="533" y="498"/>
                  </a:cxn>
                  <a:cxn ang="0">
                    <a:pos x="594" y="480"/>
                  </a:cxn>
                  <a:cxn ang="0">
                    <a:pos x="555" y="534"/>
                  </a:cxn>
                  <a:cxn ang="0">
                    <a:pos x="534" y="579"/>
                  </a:cxn>
                  <a:cxn ang="0">
                    <a:pos x="504" y="621"/>
                  </a:cxn>
                  <a:cxn ang="0">
                    <a:pos x="456" y="646"/>
                  </a:cxn>
                  <a:cxn ang="0">
                    <a:pos x="407" y="672"/>
                  </a:cxn>
                  <a:cxn ang="0">
                    <a:pos x="354" y="690"/>
                  </a:cxn>
                  <a:cxn ang="0">
                    <a:pos x="317" y="727"/>
                  </a:cxn>
                  <a:cxn ang="0">
                    <a:pos x="288" y="774"/>
                  </a:cxn>
                  <a:cxn ang="0">
                    <a:pos x="248" y="735"/>
                  </a:cxn>
                </a:cxnLst>
                <a:rect l="0" t="0" r="r" b="b"/>
                <a:pathLst>
                  <a:path w="596" h="780">
                    <a:moveTo>
                      <a:pt x="248" y="735"/>
                    </a:moveTo>
                    <a:cubicBezTo>
                      <a:pt x="240" y="737"/>
                      <a:pt x="243" y="727"/>
                      <a:pt x="240" y="724"/>
                    </a:cubicBezTo>
                    <a:cubicBezTo>
                      <a:pt x="237" y="721"/>
                      <a:pt x="232" y="717"/>
                      <a:pt x="228" y="714"/>
                    </a:cubicBezTo>
                    <a:cubicBezTo>
                      <a:pt x="224" y="711"/>
                      <a:pt x="221" y="709"/>
                      <a:pt x="219" y="706"/>
                    </a:cubicBezTo>
                    <a:cubicBezTo>
                      <a:pt x="217" y="703"/>
                      <a:pt x="222" y="698"/>
                      <a:pt x="218" y="696"/>
                    </a:cubicBezTo>
                    <a:cubicBezTo>
                      <a:pt x="214" y="694"/>
                      <a:pt x="200" y="696"/>
                      <a:pt x="195" y="693"/>
                    </a:cubicBezTo>
                    <a:cubicBezTo>
                      <a:pt x="185" y="683"/>
                      <a:pt x="191" y="679"/>
                      <a:pt x="188" y="675"/>
                    </a:cubicBezTo>
                    <a:cubicBezTo>
                      <a:pt x="185" y="671"/>
                      <a:pt x="181" y="667"/>
                      <a:pt x="176" y="667"/>
                    </a:cubicBezTo>
                    <a:cubicBezTo>
                      <a:pt x="171" y="667"/>
                      <a:pt x="159" y="676"/>
                      <a:pt x="156" y="675"/>
                    </a:cubicBezTo>
                    <a:cubicBezTo>
                      <a:pt x="153" y="674"/>
                      <a:pt x="156" y="668"/>
                      <a:pt x="155" y="663"/>
                    </a:cubicBezTo>
                    <a:cubicBezTo>
                      <a:pt x="154" y="658"/>
                      <a:pt x="148" y="649"/>
                      <a:pt x="147" y="645"/>
                    </a:cubicBezTo>
                    <a:cubicBezTo>
                      <a:pt x="146" y="641"/>
                      <a:pt x="152" y="640"/>
                      <a:pt x="152" y="637"/>
                    </a:cubicBezTo>
                    <a:cubicBezTo>
                      <a:pt x="152" y="634"/>
                      <a:pt x="151" y="628"/>
                      <a:pt x="150" y="625"/>
                    </a:cubicBezTo>
                    <a:cubicBezTo>
                      <a:pt x="149" y="622"/>
                      <a:pt x="146" y="622"/>
                      <a:pt x="146" y="619"/>
                    </a:cubicBezTo>
                    <a:cubicBezTo>
                      <a:pt x="146" y="616"/>
                      <a:pt x="150" y="612"/>
                      <a:pt x="152" y="609"/>
                    </a:cubicBezTo>
                    <a:cubicBezTo>
                      <a:pt x="154" y="606"/>
                      <a:pt x="156" y="602"/>
                      <a:pt x="156" y="598"/>
                    </a:cubicBezTo>
                    <a:cubicBezTo>
                      <a:pt x="156" y="594"/>
                      <a:pt x="152" y="589"/>
                      <a:pt x="152" y="586"/>
                    </a:cubicBezTo>
                    <a:cubicBezTo>
                      <a:pt x="152" y="583"/>
                      <a:pt x="154" y="582"/>
                      <a:pt x="155" y="579"/>
                    </a:cubicBezTo>
                    <a:cubicBezTo>
                      <a:pt x="156" y="576"/>
                      <a:pt x="158" y="571"/>
                      <a:pt x="159" y="567"/>
                    </a:cubicBezTo>
                    <a:cubicBezTo>
                      <a:pt x="160" y="563"/>
                      <a:pt x="162" y="558"/>
                      <a:pt x="162" y="555"/>
                    </a:cubicBezTo>
                    <a:cubicBezTo>
                      <a:pt x="162" y="552"/>
                      <a:pt x="160" y="548"/>
                      <a:pt x="161" y="546"/>
                    </a:cubicBezTo>
                    <a:cubicBezTo>
                      <a:pt x="162" y="544"/>
                      <a:pt x="168" y="544"/>
                      <a:pt x="170" y="540"/>
                    </a:cubicBezTo>
                    <a:cubicBezTo>
                      <a:pt x="173" y="534"/>
                      <a:pt x="172" y="528"/>
                      <a:pt x="174" y="522"/>
                    </a:cubicBezTo>
                    <a:cubicBezTo>
                      <a:pt x="180" y="517"/>
                      <a:pt x="172" y="514"/>
                      <a:pt x="180" y="510"/>
                    </a:cubicBezTo>
                    <a:cubicBezTo>
                      <a:pt x="180" y="507"/>
                      <a:pt x="174" y="505"/>
                      <a:pt x="174" y="501"/>
                    </a:cubicBezTo>
                    <a:cubicBezTo>
                      <a:pt x="174" y="497"/>
                      <a:pt x="180" y="491"/>
                      <a:pt x="179" y="487"/>
                    </a:cubicBezTo>
                    <a:cubicBezTo>
                      <a:pt x="178" y="483"/>
                      <a:pt x="169" y="479"/>
                      <a:pt x="167" y="475"/>
                    </a:cubicBezTo>
                    <a:cubicBezTo>
                      <a:pt x="165" y="471"/>
                      <a:pt x="169" y="466"/>
                      <a:pt x="168" y="462"/>
                    </a:cubicBezTo>
                    <a:cubicBezTo>
                      <a:pt x="170" y="457"/>
                      <a:pt x="154" y="456"/>
                      <a:pt x="159" y="450"/>
                    </a:cubicBezTo>
                    <a:cubicBezTo>
                      <a:pt x="157" y="446"/>
                      <a:pt x="157" y="440"/>
                      <a:pt x="156" y="436"/>
                    </a:cubicBezTo>
                    <a:cubicBezTo>
                      <a:pt x="155" y="432"/>
                      <a:pt x="156" y="426"/>
                      <a:pt x="153" y="423"/>
                    </a:cubicBezTo>
                    <a:cubicBezTo>
                      <a:pt x="150" y="420"/>
                      <a:pt x="139" y="420"/>
                      <a:pt x="135" y="417"/>
                    </a:cubicBezTo>
                    <a:cubicBezTo>
                      <a:pt x="131" y="414"/>
                      <a:pt x="131" y="410"/>
                      <a:pt x="129" y="408"/>
                    </a:cubicBezTo>
                    <a:cubicBezTo>
                      <a:pt x="125" y="402"/>
                      <a:pt x="128" y="406"/>
                      <a:pt x="122" y="402"/>
                    </a:cubicBezTo>
                    <a:cubicBezTo>
                      <a:pt x="124" y="399"/>
                      <a:pt x="102" y="403"/>
                      <a:pt x="108" y="400"/>
                    </a:cubicBezTo>
                    <a:cubicBezTo>
                      <a:pt x="104" y="398"/>
                      <a:pt x="103" y="393"/>
                      <a:pt x="99" y="391"/>
                    </a:cubicBezTo>
                    <a:cubicBezTo>
                      <a:pt x="91" y="383"/>
                      <a:pt x="88" y="397"/>
                      <a:pt x="81" y="388"/>
                    </a:cubicBezTo>
                    <a:cubicBezTo>
                      <a:pt x="78" y="384"/>
                      <a:pt x="80" y="383"/>
                      <a:pt x="77" y="379"/>
                    </a:cubicBezTo>
                    <a:cubicBezTo>
                      <a:pt x="72" y="372"/>
                      <a:pt x="66" y="376"/>
                      <a:pt x="66" y="376"/>
                    </a:cubicBezTo>
                    <a:cubicBezTo>
                      <a:pt x="65" y="369"/>
                      <a:pt x="49" y="387"/>
                      <a:pt x="54" y="367"/>
                    </a:cubicBezTo>
                    <a:cubicBezTo>
                      <a:pt x="51" y="364"/>
                      <a:pt x="50" y="361"/>
                      <a:pt x="47" y="358"/>
                    </a:cubicBezTo>
                    <a:cubicBezTo>
                      <a:pt x="44" y="355"/>
                      <a:pt x="42" y="352"/>
                      <a:pt x="39" y="349"/>
                    </a:cubicBezTo>
                    <a:cubicBezTo>
                      <a:pt x="36" y="346"/>
                      <a:pt x="31" y="344"/>
                      <a:pt x="27" y="342"/>
                    </a:cubicBezTo>
                    <a:cubicBezTo>
                      <a:pt x="23" y="340"/>
                      <a:pt x="21" y="336"/>
                      <a:pt x="17" y="334"/>
                    </a:cubicBezTo>
                    <a:cubicBezTo>
                      <a:pt x="13" y="332"/>
                      <a:pt x="4" y="333"/>
                      <a:pt x="2" y="330"/>
                    </a:cubicBezTo>
                    <a:cubicBezTo>
                      <a:pt x="0" y="327"/>
                      <a:pt x="0" y="318"/>
                      <a:pt x="2" y="315"/>
                    </a:cubicBezTo>
                    <a:cubicBezTo>
                      <a:pt x="4" y="312"/>
                      <a:pt x="13" y="315"/>
                      <a:pt x="14" y="312"/>
                    </a:cubicBezTo>
                    <a:cubicBezTo>
                      <a:pt x="15" y="309"/>
                      <a:pt x="11" y="302"/>
                      <a:pt x="11" y="298"/>
                    </a:cubicBezTo>
                    <a:cubicBezTo>
                      <a:pt x="11" y="294"/>
                      <a:pt x="10" y="290"/>
                      <a:pt x="12" y="288"/>
                    </a:cubicBezTo>
                    <a:cubicBezTo>
                      <a:pt x="16" y="283"/>
                      <a:pt x="9" y="297"/>
                      <a:pt x="27" y="288"/>
                    </a:cubicBezTo>
                    <a:cubicBezTo>
                      <a:pt x="31" y="286"/>
                      <a:pt x="31" y="279"/>
                      <a:pt x="35" y="277"/>
                    </a:cubicBezTo>
                    <a:cubicBezTo>
                      <a:pt x="39" y="275"/>
                      <a:pt x="47" y="278"/>
                      <a:pt x="50" y="276"/>
                    </a:cubicBezTo>
                    <a:cubicBezTo>
                      <a:pt x="53" y="274"/>
                      <a:pt x="48" y="266"/>
                      <a:pt x="51" y="264"/>
                    </a:cubicBezTo>
                    <a:cubicBezTo>
                      <a:pt x="54" y="262"/>
                      <a:pt x="66" y="263"/>
                      <a:pt x="68" y="261"/>
                    </a:cubicBezTo>
                    <a:cubicBezTo>
                      <a:pt x="70" y="259"/>
                      <a:pt x="64" y="255"/>
                      <a:pt x="63" y="253"/>
                    </a:cubicBezTo>
                    <a:cubicBezTo>
                      <a:pt x="62" y="251"/>
                      <a:pt x="62" y="249"/>
                      <a:pt x="60" y="247"/>
                    </a:cubicBezTo>
                    <a:cubicBezTo>
                      <a:pt x="58" y="245"/>
                      <a:pt x="55" y="241"/>
                      <a:pt x="53" y="238"/>
                    </a:cubicBezTo>
                    <a:cubicBezTo>
                      <a:pt x="51" y="235"/>
                      <a:pt x="47" y="235"/>
                      <a:pt x="47" y="231"/>
                    </a:cubicBezTo>
                    <a:cubicBezTo>
                      <a:pt x="47" y="227"/>
                      <a:pt x="48" y="218"/>
                      <a:pt x="50" y="213"/>
                    </a:cubicBezTo>
                    <a:cubicBezTo>
                      <a:pt x="52" y="208"/>
                      <a:pt x="56" y="204"/>
                      <a:pt x="60" y="201"/>
                    </a:cubicBezTo>
                    <a:cubicBezTo>
                      <a:pt x="64" y="198"/>
                      <a:pt x="67" y="195"/>
                      <a:pt x="72" y="192"/>
                    </a:cubicBezTo>
                    <a:cubicBezTo>
                      <a:pt x="77" y="189"/>
                      <a:pt x="83" y="183"/>
                      <a:pt x="89" y="181"/>
                    </a:cubicBezTo>
                    <a:cubicBezTo>
                      <a:pt x="95" y="179"/>
                      <a:pt x="102" y="179"/>
                      <a:pt x="107" y="180"/>
                    </a:cubicBezTo>
                    <a:cubicBezTo>
                      <a:pt x="112" y="181"/>
                      <a:pt x="117" y="187"/>
                      <a:pt x="120" y="187"/>
                    </a:cubicBezTo>
                    <a:cubicBezTo>
                      <a:pt x="123" y="187"/>
                      <a:pt x="128" y="183"/>
                      <a:pt x="128" y="181"/>
                    </a:cubicBezTo>
                    <a:cubicBezTo>
                      <a:pt x="128" y="179"/>
                      <a:pt x="121" y="178"/>
                      <a:pt x="119" y="175"/>
                    </a:cubicBezTo>
                    <a:cubicBezTo>
                      <a:pt x="130" y="167"/>
                      <a:pt x="104" y="170"/>
                      <a:pt x="116" y="165"/>
                    </a:cubicBezTo>
                    <a:cubicBezTo>
                      <a:pt x="114" y="163"/>
                      <a:pt x="112" y="166"/>
                      <a:pt x="110" y="165"/>
                    </a:cubicBezTo>
                    <a:cubicBezTo>
                      <a:pt x="108" y="164"/>
                      <a:pt x="106" y="163"/>
                      <a:pt x="104" y="160"/>
                    </a:cubicBezTo>
                    <a:cubicBezTo>
                      <a:pt x="104" y="156"/>
                      <a:pt x="82" y="154"/>
                      <a:pt x="95" y="147"/>
                    </a:cubicBezTo>
                    <a:cubicBezTo>
                      <a:pt x="92" y="142"/>
                      <a:pt x="85" y="137"/>
                      <a:pt x="84" y="133"/>
                    </a:cubicBezTo>
                    <a:cubicBezTo>
                      <a:pt x="83" y="129"/>
                      <a:pt x="91" y="127"/>
                      <a:pt x="90" y="124"/>
                    </a:cubicBezTo>
                    <a:cubicBezTo>
                      <a:pt x="89" y="121"/>
                      <a:pt x="80" y="120"/>
                      <a:pt x="78" y="115"/>
                    </a:cubicBezTo>
                    <a:cubicBezTo>
                      <a:pt x="76" y="110"/>
                      <a:pt x="80" y="102"/>
                      <a:pt x="80" y="96"/>
                    </a:cubicBezTo>
                    <a:cubicBezTo>
                      <a:pt x="80" y="90"/>
                      <a:pt x="74" y="85"/>
                      <a:pt x="75" y="81"/>
                    </a:cubicBezTo>
                    <a:cubicBezTo>
                      <a:pt x="76" y="77"/>
                      <a:pt x="85" y="70"/>
                      <a:pt x="89" y="69"/>
                    </a:cubicBezTo>
                    <a:cubicBezTo>
                      <a:pt x="93" y="68"/>
                      <a:pt x="97" y="76"/>
                      <a:pt x="99" y="76"/>
                    </a:cubicBezTo>
                    <a:cubicBezTo>
                      <a:pt x="101" y="76"/>
                      <a:pt x="101" y="67"/>
                      <a:pt x="104" y="66"/>
                    </a:cubicBezTo>
                    <a:cubicBezTo>
                      <a:pt x="107" y="65"/>
                      <a:pt x="114" y="67"/>
                      <a:pt x="120" y="67"/>
                    </a:cubicBezTo>
                    <a:cubicBezTo>
                      <a:pt x="126" y="67"/>
                      <a:pt x="132" y="66"/>
                      <a:pt x="138" y="66"/>
                    </a:cubicBezTo>
                    <a:cubicBezTo>
                      <a:pt x="144" y="66"/>
                      <a:pt x="152" y="70"/>
                      <a:pt x="156" y="69"/>
                    </a:cubicBezTo>
                    <a:cubicBezTo>
                      <a:pt x="160" y="68"/>
                      <a:pt x="162" y="62"/>
                      <a:pt x="164" y="61"/>
                    </a:cubicBezTo>
                    <a:cubicBezTo>
                      <a:pt x="180" y="54"/>
                      <a:pt x="169" y="60"/>
                      <a:pt x="171" y="61"/>
                    </a:cubicBezTo>
                    <a:cubicBezTo>
                      <a:pt x="173" y="62"/>
                      <a:pt x="175" y="66"/>
                      <a:pt x="179" y="67"/>
                    </a:cubicBezTo>
                    <a:cubicBezTo>
                      <a:pt x="183" y="68"/>
                      <a:pt x="194" y="68"/>
                      <a:pt x="197" y="67"/>
                    </a:cubicBezTo>
                    <a:cubicBezTo>
                      <a:pt x="203" y="60"/>
                      <a:pt x="196" y="61"/>
                      <a:pt x="200" y="60"/>
                    </a:cubicBezTo>
                    <a:cubicBezTo>
                      <a:pt x="204" y="59"/>
                      <a:pt x="216" y="60"/>
                      <a:pt x="221" y="61"/>
                    </a:cubicBezTo>
                    <a:cubicBezTo>
                      <a:pt x="226" y="62"/>
                      <a:pt x="230" y="68"/>
                      <a:pt x="233" y="67"/>
                    </a:cubicBezTo>
                    <a:cubicBezTo>
                      <a:pt x="236" y="66"/>
                      <a:pt x="236" y="58"/>
                      <a:pt x="239" y="55"/>
                    </a:cubicBezTo>
                    <a:cubicBezTo>
                      <a:pt x="242" y="52"/>
                      <a:pt x="245" y="48"/>
                      <a:pt x="249" y="46"/>
                    </a:cubicBezTo>
                    <a:cubicBezTo>
                      <a:pt x="260" y="54"/>
                      <a:pt x="255" y="36"/>
                      <a:pt x="266" y="45"/>
                    </a:cubicBezTo>
                    <a:cubicBezTo>
                      <a:pt x="268" y="36"/>
                      <a:pt x="281" y="44"/>
                      <a:pt x="288" y="43"/>
                    </a:cubicBezTo>
                    <a:cubicBezTo>
                      <a:pt x="295" y="42"/>
                      <a:pt x="304" y="43"/>
                      <a:pt x="308" y="42"/>
                    </a:cubicBezTo>
                    <a:cubicBezTo>
                      <a:pt x="312" y="41"/>
                      <a:pt x="311" y="37"/>
                      <a:pt x="315" y="36"/>
                    </a:cubicBezTo>
                    <a:cubicBezTo>
                      <a:pt x="319" y="35"/>
                      <a:pt x="327" y="36"/>
                      <a:pt x="332" y="37"/>
                    </a:cubicBezTo>
                    <a:cubicBezTo>
                      <a:pt x="337" y="38"/>
                      <a:pt x="340" y="41"/>
                      <a:pt x="344" y="40"/>
                    </a:cubicBezTo>
                    <a:cubicBezTo>
                      <a:pt x="348" y="39"/>
                      <a:pt x="352" y="33"/>
                      <a:pt x="356" y="31"/>
                    </a:cubicBezTo>
                    <a:cubicBezTo>
                      <a:pt x="361" y="13"/>
                      <a:pt x="366" y="33"/>
                      <a:pt x="369" y="30"/>
                    </a:cubicBezTo>
                    <a:cubicBezTo>
                      <a:pt x="372" y="27"/>
                      <a:pt x="371" y="16"/>
                      <a:pt x="374" y="12"/>
                    </a:cubicBezTo>
                    <a:cubicBezTo>
                      <a:pt x="377" y="8"/>
                      <a:pt x="385" y="8"/>
                      <a:pt x="389" y="7"/>
                    </a:cubicBezTo>
                    <a:cubicBezTo>
                      <a:pt x="393" y="6"/>
                      <a:pt x="392" y="4"/>
                      <a:pt x="396" y="3"/>
                    </a:cubicBezTo>
                    <a:cubicBezTo>
                      <a:pt x="400" y="2"/>
                      <a:pt x="407" y="0"/>
                      <a:pt x="411" y="0"/>
                    </a:cubicBezTo>
                    <a:cubicBezTo>
                      <a:pt x="415" y="0"/>
                      <a:pt x="422" y="0"/>
                      <a:pt x="423" y="4"/>
                    </a:cubicBezTo>
                    <a:cubicBezTo>
                      <a:pt x="424" y="8"/>
                      <a:pt x="416" y="21"/>
                      <a:pt x="417" y="25"/>
                    </a:cubicBezTo>
                    <a:cubicBezTo>
                      <a:pt x="418" y="29"/>
                      <a:pt x="427" y="23"/>
                      <a:pt x="428" y="27"/>
                    </a:cubicBezTo>
                    <a:cubicBezTo>
                      <a:pt x="429" y="31"/>
                      <a:pt x="424" y="46"/>
                      <a:pt x="425" y="51"/>
                    </a:cubicBezTo>
                    <a:cubicBezTo>
                      <a:pt x="426" y="56"/>
                      <a:pt x="431" y="49"/>
                      <a:pt x="432" y="55"/>
                    </a:cubicBezTo>
                    <a:cubicBezTo>
                      <a:pt x="433" y="61"/>
                      <a:pt x="433" y="81"/>
                      <a:pt x="434" y="87"/>
                    </a:cubicBezTo>
                    <a:cubicBezTo>
                      <a:pt x="435" y="93"/>
                      <a:pt x="440" y="87"/>
                      <a:pt x="441" y="91"/>
                    </a:cubicBezTo>
                    <a:cubicBezTo>
                      <a:pt x="455" y="87"/>
                      <a:pt x="440" y="105"/>
                      <a:pt x="441" y="109"/>
                    </a:cubicBezTo>
                    <a:cubicBezTo>
                      <a:pt x="442" y="113"/>
                      <a:pt x="446" y="112"/>
                      <a:pt x="447" y="115"/>
                    </a:cubicBezTo>
                    <a:cubicBezTo>
                      <a:pt x="448" y="118"/>
                      <a:pt x="445" y="126"/>
                      <a:pt x="446" y="129"/>
                    </a:cubicBezTo>
                    <a:cubicBezTo>
                      <a:pt x="447" y="132"/>
                      <a:pt x="451" y="129"/>
                      <a:pt x="452" y="132"/>
                    </a:cubicBezTo>
                    <a:cubicBezTo>
                      <a:pt x="453" y="135"/>
                      <a:pt x="448" y="143"/>
                      <a:pt x="450" y="147"/>
                    </a:cubicBezTo>
                    <a:cubicBezTo>
                      <a:pt x="452" y="151"/>
                      <a:pt x="460" y="148"/>
                      <a:pt x="461" y="154"/>
                    </a:cubicBezTo>
                    <a:cubicBezTo>
                      <a:pt x="462" y="160"/>
                      <a:pt x="459" y="177"/>
                      <a:pt x="459" y="183"/>
                    </a:cubicBezTo>
                    <a:cubicBezTo>
                      <a:pt x="459" y="189"/>
                      <a:pt x="459" y="189"/>
                      <a:pt x="458" y="193"/>
                    </a:cubicBezTo>
                    <a:cubicBezTo>
                      <a:pt x="457" y="197"/>
                      <a:pt x="455" y="204"/>
                      <a:pt x="453" y="207"/>
                    </a:cubicBezTo>
                    <a:cubicBezTo>
                      <a:pt x="451" y="210"/>
                      <a:pt x="446" y="208"/>
                      <a:pt x="444" y="211"/>
                    </a:cubicBezTo>
                    <a:cubicBezTo>
                      <a:pt x="442" y="214"/>
                      <a:pt x="439" y="219"/>
                      <a:pt x="438" y="223"/>
                    </a:cubicBezTo>
                    <a:cubicBezTo>
                      <a:pt x="437" y="227"/>
                      <a:pt x="439" y="231"/>
                      <a:pt x="438" y="234"/>
                    </a:cubicBezTo>
                    <a:cubicBezTo>
                      <a:pt x="437" y="237"/>
                      <a:pt x="433" y="241"/>
                      <a:pt x="431" y="243"/>
                    </a:cubicBezTo>
                    <a:cubicBezTo>
                      <a:pt x="429" y="245"/>
                      <a:pt x="428" y="243"/>
                      <a:pt x="426" y="246"/>
                    </a:cubicBezTo>
                    <a:cubicBezTo>
                      <a:pt x="424" y="249"/>
                      <a:pt x="421" y="256"/>
                      <a:pt x="422" y="259"/>
                    </a:cubicBezTo>
                    <a:cubicBezTo>
                      <a:pt x="423" y="262"/>
                      <a:pt x="430" y="264"/>
                      <a:pt x="431" y="267"/>
                    </a:cubicBezTo>
                    <a:cubicBezTo>
                      <a:pt x="432" y="270"/>
                      <a:pt x="427" y="275"/>
                      <a:pt x="425" y="279"/>
                    </a:cubicBezTo>
                    <a:cubicBezTo>
                      <a:pt x="423" y="283"/>
                      <a:pt x="421" y="288"/>
                      <a:pt x="419" y="292"/>
                    </a:cubicBezTo>
                    <a:cubicBezTo>
                      <a:pt x="417" y="296"/>
                      <a:pt x="412" y="298"/>
                      <a:pt x="411" y="303"/>
                    </a:cubicBezTo>
                    <a:cubicBezTo>
                      <a:pt x="410" y="308"/>
                      <a:pt x="412" y="317"/>
                      <a:pt x="411" y="321"/>
                    </a:cubicBezTo>
                    <a:cubicBezTo>
                      <a:pt x="410" y="325"/>
                      <a:pt x="405" y="324"/>
                      <a:pt x="402" y="328"/>
                    </a:cubicBezTo>
                    <a:cubicBezTo>
                      <a:pt x="399" y="332"/>
                      <a:pt x="396" y="342"/>
                      <a:pt x="392" y="346"/>
                    </a:cubicBezTo>
                    <a:cubicBezTo>
                      <a:pt x="390" y="356"/>
                      <a:pt x="385" y="347"/>
                      <a:pt x="378" y="354"/>
                    </a:cubicBezTo>
                    <a:cubicBezTo>
                      <a:pt x="374" y="369"/>
                      <a:pt x="377" y="352"/>
                      <a:pt x="371" y="367"/>
                    </a:cubicBezTo>
                    <a:cubicBezTo>
                      <a:pt x="371" y="367"/>
                      <a:pt x="370" y="348"/>
                      <a:pt x="374" y="378"/>
                    </a:cubicBezTo>
                    <a:cubicBezTo>
                      <a:pt x="375" y="381"/>
                      <a:pt x="378" y="384"/>
                      <a:pt x="377" y="387"/>
                    </a:cubicBezTo>
                    <a:cubicBezTo>
                      <a:pt x="376" y="390"/>
                      <a:pt x="366" y="385"/>
                      <a:pt x="365" y="394"/>
                    </a:cubicBezTo>
                    <a:cubicBezTo>
                      <a:pt x="364" y="403"/>
                      <a:pt x="368" y="431"/>
                      <a:pt x="368" y="442"/>
                    </a:cubicBezTo>
                    <a:cubicBezTo>
                      <a:pt x="370" y="435"/>
                      <a:pt x="362" y="456"/>
                      <a:pt x="363" y="459"/>
                    </a:cubicBezTo>
                    <a:cubicBezTo>
                      <a:pt x="364" y="462"/>
                      <a:pt x="372" y="461"/>
                      <a:pt x="377" y="459"/>
                    </a:cubicBezTo>
                    <a:cubicBezTo>
                      <a:pt x="382" y="457"/>
                      <a:pt x="388" y="452"/>
                      <a:pt x="392" y="448"/>
                    </a:cubicBezTo>
                    <a:cubicBezTo>
                      <a:pt x="396" y="444"/>
                      <a:pt x="401" y="433"/>
                      <a:pt x="404" y="433"/>
                    </a:cubicBezTo>
                    <a:cubicBezTo>
                      <a:pt x="407" y="433"/>
                      <a:pt x="408" y="444"/>
                      <a:pt x="410" y="447"/>
                    </a:cubicBezTo>
                    <a:cubicBezTo>
                      <a:pt x="412" y="450"/>
                      <a:pt x="411" y="452"/>
                      <a:pt x="419" y="453"/>
                    </a:cubicBezTo>
                    <a:cubicBezTo>
                      <a:pt x="427" y="454"/>
                      <a:pt x="449" y="448"/>
                      <a:pt x="456" y="450"/>
                    </a:cubicBezTo>
                    <a:cubicBezTo>
                      <a:pt x="462" y="454"/>
                      <a:pt x="455" y="461"/>
                      <a:pt x="461" y="465"/>
                    </a:cubicBezTo>
                    <a:cubicBezTo>
                      <a:pt x="464" y="467"/>
                      <a:pt x="473" y="462"/>
                      <a:pt x="473" y="462"/>
                    </a:cubicBezTo>
                    <a:cubicBezTo>
                      <a:pt x="482" y="452"/>
                      <a:pt x="479" y="457"/>
                      <a:pt x="483" y="456"/>
                    </a:cubicBezTo>
                    <a:cubicBezTo>
                      <a:pt x="487" y="455"/>
                      <a:pt x="495" y="452"/>
                      <a:pt x="498" y="454"/>
                    </a:cubicBezTo>
                    <a:cubicBezTo>
                      <a:pt x="501" y="456"/>
                      <a:pt x="499" y="467"/>
                      <a:pt x="501" y="471"/>
                    </a:cubicBezTo>
                    <a:cubicBezTo>
                      <a:pt x="503" y="475"/>
                      <a:pt x="507" y="478"/>
                      <a:pt x="510" y="481"/>
                    </a:cubicBezTo>
                    <a:cubicBezTo>
                      <a:pt x="513" y="484"/>
                      <a:pt x="517" y="489"/>
                      <a:pt x="521" y="492"/>
                    </a:cubicBezTo>
                    <a:cubicBezTo>
                      <a:pt x="525" y="495"/>
                      <a:pt x="529" y="497"/>
                      <a:pt x="533" y="498"/>
                    </a:cubicBezTo>
                    <a:cubicBezTo>
                      <a:pt x="537" y="499"/>
                      <a:pt x="542" y="500"/>
                      <a:pt x="546" y="498"/>
                    </a:cubicBezTo>
                    <a:cubicBezTo>
                      <a:pt x="550" y="496"/>
                      <a:pt x="556" y="486"/>
                      <a:pt x="560" y="484"/>
                    </a:cubicBezTo>
                    <a:cubicBezTo>
                      <a:pt x="564" y="482"/>
                      <a:pt x="567" y="487"/>
                      <a:pt x="573" y="486"/>
                    </a:cubicBezTo>
                    <a:cubicBezTo>
                      <a:pt x="579" y="485"/>
                      <a:pt x="592" y="477"/>
                      <a:pt x="594" y="480"/>
                    </a:cubicBezTo>
                    <a:cubicBezTo>
                      <a:pt x="596" y="483"/>
                      <a:pt x="589" y="498"/>
                      <a:pt x="587" y="504"/>
                    </a:cubicBezTo>
                    <a:cubicBezTo>
                      <a:pt x="585" y="510"/>
                      <a:pt x="584" y="513"/>
                      <a:pt x="582" y="517"/>
                    </a:cubicBezTo>
                    <a:cubicBezTo>
                      <a:pt x="580" y="521"/>
                      <a:pt x="577" y="525"/>
                      <a:pt x="573" y="528"/>
                    </a:cubicBezTo>
                    <a:cubicBezTo>
                      <a:pt x="569" y="531"/>
                      <a:pt x="558" y="531"/>
                      <a:pt x="555" y="534"/>
                    </a:cubicBezTo>
                    <a:cubicBezTo>
                      <a:pt x="552" y="537"/>
                      <a:pt x="555" y="542"/>
                      <a:pt x="555" y="546"/>
                    </a:cubicBezTo>
                    <a:cubicBezTo>
                      <a:pt x="555" y="550"/>
                      <a:pt x="556" y="554"/>
                      <a:pt x="554" y="558"/>
                    </a:cubicBezTo>
                    <a:cubicBezTo>
                      <a:pt x="552" y="562"/>
                      <a:pt x="548" y="570"/>
                      <a:pt x="545" y="573"/>
                    </a:cubicBezTo>
                    <a:cubicBezTo>
                      <a:pt x="542" y="576"/>
                      <a:pt x="536" y="577"/>
                      <a:pt x="534" y="579"/>
                    </a:cubicBezTo>
                    <a:cubicBezTo>
                      <a:pt x="532" y="581"/>
                      <a:pt x="533" y="582"/>
                      <a:pt x="530" y="586"/>
                    </a:cubicBezTo>
                    <a:cubicBezTo>
                      <a:pt x="534" y="591"/>
                      <a:pt x="521" y="595"/>
                      <a:pt x="518" y="600"/>
                    </a:cubicBezTo>
                    <a:cubicBezTo>
                      <a:pt x="515" y="605"/>
                      <a:pt x="515" y="611"/>
                      <a:pt x="513" y="615"/>
                    </a:cubicBezTo>
                    <a:cubicBezTo>
                      <a:pt x="511" y="619"/>
                      <a:pt x="508" y="620"/>
                      <a:pt x="504" y="621"/>
                    </a:cubicBezTo>
                    <a:cubicBezTo>
                      <a:pt x="500" y="622"/>
                      <a:pt x="492" y="617"/>
                      <a:pt x="489" y="619"/>
                    </a:cubicBezTo>
                    <a:cubicBezTo>
                      <a:pt x="486" y="621"/>
                      <a:pt x="486" y="630"/>
                      <a:pt x="483" y="633"/>
                    </a:cubicBezTo>
                    <a:cubicBezTo>
                      <a:pt x="480" y="636"/>
                      <a:pt x="474" y="635"/>
                      <a:pt x="470" y="637"/>
                    </a:cubicBezTo>
                    <a:cubicBezTo>
                      <a:pt x="466" y="639"/>
                      <a:pt x="460" y="643"/>
                      <a:pt x="456" y="646"/>
                    </a:cubicBezTo>
                    <a:cubicBezTo>
                      <a:pt x="452" y="649"/>
                      <a:pt x="449" y="649"/>
                      <a:pt x="444" y="652"/>
                    </a:cubicBezTo>
                    <a:cubicBezTo>
                      <a:pt x="439" y="655"/>
                      <a:pt x="431" y="660"/>
                      <a:pt x="426" y="663"/>
                    </a:cubicBezTo>
                    <a:cubicBezTo>
                      <a:pt x="416" y="665"/>
                      <a:pt x="426" y="668"/>
                      <a:pt x="416" y="669"/>
                    </a:cubicBezTo>
                    <a:cubicBezTo>
                      <a:pt x="413" y="674"/>
                      <a:pt x="411" y="671"/>
                      <a:pt x="407" y="672"/>
                    </a:cubicBezTo>
                    <a:cubicBezTo>
                      <a:pt x="403" y="673"/>
                      <a:pt x="394" y="674"/>
                      <a:pt x="390" y="676"/>
                    </a:cubicBezTo>
                    <a:cubicBezTo>
                      <a:pt x="386" y="678"/>
                      <a:pt x="387" y="682"/>
                      <a:pt x="383" y="684"/>
                    </a:cubicBezTo>
                    <a:cubicBezTo>
                      <a:pt x="379" y="686"/>
                      <a:pt x="373" y="684"/>
                      <a:pt x="368" y="685"/>
                    </a:cubicBezTo>
                    <a:cubicBezTo>
                      <a:pt x="363" y="686"/>
                      <a:pt x="358" y="687"/>
                      <a:pt x="354" y="690"/>
                    </a:cubicBezTo>
                    <a:cubicBezTo>
                      <a:pt x="350" y="693"/>
                      <a:pt x="348" y="698"/>
                      <a:pt x="345" y="702"/>
                    </a:cubicBezTo>
                    <a:cubicBezTo>
                      <a:pt x="342" y="706"/>
                      <a:pt x="338" y="709"/>
                      <a:pt x="335" y="712"/>
                    </a:cubicBezTo>
                    <a:cubicBezTo>
                      <a:pt x="329" y="722"/>
                      <a:pt x="330" y="718"/>
                      <a:pt x="327" y="721"/>
                    </a:cubicBezTo>
                    <a:cubicBezTo>
                      <a:pt x="324" y="724"/>
                      <a:pt x="320" y="723"/>
                      <a:pt x="317" y="727"/>
                    </a:cubicBezTo>
                    <a:cubicBezTo>
                      <a:pt x="310" y="743"/>
                      <a:pt x="315" y="740"/>
                      <a:pt x="312" y="745"/>
                    </a:cubicBezTo>
                    <a:cubicBezTo>
                      <a:pt x="309" y="750"/>
                      <a:pt x="302" y="752"/>
                      <a:pt x="300" y="757"/>
                    </a:cubicBezTo>
                    <a:cubicBezTo>
                      <a:pt x="298" y="762"/>
                      <a:pt x="299" y="774"/>
                      <a:pt x="297" y="777"/>
                    </a:cubicBezTo>
                    <a:cubicBezTo>
                      <a:pt x="295" y="780"/>
                      <a:pt x="291" y="776"/>
                      <a:pt x="288" y="774"/>
                    </a:cubicBezTo>
                    <a:cubicBezTo>
                      <a:pt x="285" y="772"/>
                      <a:pt x="282" y="766"/>
                      <a:pt x="279" y="762"/>
                    </a:cubicBezTo>
                    <a:cubicBezTo>
                      <a:pt x="276" y="758"/>
                      <a:pt x="273" y="754"/>
                      <a:pt x="270" y="751"/>
                    </a:cubicBezTo>
                    <a:cubicBezTo>
                      <a:pt x="260" y="762"/>
                      <a:pt x="264" y="747"/>
                      <a:pt x="260" y="744"/>
                    </a:cubicBezTo>
                    <a:cubicBezTo>
                      <a:pt x="256" y="741"/>
                      <a:pt x="251" y="737"/>
                      <a:pt x="248" y="73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5" name="Freeform 10">
                <a:extLst>
                  <a:ext uri="{FF2B5EF4-FFF2-40B4-BE49-F238E27FC236}">
                    <a16:creationId xmlns:a16="http://schemas.microsoft.com/office/drawing/2014/main" id="{756BEC43-A0B3-4533-9817-4A99FFE9DD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303" y="2799289"/>
                <a:ext cx="2624952" cy="1664747"/>
              </a:xfrm>
              <a:custGeom>
                <a:avLst/>
                <a:gdLst/>
                <a:ahLst/>
                <a:cxnLst>
                  <a:cxn ang="0">
                    <a:pos x="177" y="155"/>
                  </a:cxn>
                  <a:cxn ang="0">
                    <a:pos x="201" y="156"/>
                  </a:cxn>
                  <a:cxn ang="0">
                    <a:pos x="244" y="138"/>
                  </a:cxn>
                  <a:cxn ang="0">
                    <a:pos x="252" y="108"/>
                  </a:cxn>
                  <a:cxn ang="0">
                    <a:pos x="261" y="42"/>
                  </a:cxn>
                  <a:cxn ang="0">
                    <a:pos x="259" y="8"/>
                  </a:cxn>
                  <a:cxn ang="0">
                    <a:pos x="289" y="30"/>
                  </a:cxn>
                  <a:cxn ang="0">
                    <a:pos x="316" y="2"/>
                  </a:cxn>
                  <a:cxn ang="0">
                    <a:pos x="345" y="9"/>
                  </a:cxn>
                  <a:cxn ang="0">
                    <a:pos x="358" y="30"/>
                  </a:cxn>
                  <a:cxn ang="0">
                    <a:pos x="378" y="68"/>
                  </a:cxn>
                  <a:cxn ang="0">
                    <a:pos x="406" y="59"/>
                  </a:cxn>
                  <a:cxn ang="0">
                    <a:pos x="450" y="59"/>
                  </a:cxn>
                  <a:cxn ang="0">
                    <a:pos x="478" y="74"/>
                  </a:cxn>
                  <a:cxn ang="0">
                    <a:pos x="504" y="80"/>
                  </a:cxn>
                  <a:cxn ang="0">
                    <a:pos x="547" y="81"/>
                  </a:cxn>
                  <a:cxn ang="0">
                    <a:pos x="595" y="87"/>
                  </a:cxn>
                  <a:cxn ang="0">
                    <a:pos x="634" y="89"/>
                  </a:cxn>
                  <a:cxn ang="0">
                    <a:pos x="654" y="108"/>
                  </a:cxn>
                  <a:cxn ang="0">
                    <a:pos x="664" y="195"/>
                  </a:cxn>
                  <a:cxn ang="0">
                    <a:pos x="673" y="239"/>
                  </a:cxn>
                  <a:cxn ang="0">
                    <a:pos x="640" y="279"/>
                  </a:cxn>
                  <a:cxn ang="0">
                    <a:pos x="607" y="290"/>
                  </a:cxn>
                  <a:cxn ang="0">
                    <a:pos x="576" y="333"/>
                  </a:cxn>
                  <a:cxn ang="0">
                    <a:pos x="532" y="359"/>
                  </a:cxn>
                  <a:cxn ang="0">
                    <a:pos x="483" y="344"/>
                  </a:cxn>
                  <a:cxn ang="0">
                    <a:pos x="436" y="411"/>
                  </a:cxn>
                  <a:cxn ang="0">
                    <a:pos x="388" y="414"/>
                  </a:cxn>
                  <a:cxn ang="0">
                    <a:pos x="327" y="426"/>
                  </a:cxn>
                  <a:cxn ang="0">
                    <a:pos x="277" y="399"/>
                  </a:cxn>
                  <a:cxn ang="0">
                    <a:pos x="250" y="359"/>
                  </a:cxn>
                  <a:cxn ang="0">
                    <a:pos x="210" y="374"/>
                  </a:cxn>
                  <a:cxn ang="0">
                    <a:pos x="169" y="386"/>
                  </a:cxn>
                  <a:cxn ang="0">
                    <a:pos x="141" y="354"/>
                  </a:cxn>
                  <a:cxn ang="0">
                    <a:pos x="126" y="345"/>
                  </a:cxn>
                  <a:cxn ang="0">
                    <a:pos x="102" y="354"/>
                  </a:cxn>
                  <a:cxn ang="0">
                    <a:pos x="73" y="339"/>
                  </a:cxn>
                  <a:cxn ang="0">
                    <a:pos x="46" y="320"/>
                  </a:cxn>
                  <a:cxn ang="0">
                    <a:pos x="13" y="350"/>
                  </a:cxn>
                  <a:cxn ang="0">
                    <a:pos x="9" y="320"/>
                  </a:cxn>
                  <a:cxn ang="0">
                    <a:pos x="9" y="275"/>
                  </a:cxn>
                  <a:cxn ang="0">
                    <a:pos x="7" y="249"/>
                  </a:cxn>
                  <a:cxn ang="0">
                    <a:pos x="37" y="227"/>
                  </a:cxn>
                  <a:cxn ang="0">
                    <a:pos x="54" y="194"/>
                  </a:cxn>
                  <a:cxn ang="0">
                    <a:pos x="70" y="158"/>
                  </a:cxn>
                  <a:cxn ang="0">
                    <a:pos x="96" y="134"/>
                  </a:cxn>
                  <a:cxn ang="0">
                    <a:pos x="136" y="153"/>
                  </a:cxn>
                  <a:cxn ang="0">
                    <a:pos x="154" y="176"/>
                  </a:cxn>
                </a:cxnLst>
                <a:rect l="0" t="0" r="r" b="b"/>
                <a:pathLst>
                  <a:path w="679" h="436">
                    <a:moveTo>
                      <a:pt x="166" y="173"/>
                    </a:moveTo>
                    <a:cubicBezTo>
                      <a:pt x="194" y="172"/>
                      <a:pt x="147" y="163"/>
                      <a:pt x="175" y="161"/>
                    </a:cubicBezTo>
                    <a:cubicBezTo>
                      <a:pt x="177" y="158"/>
                      <a:pt x="177" y="157"/>
                      <a:pt x="177" y="155"/>
                    </a:cubicBezTo>
                    <a:cubicBezTo>
                      <a:pt x="177" y="153"/>
                      <a:pt x="172" y="147"/>
                      <a:pt x="175" y="146"/>
                    </a:cubicBezTo>
                    <a:cubicBezTo>
                      <a:pt x="181" y="141"/>
                      <a:pt x="186" y="153"/>
                      <a:pt x="193" y="149"/>
                    </a:cubicBezTo>
                    <a:cubicBezTo>
                      <a:pt x="201" y="149"/>
                      <a:pt x="186" y="154"/>
                      <a:pt x="201" y="156"/>
                    </a:cubicBezTo>
                    <a:cubicBezTo>
                      <a:pt x="207" y="156"/>
                      <a:pt x="225" y="153"/>
                      <a:pt x="229" y="150"/>
                    </a:cubicBezTo>
                    <a:cubicBezTo>
                      <a:pt x="233" y="147"/>
                      <a:pt x="222" y="140"/>
                      <a:pt x="225" y="138"/>
                    </a:cubicBezTo>
                    <a:cubicBezTo>
                      <a:pt x="228" y="136"/>
                      <a:pt x="241" y="140"/>
                      <a:pt x="244" y="138"/>
                    </a:cubicBezTo>
                    <a:cubicBezTo>
                      <a:pt x="247" y="136"/>
                      <a:pt x="239" y="129"/>
                      <a:pt x="241" y="126"/>
                    </a:cubicBezTo>
                    <a:cubicBezTo>
                      <a:pt x="242" y="120"/>
                      <a:pt x="249" y="127"/>
                      <a:pt x="253" y="122"/>
                    </a:cubicBezTo>
                    <a:cubicBezTo>
                      <a:pt x="258" y="121"/>
                      <a:pt x="243" y="110"/>
                      <a:pt x="252" y="108"/>
                    </a:cubicBezTo>
                    <a:cubicBezTo>
                      <a:pt x="253" y="104"/>
                      <a:pt x="260" y="100"/>
                      <a:pt x="262" y="96"/>
                    </a:cubicBezTo>
                    <a:cubicBezTo>
                      <a:pt x="264" y="92"/>
                      <a:pt x="264" y="92"/>
                      <a:pt x="264" y="83"/>
                    </a:cubicBezTo>
                    <a:cubicBezTo>
                      <a:pt x="264" y="74"/>
                      <a:pt x="263" y="50"/>
                      <a:pt x="261" y="42"/>
                    </a:cubicBezTo>
                    <a:cubicBezTo>
                      <a:pt x="264" y="36"/>
                      <a:pt x="251" y="36"/>
                      <a:pt x="250" y="33"/>
                    </a:cubicBezTo>
                    <a:cubicBezTo>
                      <a:pt x="249" y="30"/>
                      <a:pt x="251" y="28"/>
                      <a:pt x="252" y="24"/>
                    </a:cubicBezTo>
                    <a:cubicBezTo>
                      <a:pt x="255" y="23"/>
                      <a:pt x="255" y="11"/>
                      <a:pt x="259" y="8"/>
                    </a:cubicBezTo>
                    <a:cubicBezTo>
                      <a:pt x="263" y="5"/>
                      <a:pt x="272" y="8"/>
                      <a:pt x="277" y="9"/>
                    </a:cubicBezTo>
                    <a:cubicBezTo>
                      <a:pt x="282" y="10"/>
                      <a:pt x="287" y="12"/>
                      <a:pt x="289" y="15"/>
                    </a:cubicBezTo>
                    <a:cubicBezTo>
                      <a:pt x="291" y="18"/>
                      <a:pt x="286" y="28"/>
                      <a:pt x="289" y="30"/>
                    </a:cubicBezTo>
                    <a:cubicBezTo>
                      <a:pt x="292" y="32"/>
                      <a:pt x="302" y="29"/>
                      <a:pt x="306" y="26"/>
                    </a:cubicBezTo>
                    <a:cubicBezTo>
                      <a:pt x="310" y="23"/>
                      <a:pt x="310" y="18"/>
                      <a:pt x="312" y="14"/>
                    </a:cubicBezTo>
                    <a:cubicBezTo>
                      <a:pt x="314" y="10"/>
                      <a:pt x="314" y="4"/>
                      <a:pt x="316" y="2"/>
                    </a:cubicBezTo>
                    <a:cubicBezTo>
                      <a:pt x="318" y="0"/>
                      <a:pt x="323" y="1"/>
                      <a:pt x="325" y="2"/>
                    </a:cubicBezTo>
                    <a:cubicBezTo>
                      <a:pt x="327" y="3"/>
                      <a:pt x="328" y="7"/>
                      <a:pt x="331" y="8"/>
                    </a:cubicBezTo>
                    <a:cubicBezTo>
                      <a:pt x="334" y="9"/>
                      <a:pt x="342" y="8"/>
                      <a:pt x="345" y="9"/>
                    </a:cubicBezTo>
                    <a:cubicBezTo>
                      <a:pt x="348" y="10"/>
                      <a:pt x="346" y="13"/>
                      <a:pt x="349" y="17"/>
                    </a:cubicBezTo>
                    <a:cubicBezTo>
                      <a:pt x="352" y="21"/>
                      <a:pt x="363" y="30"/>
                      <a:pt x="364" y="32"/>
                    </a:cubicBezTo>
                    <a:cubicBezTo>
                      <a:pt x="365" y="34"/>
                      <a:pt x="358" y="28"/>
                      <a:pt x="358" y="30"/>
                    </a:cubicBezTo>
                    <a:cubicBezTo>
                      <a:pt x="358" y="32"/>
                      <a:pt x="362" y="41"/>
                      <a:pt x="364" y="45"/>
                    </a:cubicBezTo>
                    <a:cubicBezTo>
                      <a:pt x="366" y="49"/>
                      <a:pt x="371" y="49"/>
                      <a:pt x="373" y="53"/>
                    </a:cubicBezTo>
                    <a:cubicBezTo>
                      <a:pt x="378" y="55"/>
                      <a:pt x="367" y="61"/>
                      <a:pt x="378" y="68"/>
                    </a:cubicBezTo>
                    <a:cubicBezTo>
                      <a:pt x="381" y="71"/>
                      <a:pt x="390" y="70"/>
                      <a:pt x="393" y="69"/>
                    </a:cubicBezTo>
                    <a:cubicBezTo>
                      <a:pt x="396" y="68"/>
                      <a:pt x="394" y="62"/>
                      <a:pt x="396" y="60"/>
                    </a:cubicBezTo>
                    <a:cubicBezTo>
                      <a:pt x="398" y="58"/>
                      <a:pt x="404" y="61"/>
                      <a:pt x="406" y="59"/>
                    </a:cubicBezTo>
                    <a:cubicBezTo>
                      <a:pt x="411" y="61"/>
                      <a:pt x="403" y="52"/>
                      <a:pt x="409" y="50"/>
                    </a:cubicBezTo>
                    <a:cubicBezTo>
                      <a:pt x="415" y="48"/>
                      <a:pt x="435" y="44"/>
                      <a:pt x="442" y="45"/>
                    </a:cubicBezTo>
                    <a:cubicBezTo>
                      <a:pt x="449" y="46"/>
                      <a:pt x="446" y="58"/>
                      <a:pt x="450" y="59"/>
                    </a:cubicBezTo>
                    <a:cubicBezTo>
                      <a:pt x="454" y="60"/>
                      <a:pt x="464" y="53"/>
                      <a:pt x="468" y="53"/>
                    </a:cubicBezTo>
                    <a:cubicBezTo>
                      <a:pt x="472" y="53"/>
                      <a:pt x="475" y="53"/>
                      <a:pt x="477" y="56"/>
                    </a:cubicBezTo>
                    <a:cubicBezTo>
                      <a:pt x="479" y="59"/>
                      <a:pt x="476" y="72"/>
                      <a:pt x="478" y="74"/>
                    </a:cubicBezTo>
                    <a:cubicBezTo>
                      <a:pt x="480" y="76"/>
                      <a:pt x="485" y="68"/>
                      <a:pt x="487" y="69"/>
                    </a:cubicBezTo>
                    <a:cubicBezTo>
                      <a:pt x="489" y="70"/>
                      <a:pt x="486" y="79"/>
                      <a:pt x="489" y="81"/>
                    </a:cubicBezTo>
                    <a:cubicBezTo>
                      <a:pt x="492" y="83"/>
                      <a:pt x="501" y="78"/>
                      <a:pt x="504" y="80"/>
                    </a:cubicBezTo>
                    <a:cubicBezTo>
                      <a:pt x="504" y="88"/>
                      <a:pt x="497" y="90"/>
                      <a:pt x="504" y="93"/>
                    </a:cubicBezTo>
                    <a:cubicBezTo>
                      <a:pt x="510" y="95"/>
                      <a:pt x="534" y="92"/>
                      <a:pt x="541" y="90"/>
                    </a:cubicBezTo>
                    <a:cubicBezTo>
                      <a:pt x="545" y="91"/>
                      <a:pt x="544" y="79"/>
                      <a:pt x="547" y="81"/>
                    </a:cubicBezTo>
                    <a:cubicBezTo>
                      <a:pt x="556" y="87"/>
                      <a:pt x="555" y="71"/>
                      <a:pt x="558" y="81"/>
                    </a:cubicBezTo>
                    <a:cubicBezTo>
                      <a:pt x="562" y="88"/>
                      <a:pt x="582" y="77"/>
                      <a:pt x="588" y="78"/>
                    </a:cubicBezTo>
                    <a:cubicBezTo>
                      <a:pt x="594" y="79"/>
                      <a:pt x="592" y="85"/>
                      <a:pt x="595" y="87"/>
                    </a:cubicBezTo>
                    <a:cubicBezTo>
                      <a:pt x="598" y="89"/>
                      <a:pt x="603" y="88"/>
                      <a:pt x="606" y="89"/>
                    </a:cubicBezTo>
                    <a:cubicBezTo>
                      <a:pt x="609" y="90"/>
                      <a:pt x="610" y="95"/>
                      <a:pt x="615" y="95"/>
                    </a:cubicBezTo>
                    <a:cubicBezTo>
                      <a:pt x="620" y="95"/>
                      <a:pt x="629" y="90"/>
                      <a:pt x="634" y="89"/>
                    </a:cubicBezTo>
                    <a:cubicBezTo>
                      <a:pt x="639" y="88"/>
                      <a:pt x="645" y="85"/>
                      <a:pt x="646" y="87"/>
                    </a:cubicBezTo>
                    <a:cubicBezTo>
                      <a:pt x="647" y="89"/>
                      <a:pt x="641" y="98"/>
                      <a:pt x="642" y="101"/>
                    </a:cubicBezTo>
                    <a:cubicBezTo>
                      <a:pt x="643" y="104"/>
                      <a:pt x="651" y="104"/>
                      <a:pt x="654" y="108"/>
                    </a:cubicBezTo>
                    <a:cubicBezTo>
                      <a:pt x="657" y="112"/>
                      <a:pt x="655" y="118"/>
                      <a:pt x="658" y="122"/>
                    </a:cubicBezTo>
                    <a:cubicBezTo>
                      <a:pt x="661" y="126"/>
                      <a:pt x="668" y="122"/>
                      <a:pt x="669" y="134"/>
                    </a:cubicBezTo>
                    <a:cubicBezTo>
                      <a:pt x="670" y="146"/>
                      <a:pt x="663" y="183"/>
                      <a:pt x="664" y="195"/>
                    </a:cubicBezTo>
                    <a:cubicBezTo>
                      <a:pt x="665" y="207"/>
                      <a:pt x="671" y="204"/>
                      <a:pt x="673" y="209"/>
                    </a:cubicBezTo>
                    <a:cubicBezTo>
                      <a:pt x="675" y="214"/>
                      <a:pt x="679" y="219"/>
                      <a:pt x="679" y="224"/>
                    </a:cubicBezTo>
                    <a:cubicBezTo>
                      <a:pt x="679" y="229"/>
                      <a:pt x="675" y="234"/>
                      <a:pt x="673" y="239"/>
                    </a:cubicBezTo>
                    <a:cubicBezTo>
                      <a:pt x="671" y="244"/>
                      <a:pt x="670" y="251"/>
                      <a:pt x="667" y="255"/>
                    </a:cubicBezTo>
                    <a:cubicBezTo>
                      <a:pt x="664" y="259"/>
                      <a:pt x="657" y="260"/>
                      <a:pt x="652" y="264"/>
                    </a:cubicBezTo>
                    <a:cubicBezTo>
                      <a:pt x="647" y="268"/>
                      <a:pt x="643" y="277"/>
                      <a:pt x="640" y="279"/>
                    </a:cubicBezTo>
                    <a:cubicBezTo>
                      <a:pt x="637" y="281"/>
                      <a:pt x="636" y="274"/>
                      <a:pt x="633" y="275"/>
                    </a:cubicBezTo>
                    <a:cubicBezTo>
                      <a:pt x="630" y="276"/>
                      <a:pt x="623" y="284"/>
                      <a:pt x="619" y="287"/>
                    </a:cubicBezTo>
                    <a:cubicBezTo>
                      <a:pt x="615" y="290"/>
                      <a:pt x="610" y="287"/>
                      <a:pt x="607" y="290"/>
                    </a:cubicBezTo>
                    <a:cubicBezTo>
                      <a:pt x="604" y="293"/>
                      <a:pt x="616" y="300"/>
                      <a:pt x="603" y="303"/>
                    </a:cubicBezTo>
                    <a:cubicBezTo>
                      <a:pt x="600" y="307"/>
                      <a:pt x="592" y="309"/>
                      <a:pt x="588" y="314"/>
                    </a:cubicBezTo>
                    <a:cubicBezTo>
                      <a:pt x="581" y="326"/>
                      <a:pt x="589" y="332"/>
                      <a:pt x="576" y="333"/>
                    </a:cubicBezTo>
                    <a:cubicBezTo>
                      <a:pt x="567" y="336"/>
                      <a:pt x="583" y="352"/>
                      <a:pt x="559" y="351"/>
                    </a:cubicBezTo>
                    <a:cubicBezTo>
                      <a:pt x="555" y="356"/>
                      <a:pt x="553" y="361"/>
                      <a:pt x="549" y="362"/>
                    </a:cubicBezTo>
                    <a:cubicBezTo>
                      <a:pt x="545" y="363"/>
                      <a:pt x="537" y="361"/>
                      <a:pt x="532" y="359"/>
                    </a:cubicBezTo>
                    <a:cubicBezTo>
                      <a:pt x="527" y="357"/>
                      <a:pt x="524" y="353"/>
                      <a:pt x="519" y="350"/>
                    </a:cubicBezTo>
                    <a:cubicBezTo>
                      <a:pt x="514" y="347"/>
                      <a:pt x="507" y="343"/>
                      <a:pt x="501" y="342"/>
                    </a:cubicBezTo>
                    <a:cubicBezTo>
                      <a:pt x="495" y="341"/>
                      <a:pt x="489" y="343"/>
                      <a:pt x="483" y="344"/>
                    </a:cubicBezTo>
                    <a:cubicBezTo>
                      <a:pt x="477" y="345"/>
                      <a:pt x="471" y="348"/>
                      <a:pt x="466" y="351"/>
                    </a:cubicBezTo>
                    <a:cubicBezTo>
                      <a:pt x="461" y="354"/>
                      <a:pt x="456" y="352"/>
                      <a:pt x="451" y="362"/>
                    </a:cubicBezTo>
                    <a:cubicBezTo>
                      <a:pt x="446" y="372"/>
                      <a:pt x="441" y="402"/>
                      <a:pt x="436" y="411"/>
                    </a:cubicBezTo>
                    <a:cubicBezTo>
                      <a:pt x="431" y="420"/>
                      <a:pt x="425" y="417"/>
                      <a:pt x="420" y="419"/>
                    </a:cubicBezTo>
                    <a:cubicBezTo>
                      <a:pt x="415" y="419"/>
                      <a:pt x="416" y="435"/>
                      <a:pt x="405" y="425"/>
                    </a:cubicBezTo>
                    <a:cubicBezTo>
                      <a:pt x="400" y="424"/>
                      <a:pt x="395" y="416"/>
                      <a:pt x="388" y="414"/>
                    </a:cubicBezTo>
                    <a:cubicBezTo>
                      <a:pt x="381" y="412"/>
                      <a:pt x="371" y="413"/>
                      <a:pt x="364" y="414"/>
                    </a:cubicBezTo>
                    <a:cubicBezTo>
                      <a:pt x="357" y="415"/>
                      <a:pt x="355" y="420"/>
                      <a:pt x="349" y="422"/>
                    </a:cubicBezTo>
                    <a:cubicBezTo>
                      <a:pt x="343" y="424"/>
                      <a:pt x="334" y="426"/>
                      <a:pt x="327" y="426"/>
                    </a:cubicBezTo>
                    <a:cubicBezTo>
                      <a:pt x="320" y="436"/>
                      <a:pt x="317" y="418"/>
                      <a:pt x="307" y="422"/>
                    </a:cubicBezTo>
                    <a:cubicBezTo>
                      <a:pt x="301" y="419"/>
                      <a:pt x="300" y="426"/>
                      <a:pt x="291" y="416"/>
                    </a:cubicBezTo>
                    <a:cubicBezTo>
                      <a:pt x="286" y="412"/>
                      <a:pt x="279" y="405"/>
                      <a:pt x="277" y="399"/>
                    </a:cubicBezTo>
                    <a:cubicBezTo>
                      <a:pt x="275" y="393"/>
                      <a:pt x="282" y="387"/>
                      <a:pt x="280" y="381"/>
                    </a:cubicBezTo>
                    <a:cubicBezTo>
                      <a:pt x="278" y="375"/>
                      <a:pt x="272" y="367"/>
                      <a:pt x="267" y="363"/>
                    </a:cubicBezTo>
                    <a:cubicBezTo>
                      <a:pt x="262" y="359"/>
                      <a:pt x="255" y="358"/>
                      <a:pt x="250" y="359"/>
                    </a:cubicBezTo>
                    <a:cubicBezTo>
                      <a:pt x="231" y="352"/>
                      <a:pt x="242" y="373"/>
                      <a:pt x="235" y="366"/>
                    </a:cubicBezTo>
                    <a:cubicBezTo>
                      <a:pt x="230" y="368"/>
                      <a:pt x="224" y="373"/>
                      <a:pt x="220" y="374"/>
                    </a:cubicBezTo>
                    <a:cubicBezTo>
                      <a:pt x="216" y="375"/>
                      <a:pt x="213" y="374"/>
                      <a:pt x="210" y="374"/>
                    </a:cubicBezTo>
                    <a:cubicBezTo>
                      <a:pt x="207" y="374"/>
                      <a:pt x="203" y="372"/>
                      <a:pt x="199" y="375"/>
                    </a:cubicBezTo>
                    <a:cubicBezTo>
                      <a:pt x="195" y="378"/>
                      <a:pt x="191" y="387"/>
                      <a:pt x="186" y="389"/>
                    </a:cubicBezTo>
                    <a:cubicBezTo>
                      <a:pt x="181" y="391"/>
                      <a:pt x="174" y="388"/>
                      <a:pt x="169" y="386"/>
                    </a:cubicBezTo>
                    <a:cubicBezTo>
                      <a:pt x="164" y="384"/>
                      <a:pt x="161" y="378"/>
                      <a:pt x="157" y="375"/>
                    </a:cubicBezTo>
                    <a:cubicBezTo>
                      <a:pt x="153" y="372"/>
                      <a:pt x="148" y="372"/>
                      <a:pt x="145" y="368"/>
                    </a:cubicBezTo>
                    <a:cubicBezTo>
                      <a:pt x="142" y="364"/>
                      <a:pt x="141" y="358"/>
                      <a:pt x="141" y="354"/>
                    </a:cubicBezTo>
                    <a:cubicBezTo>
                      <a:pt x="141" y="350"/>
                      <a:pt x="143" y="346"/>
                      <a:pt x="142" y="344"/>
                    </a:cubicBezTo>
                    <a:cubicBezTo>
                      <a:pt x="141" y="342"/>
                      <a:pt x="136" y="341"/>
                      <a:pt x="133" y="341"/>
                    </a:cubicBezTo>
                    <a:cubicBezTo>
                      <a:pt x="130" y="341"/>
                      <a:pt x="129" y="344"/>
                      <a:pt x="126" y="345"/>
                    </a:cubicBezTo>
                    <a:cubicBezTo>
                      <a:pt x="123" y="346"/>
                      <a:pt x="119" y="347"/>
                      <a:pt x="117" y="348"/>
                    </a:cubicBezTo>
                    <a:cubicBezTo>
                      <a:pt x="115" y="349"/>
                      <a:pt x="116" y="349"/>
                      <a:pt x="114" y="350"/>
                    </a:cubicBezTo>
                    <a:cubicBezTo>
                      <a:pt x="113" y="346"/>
                      <a:pt x="105" y="355"/>
                      <a:pt x="102" y="354"/>
                    </a:cubicBezTo>
                    <a:cubicBezTo>
                      <a:pt x="99" y="353"/>
                      <a:pt x="101" y="347"/>
                      <a:pt x="99" y="345"/>
                    </a:cubicBezTo>
                    <a:cubicBezTo>
                      <a:pt x="97" y="343"/>
                      <a:pt x="91" y="340"/>
                      <a:pt x="87" y="339"/>
                    </a:cubicBezTo>
                    <a:cubicBezTo>
                      <a:pt x="83" y="338"/>
                      <a:pt x="78" y="338"/>
                      <a:pt x="73" y="339"/>
                    </a:cubicBezTo>
                    <a:cubicBezTo>
                      <a:pt x="74" y="336"/>
                      <a:pt x="57" y="350"/>
                      <a:pt x="57" y="342"/>
                    </a:cubicBezTo>
                    <a:cubicBezTo>
                      <a:pt x="53" y="340"/>
                      <a:pt x="51" y="332"/>
                      <a:pt x="49" y="329"/>
                    </a:cubicBezTo>
                    <a:cubicBezTo>
                      <a:pt x="47" y="326"/>
                      <a:pt x="48" y="320"/>
                      <a:pt x="46" y="320"/>
                    </a:cubicBezTo>
                    <a:cubicBezTo>
                      <a:pt x="49" y="315"/>
                      <a:pt x="36" y="338"/>
                      <a:pt x="36" y="332"/>
                    </a:cubicBezTo>
                    <a:cubicBezTo>
                      <a:pt x="33" y="336"/>
                      <a:pt x="31" y="342"/>
                      <a:pt x="27" y="345"/>
                    </a:cubicBezTo>
                    <a:cubicBezTo>
                      <a:pt x="23" y="348"/>
                      <a:pt x="17" y="350"/>
                      <a:pt x="13" y="350"/>
                    </a:cubicBezTo>
                    <a:cubicBezTo>
                      <a:pt x="9" y="350"/>
                      <a:pt x="2" y="348"/>
                      <a:pt x="1" y="345"/>
                    </a:cubicBezTo>
                    <a:cubicBezTo>
                      <a:pt x="0" y="342"/>
                      <a:pt x="5" y="336"/>
                      <a:pt x="6" y="332"/>
                    </a:cubicBezTo>
                    <a:cubicBezTo>
                      <a:pt x="7" y="328"/>
                      <a:pt x="9" y="325"/>
                      <a:pt x="9" y="320"/>
                    </a:cubicBezTo>
                    <a:cubicBezTo>
                      <a:pt x="9" y="315"/>
                      <a:pt x="5" y="306"/>
                      <a:pt x="4" y="300"/>
                    </a:cubicBezTo>
                    <a:cubicBezTo>
                      <a:pt x="3" y="294"/>
                      <a:pt x="3" y="285"/>
                      <a:pt x="4" y="281"/>
                    </a:cubicBezTo>
                    <a:cubicBezTo>
                      <a:pt x="5" y="277"/>
                      <a:pt x="6" y="276"/>
                      <a:pt x="9" y="275"/>
                    </a:cubicBezTo>
                    <a:cubicBezTo>
                      <a:pt x="12" y="274"/>
                      <a:pt x="21" y="278"/>
                      <a:pt x="21" y="276"/>
                    </a:cubicBezTo>
                    <a:cubicBezTo>
                      <a:pt x="21" y="274"/>
                      <a:pt x="12" y="265"/>
                      <a:pt x="10" y="261"/>
                    </a:cubicBezTo>
                    <a:cubicBezTo>
                      <a:pt x="8" y="257"/>
                      <a:pt x="6" y="252"/>
                      <a:pt x="7" y="249"/>
                    </a:cubicBezTo>
                    <a:cubicBezTo>
                      <a:pt x="8" y="246"/>
                      <a:pt x="15" y="241"/>
                      <a:pt x="19" y="240"/>
                    </a:cubicBezTo>
                    <a:cubicBezTo>
                      <a:pt x="27" y="239"/>
                      <a:pt x="28" y="242"/>
                      <a:pt x="31" y="240"/>
                    </a:cubicBezTo>
                    <a:cubicBezTo>
                      <a:pt x="34" y="238"/>
                      <a:pt x="35" y="231"/>
                      <a:pt x="37" y="227"/>
                    </a:cubicBezTo>
                    <a:cubicBezTo>
                      <a:pt x="39" y="223"/>
                      <a:pt x="40" y="218"/>
                      <a:pt x="42" y="215"/>
                    </a:cubicBezTo>
                    <a:cubicBezTo>
                      <a:pt x="44" y="212"/>
                      <a:pt x="50" y="209"/>
                      <a:pt x="52" y="206"/>
                    </a:cubicBezTo>
                    <a:cubicBezTo>
                      <a:pt x="54" y="203"/>
                      <a:pt x="53" y="198"/>
                      <a:pt x="54" y="194"/>
                    </a:cubicBezTo>
                    <a:cubicBezTo>
                      <a:pt x="55" y="190"/>
                      <a:pt x="55" y="186"/>
                      <a:pt x="57" y="182"/>
                    </a:cubicBezTo>
                    <a:cubicBezTo>
                      <a:pt x="59" y="181"/>
                      <a:pt x="59" y="164"/>
                      <a:pt x="66" y="170"/>
                    </a:cubicBezTo>
                    <a:cubicBezTo>
                      <a:pt x="68" y="166"/>
                      <a:pt x="68" y="162"/>
                      <a:pt x="70" y="158"/>
                    </a:cubicBezTo>
                    <a:cubicBezTo>
                      <a:pt x="72" y="154"/>
                      <a:pt x="73" y="148"/>
                      <a:pt x="76" y="146"/>
                    </a:cubicBezTo>
                    <a:cubicBezTo>
                      <a:pt x="79" y="144"/>
                      <a:pt x="84" y="145"/>
                      <a:pt x="87" y="143"/>
                    </a:cubicBezTo>
                    <a:cubicBezTo>
                      <a:pt x="90" y="141"/>
                      <a:pt x="92" y="136"/>
                      <a:pt x="96" y="134"/>
                    </a:cubicBezTo>
                    <a:cubicBezTo>
                      <a:pt x="100" y="132"/>
                      <a:pt x="109" y="129"/>
                      <a:pt x="114" y="131"/>
                    </a:cubicBezTo>
                    <a:cubicBezTo>
                      <a:pt x="119" y="133"/>
                      <a:pt x="120" y="142"/>
                      <a:pt x="124" y="146"/>
                    </a:cubicBezTo>
                    <a:cubicBezTo>
                      <a:pt x="128" y="150"/>
                      <a:pt x="134" y="150"/>
                      <a:pt x="136" y="153"/>
                    </a:cubicBezTo>
                    <a:cubicBezTo>
                      <a:pt x="138" y="156"/>
                      <a:pt x="133" y="165"/>
                      <a:pt x="136" y="167"/>
                    </a:cubicBezTo>
                    <a:cubicBezTo>
                      <a:pt x="139" y="169"/>
                      <a:pt x="148" y="164"/>
                      <a:pt x="151" y="165"/>
                    </a:cubicBezTo>
                    <a:cubicBezTo>
                      <a:pt x="154" y="166"/>
                      <a:pt x="152" y="175"/>
                      <a:pt x="154" y="176"/>
                    </a:cubicBezTo>
                    <a:cubicBezTo>
                      <a:pt x="155" y="172"/>
                      <a:pt x="161" y="163"/>
                      <a:pt x="166" y="173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Freeform 11">
                <a:extLst>
                  <a:ext uri="{FF2B5EF4-FFF2-40B4-BE49-F238E27FC236}">
                    <a16:creationId xmlns:a16="http://schemas.microsoft.com/office/drawing/2014/main" id="{7156FD6F-C4C1-447E-B647-7324AB2BE6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30775" y="2264737"/>
                <a:ext cx="1762854" cy="1996933"/>
              </a:xfrm>
              <a:custGeom>
                <a:avLst/>
                <a:gdLst/>
                <a:ahLst/>
                <a:cxnLst>
                  <a:cxn ang="0">
                    <a:pos x="31" y="112"/>
                  </a:cxn>
                  <a:cxn ang="0">
                    <a:pos x="70" y="110"/>
                  </a:cxn>
                  <a:cxn ang="0">
                    <a:pos x="77" y="86"/>
                  </a:cxn>
                  <a:cxn ang="0">
                    <a:pos x="97" y="68"/>
                  </a:cxn>
                  <a:cxn ang="0">
                    <a:pos x="106" y="56"/>
                  </a:cxn>
                  <a:cxn ang="0">
                    <a:pos x="122" y="44"/>
                  </a:cxn>
                  <a:cxn ang="0">
                    <a:pos x="143" y="38"/>
                  </a:cxn>
                  <a:cxn ang="0">
                    <a:pos x="164" y="16"/>
                  </a:cxn>
                  <a:cxn ang="0">
                    <a:pos x="187" y="7"/>
                  </a:cxn>
                  <a:cxn ang="0">
                    <a:pos x="221" y="10"/>
                  </a:cxn>
                  <a:cxn ang="0">
                    <a:pos x="227" y="40"/>
                  </a:cxn>
                  <a:cxn ang="0">
                    <a:pos x="209" y="56"/>
                  </a:cxn>
                  <a:cxn ang="0">
                    <a:pos x="236" y="59"/>
                  </a:cxn>
                  <a:cxn ang="0">
                    <a:pos x="266" y="71"/>
                  </a:cxn>
                  <a:cxn ang="0">
                    <a:pos x="283" y="86"/>
                  </a:cxn>
                  <a:cxn ang="0">
                    <a:pos x="304" y="101"/>
                  </a:cxn>
                  <a:cxn ang="0">
                    <a:pos x="310" y="119"/>
                  </a:cxn>
                  <a:cxn ang="0">
                    <a:pos x="332" y="127"/>
                  </a:cxn>
                  <a:cxn ang="0">
                    <a:pos x="350" y="145"/>
                  </a:cxn>
                  <a:cxn ang="0">
                    <a:pos x="371" y="164"/>
                  </a:cxn>
                  <a:cxn ang="0">
                    <a:pos x="380" y="197"/>
                  </a:cxn>
                  <a:cxn ang="0">
                    <a:pos x="403" y="212"/>
                  </a:cxn>
                  <a:cxn ang="0">
                    <a:pos x="422" y="226"/>
                  </a:cxn>
                  <a:cxn ang="0">
                    <a:pos x="428" y="244"/>
                  </a:cxn>
                  <a:cxn ang="0">
                    <a:pos x="442" y="253"/>
                  </a:cxn>
                  <a:cxn ang="0">
                    <a:pos x="448" y="287"/>
                  </a:cxn>
                  <a:cxn ang="0">
                    <a:pos x="421" y="328"/>
                  </a:cxn>
                  <a:cxn ang="0">
                    <a:pos x="398" y="362"/>
                  </a:cxn>
                  <a:cxn ang="0">
                    <a:pos x="407" y="401"/>
                  </a:cxn>
                  <a:cxn ang="0">
                    <a:pos x="421" y="439"/>
                  </a:cxn>
                  <a:cxn ang="0">
                    <a:pos x="431" y="463"/>
                  </a:cxn>
                  <a:cxn ang="0">
                    <a:pos x="412" y="484"/>
                  </a:cxn>
                  <a:cxn ang="0">
                    <a:pos x="383" y="484"/>
                  </a:cxn>
                  <a:cxn ang="0">
                    <a:pos x="365" y="469"/>
                  </a:cxn>
                  <a:cxn ang="0">
                    <a:pos x="343" y="439"/>
                  </a:cxn>
                  <a:cxn ang="0">
                    <a:pos x="308" y="437"/>
                  </a:cxn>
                  <a:cxn ang="0">
                    <a:pos x="292" y="445"/>
                  </a:cxn>
                  <a:cxn ang="0">
                    <a:pos x="275" y="478"/>
                  </a:cxn>
                  <a:cxn ang="0">
                    <a:pos x="256" y="485"/>
                  </a:cxn>
                  <a:cxn ang="0">
                    <a:pos x="242" y="496"/>
                  </a:cxn>
                  <a:cxn ang="0">
                    <a:pos x="199" y="521"/>
                  </a:cxn>
                  <a:cxn ang="0">
                    <a:pos x="151" y="509"/>
                  </a:cxn>
                  <a:cxn ang="0">
                    <a:pos x="139" y="487"/>
                  </a:cxn>
                  <a:cxn ang="0">
                    <a:pos x="101" y="458"/>
                  </a:cxn>
                  <a:cxn ang="0">
                    <a:pos x="73" y="443"/>
                  </a:cxn>
                  <a:cxn ang="0">
                    <a:pos x="65" y="409"/>
                  </a:cxn>
                  <a:cxn ang="0">
                    <a:pos x="62" y="373"/>
                  </a:cxn>
                  <a:cxn ang="0">
                    <a:pos x="65" y="350"/>
                  </a:cxn>
                  <a:cxn ang="0">
                    <a:pos x="58" y="314"/>
                  </a:cxn>
                  <a:cxn ang="0">
                    <a:pos x="55" y="265"/>
                  </a:cxn>
                  <a:cxn ang="0">
                    <a:pos x="71" y="245"/>
                  </a:cxn>
                  <a:cxn ang="0">
                    <a:pos x="46" y="229"/>
                  </a:cxn>
                  <a:cxn ang="0">
                    <a:pos x="43" y="196"/>
                  </a:cxn>
                  <a:cxn ang="0">
                    <a:pos x="49" y="184"/>
                  </a:cxn>
                  <a:cxn ang="0">
                    <a:pos x="31" y="181"/>
                  </a:cxn>
                  <a:cxn ang="0">
                    <a:pos x="22" y="170"/>
                  </a:cxn>
                  <a:cxn ang="0">
                    <a:pos x="14" y="148"/>
                  </a:cxn>
                  <a:cxn ang="0">
                    <a:pos x="1" y="125"/>
                  </a:cxn>
                </a:cxnLst>
                <a:rect l="0" t="0" r="r" b="b"/>
                <a:pathLst>
                  <a:path w="456" h="523">
                    <a:moveTo>
                      <a:pt x="16" y="112"/>
                    </a:moveTo>
                    <a:cubicBezTo>
                      <a:pt x="22" y="111"/>
                      <a:pt x="15" y="110"/>
                      <a:pt x="31" y="112"/>
                    </a:cubicBezTo>
                    <a:cubicBezTo>
                      <a:pt x="37" y="112"/>
                      <a:pt x="47" y="113"/>
                      <a:pt x="53" y="113"/>
                    </a:cubicBezTo>
                    <a:cubicBezTo>
                      <a:pt x="59" y="113"/>
                      <a:pt x="67" y="113"/>
                      <a:pt x="70" y="110"/>
                    </a:cubicBezTo>
                    <a:cubicBezTo>
                      <a:pt x="73" y="107"/>
                      <a:pt x="69" y="99"/>
                      <a:pt x="70" y="95"/>
                    </a:cubicBezTo>
                    <a:cubicBezTo>
                      <a:pt x="71" y="91"/>
                      <a:pt x="75" y="89"/>
                      <a:pt x="77" y="86"/>
                    </a:cubicBezTo>
                    <a:cubicBezTo>
                      <a:pt x="79" y="83"/>
                      <a:pt x="80" y="77"/>
                      <a:pt x="83" y="74"/>
                    </a:cubicBezTo>
                    <a:cubicBezTo>
                      <a:pt x="86" y="71"/>
                      <a:pt x="95" y="71"/>
                      <a:pt x="97" y="68"/>
                    </a:cubicBezTo>
                    <a:cubicBezTo>
                      <a:pt x="99" y="65"/>
                      <a:pt x="93" y="55"/>
                      <a:pt x="94" y="53"/>
                    </a:cubicBezTo>
                    <a:cubicBezTo>
                      <a:pt x="95" y="51"/>
                      <a:pt x="103" y="58"/>
                      <a:pt x="106" y="56"/>
                    </a:cubicBezTo>
                    <a:cubicBezTo>
                      <a:pt x="109" y="60"/>
                      <a:pt x="106" y="46"/>
                      <a:pt x="110" y="44"/>
                    </a:cubicBezTo>
                    <a:cubicBezTo>
                      <a:pt x="113" y="42"/>
                      <a:pt x="118" y="45"/>
                      <a:pt x="122" y="44"/>
                    </a:cubicBezTo>
                    <a:cubicBezTo>
                      <a:pt x="126" y="43"/>
                      <a:pt x="133" y="36"/>
                      <a:pt x="136" y="35"/>
                    </a:cubicBezTo>
                    <a:cubicBezTo>
                      <a:pt x="139" y="34"/>
                      <a:pt x="140" y="39"/>
                      <a:pt x="143" y="38"/>
                    </a:cubicBezTo>
                    <a:cubicBezTo>
                      <a:pt x="146" y="41"/>
                      <a:pt x="151" y="20"/>
                      <a:pt x="155" y="31"/>
                    </a:cubicBezTo>
                    <a:cubicBezTo>
                      <a:pt x="158" y="27"/>
                      <a:pt x="161" y="19"/>
                      <a:pt x="164" y="16"/>
                    </a:cubicBezTo>
                    <a:cubicBezTo>
                      <a:pt x="167" y="13"/>
                      <a:pt x="172" y="12"/>
                      <a:pt x="176" y="11"/>
                    </a:cubicBezTo>
                    <a:cubicBezTo>
                      <a:pt x="180" y="10"/>
                      <a:pt x="183" y="9"/>
                      <a:pt x="187" y="7"/>
                    </a:cubicBezTo>
                    <a:cubicBezTo>
                      <a:pt x="191" y="5"/>
                      <a:pt x="196" y="0"/>
                      <a:pt x="202" y="1"/>
                    </a:cubicBezTo>
                    <a:cubicBezTo>
                      <a:pt x="208" y="2"/>
                      <a:pt x="217" y="7"/>
                      <a:pt x="221" y="10"/>
                    </a:cubicBezTo>
                    <a:cubicBezTo>
                      <a:pt x="225" y="13"/>
                      <a:pt x="226" y="17"/>
                      <a:pt x="227" y="22"/>
                    </a:cubicBezTo>
                    <a:cubicBezTo>
                      <a:pt x="225" y="28"/>
                      <a:pt x="237" y="26"/>
                      <a:pt x="227" y="40"/>
                    </a:cubicBezTo>
                    <a:cubicBezTo>
                      <a:pt x="225" y="45"/>
                      <a:pt x="215" y="49"/>
                      <a:pt x="212" y="52"/>
                    </a:cubicBezTo>
                    <a:cubicBezTo>
                      <a:pt x="209" y="55"/>
                      <a:pt x="208" y="55"/>
                      <a:pt x="209" y="56"/>
                    </a:cubicBezTo>
                    <a:cubicBezTo>
                      <a:pt x="210" y="57"/>
                      <a:pt x="214" y="59"/>
                      <a:pt x="218" y="59"/>
                    </a:cubicBezTo>
                    <a:cubicBezTo>
                      <a:pt x="222" y="59"/>
                      <a:pt x="230" y="58"/>
                      <a:pt x="236" y="59"/>
                    </a:cubicBezTo>
                    <a:cubicBezTo>
                      <a:pt x="240" y="62"/>
                      <a:pt x="254" y="55"/>
                      <a:pt x="254" y="67"/>
                    </a:cubicBezTo>
                    <a:cubicBezTo>
                      <a:pt x="259" y="69"/>
                      <a:pt x="263" y="70"/>
                      <a:pt x="266" y="71"/>
                    </a:cubicBezTo>
                    <a:cubicBezTo>
                      <a:pt x="269" y="72"/>
                      <a:pt x="271" y="72"/>
                      <a:pt x="274" y="74"/>
                    </a:cubicBezTo>
                    <a:cubicBezTo>
                      <a:pt x="277" y="76"/>
                      <a:pt x="279" y="83"/>
                      <a:pt x="283" y="86"/>
                    </a:cubicBezTo>
                    <a:cubicBezTo>
                      <a:pt x="287" y="89"/>
                      <a:pt x="292" y="90"/>
                      <a:pt x="295" y="92"/>
                    </a:cubicBezTo>
                    <a:cubicBezTo>
                      <a:pt x="298" y="94"/>
                      <a:pt x="303" y="98"/>
                      <a:pt x="304" y="101"/>
                    </a:cubicBezTo>
                    <a:cubicBezTo>
                      <a:pt x="305" y="104"/>
                      <a:pt x="297" y="109"/>
                      <a:pt x="298" y="112"/>
                    </a:cubicBezTo>
                    <a:cubicBezTo>
                      <a:pt x="295" y="116"/>
                      <a:pt x="315" y="112"/>
                      <a:pt x="310" y="119"/>
                    </a:cubicBezTo>
                    <a:cubicBezTo>
                      <a:pt x="313" y="122"/>
                      <a:pt x="312" y="129"/>
                      <a:pt x="316" y="130"/>
                    </a:cubicBezTo>
                    <a:cubicBezTo>
                      <a:pt x="320" y="131"/>
                      <a:pt x="327" y="126"/>
                      <a:pt x="332" y="127"/>
                    </a:cubicBezTo>
                    <a:cubicBezTo>
                      <a:pt x="337" y="128"/>
                      <a:pt x="341" y="130"/>
                      <a:pt x="344" y="133"/>
                    </a:cubicBezTo>
                    <a:cubicBezTo>
                      <a:pt x="347" y="135"/>
                      <a:pt x="350" y="145"/>
                      <a:pt x="350" y="145"/>
                    </a:cubicBezTo>
                    <a:cubicBezTo>
                      <a:pt x="353" y="150"/>
                      <a:pt x="362" y="148"/>
                      <a:pt x="362" y="148"/>
                    </a:cubicBezTo>
                    <a:cubicBezTo>
                      <a:pt x="364" y="151"/>
                      <a:pt x="375" y="154"/>
                      <a:pt x="371" y="164"/>
                    </a:cubicBezTo>
                    <a:cubicBezTo>
                      <a:pt x="375" y="168"/>
                      <a:pt x="388" y="170"/>
                      <a:pt x="389" y="175"/>
                    </a:cubicBezTo>
                    <a:cubicBezTo>
                      <a:pt x="390" y="180"/>
                      <a:pt x="379" y="192"/>
                      <a:pt x="380" y="197"/>
                    </a:cubicBezTo>
                    <a:cubicBezTo>
                      <a:pt x="381" y="202"/>
                      <a:pt x="393" y="201"/>
                      <a:pt x="397" y="203"/>
                    </a:cubicBezTo>
                    <a:cubicBezTo>
                      <a:pt x="401" y="205"/>
                      <a:pt x="402" y="208"/>
                      <a:pt x="403" y="212"/>
                    </a:cubicBezTo>
                    <a:cubicBezTo>
                      <a:pt x="405" y="222"/>
                      <a:pt x="397" y="216"/>
                      <a:pt x="403" y="224"/>
                    </a:cubicBezTo>
                    <a:cubicBezTo>
                      <a:pt x="404" y="231"/>
                      <a:pt x="417" y="222"/>
                      <a:pt x="422" y="226"/>
                    </a:cubicBezTo>
                    <a:cubicBezTo>
                      <a:pt x="425" y="233"/>
                      <a:pt x="418" y="221"/>
                      <a:pt x="431" y="229"/>
                    </a:cubicBezTo>
                    <a:cubicBezTo>
                      <a:pt x="433" y="231"/>
                      <a:pt x="426" y="241"/>
                      <a:pt x="428" y="244"/>
                    </a:cubicBezTo>
                    <a:cubicBezTo>
                      <a:pt x="430" y="247"/>
                      <a:pt x="441" y="243"/>
                      <a:pt x="443" y="244"/>
                    </a:cubicBezTo>
                    <a:cubicBezTo>
                      <a:pt x="444" y="247"/>
                      <a:pt x="442" y="249"/>
                      <a:pt x="442" y="253"/>
                    </a:cubicBezTo>
                    <a:cubicBezTo>
                      <a:pt x="444" y="257"/>
                      <a:pt x="454" y="260"/>
                      <a:pt x="455" y="266"/>
                    </a:cubicBezTo>
                    <a:cubicBezTo>
                      <a:pt x="456" y="272"/>
                      <a:pt x="451" y="280"/>
                      <a:pt x="448" y="287"/>
                    </a:cubicBezTo>
                    <a:cubicBezTo>
                      <a:pt x="445" y="294"/>
                      <a:pt x="441" y="303"/>
                      <a:pt x="437" y="310"/>
                    </a:cubicBezTo>
                    <a:cubicBezTo>
                      <a:pt x="433" y="317"/>
                      <a:pt x="426" y="322"/>
                      <a:pt x="421" y="328"/>
                    </a:cubicBezTo>
                    <a:cubicBezTo>
                      <a:pt x="416" y="334"/>
                      <a:pt x="408" y="340"/>
                      <a:pt x="404" y="346"/>
                    </a:cubicBezTo>
                    <a:cubicBezTo>
                      <a:pt x="400" y="352"/>
                      <a:pt x="397" y="355"/>
                      <a:pt x="398" y="362"/>
                    </a:cubicBezTo>
                    <a:cubicBezTo>
                      <a:pt x="399" y="369"/>
                      <a:pt x="408" y="382"/>
                      <a:pt x="409" y="388"/>
                    </a:cubicBezTo>
                    <a:cubicBezTo>
                      <a:pt x="410" y="394"/>
                      <a:pt x="405" y="396"/>
                      <a:pt x="407" y="401"/>
                    </a:cubicBezTo>
                    <a:cubicBezTo>
                      <a:pt x="409" y="406"/>
                      <a:pt x="419" y="410"/>
                      <a:pt x="421" y="416"/>
                    </a:cubicBezTo>
                    <a:cubicBezTo>
                      <a:pt x="423" y="422"/>
                      <a:pt x="418" y="434"/>
                      <a:pt x="421" y="439"/>
                    </a:cubicBezTo>
                    <a:cubicBezTo>
                      <a:pt x="424" y="444"/>
                      <a:pt x="437" y="444"/>
                      <a:pt x="439" y="448"/>
                    </a:cubicBezTo>
                    <a:cubicBezTo>
                      <a:pt x="441" y="452"/>
                      <a:pt x="434" y="459"/>
                      <a:pt x="431" y="463"/>
                    </a:cubicBezTo>
                    <a:cubicBezTo>
                      <a:pt x="428" y="467"/>
                      <a:pt x="427" y="470"/>
                      <a:pt x="424" y="473"/>
                    </a:cubicBezTo>
                    <a:cubicBezTo>
                      <a:pt x="421" y="476"/>
                      <a:pt x="416" y="482"/>
                      <a:pt x="412" y="484"/>
                    </a:cubicBezTo>
                    <a:cubicBezTo>
                      <a:pt x="408" y="486"/>
                      <a:pt x="405" y="484"/>
                      <a:pt x="400" y="484"/>
                    </a:cubicBezTo>
                    <a:cubicBezTo>
                      <a:pt x="395" y="484"/>
                      <a:pt x="388" y="485"/>
                      <a:pt x="383" y="484"/>
                    </a:cubicBezTo>
                    <a:cubicBezTo>
                      <a:pt x="378" y="483"/>
                      <a:pt x="373" y="482"/>
                      <a:pt x="370" y="479"/>
                    </a:cubicBezTo>
                    <a:cubicBezTo>
                      <a:pt x="367" y="476"/>
                      <a:pt x="367" y="474"/>
                      <a:pt x="365" y="469"/>
                    </a:cubicBezTo>
                    <a:cubicBezTo>
                      <a:pt x="361" y="464"/>
                      <a:pt x="369" y="463"/>
                      <a:pt x="358" y="448"/>
                    </a:cubicBezTo>
                    <a:cubicBezTo>
                      <a:pt x="354" y="443"/>
                      <a:pt x="348" y="441"/>
                      <a:pt x="343" y="439"/>
                    </a:cubicBezTo>
                    <a:cubicBezTo>
                      <a:pt x="338" y="437"/>
                      <a:pt x="332" y="436"/>
                      <a:pt x="326" y="436"/>
                    </a:cubicBezTo>
                    <a:cubicBezTo>
                      <a:pt x="320" y="436"/>
                      <a:pt x="312" y="435"/>
                      <a:pt x="308" y="437"/>
                    </a:cubicBezTo>
                    <a:cubicBezTo>
                      <a:pt x="304" y="439"/>
                      <a:pt x="305" y="447"/>
                      <a:pt x="302" y="448"/>
                    </a:cubicBezTo>
                    <a:cubicBezTo>
                      <a:pt x="299" y="449"/>
                      <a:pt x="295" y="443"/>
                      <a:pt x="292" y="445"/>
                    </a:cubicBezTo>
                    <a:cubicBezTo>
                      <a:pt x="287" y="443"/>
                      <a:pt x="291" y="465"/>
                      <a:pt x="281" y="458"/>
                    </a:cubicBezTo>
                    <a:cubicBezTo>
                      <a:pt x="278" y="463"/>
                      <a:pt x="278" y="474"/>
                      <a:pt x="275" y="478"/>
                    </a:cubicBezTo>
                    <a:cubicBezTo>
                      <a:pt x="272" y="482"/>
                      <a:pt x="266" y="484"/>
                      <a:pt x="263" y="485"/>
                    </a:cubicBezTo>
                    <a:cubicBezTo>
                      <a:pt x="260" y="486"/>
                      <a:pt x="258" y="483"/>
                      <a:pt x="256" y="485"/>
                    </a:cubicBezTo>
                    <a:cubicBezTo>
                      <a:pt x="252" y="481"/>
                      <a:pt x="260" y="512"/>
                      <a:pt x="253" y="500"/>
                    </a:cubicBezTo>
                    <a:cubicBezTo>
                      <a:pt x="251" y="502"/>
                      <a:pt x="248" y="496"/>
                      <a:pt x="242" y="496"/>
                    </a:cubicBezTo>
                    <a:cubicBezTo>
                      <a:pt x="236" y="496"/>
                      <a:pt x="222" y="495"/>
                      <a:pt x="215" y="499"/>
                    </a:cubicBezTo>
                    <a:cubicBezTo>
                      <a:pt x="208" y="503"/>
                      <a:pt x="207" y="517"/>
                      <a:pt x="199" y="521"/>
                    </a:cubicBezTo>
                    <a:cubicBezTo>
                      <a:pt x="194" y="517"/>
                      <a:pt x="172" y="523"/>
                      <a:pt x="164" y="521"/>
                    </a:cubicBezTo>
                    <a:cubicBezTo>
                      <a:pt x="156" y="519"/>
                      <a:pt x="153" y="514"/>
                      <a:pt x="151" y="509"/>
                    </a:cubicBezTo>
                    <a:cubicBezTo>
                      <a:pt x="149" y="504"/>
                      <a:pt x="153" y="492"/>
                      <a:pt x="151" y="488"/>
                    </a:cubicBezTo>
                    <a:cubicBezTo>
                      <a:pt x="149" y="484"/>
                      <a:pt x="142" y="491"/>
                      <a:pt x="139" y="487"/>
                    </a:cubicBezTo>
                    <a:cubicBezTo>
                      <a:pt x="136" y="483"/>
                      <a:pt x="139" y="466"/>
                      <a:pt x="133" y="461"/>
                    </a:cubicBezTo>
                    <a:cubicBezTo>
                      <a:pt x="124" y="443"/>
                      <a:pt x="111" y="475"/>
                      <a:pt x="101" y="458"/>
                    </a:cubicBezTo>
                    <a:cubicBezTo>
                      <a:pt x="94" y="453"/>
                      <a:pt x="89" y="473"/>
                      <a:pt x="85" y="457"/>
                    </a:cubicBezTo>
                    <a:cubicBezTo>
                      <a:pt x="80" y="455"/>
                      <a:pt x="74" y="448"/>
                      <a:pt x="73" y="443"/>
                    </a:cubicBezTo>
                    <a:cubicBezTo>
                      <a:pt x="72" y="438"/>
                      <a:pt x="77" y="433"/>
                      <a:pt x="76" y="427"/>
                    </a:cubicBezTo>
                    <a:cubicBezTo>
                      <a:pt x="75" y="421"/>
                      <a:pt x="67" y="415"/>
                      <a:pt x="65" y="409"/>
                    </a:cubicBezTo>
                    <a:cubicBezTo>
                      <a:pt x="63" y="403"/>
                      <a:pt x="65" y="397"/>
                      <a:pt x="64" y="391"/>
                    </a:cubicBezTo>
                    <a:cubicBezTo>
                      <a:pt x="63" y="385"/>
                      <a:pt x="61" y="378"/>
                      <a:pt x="62" y="373"/>
                    </a:cubicBezTo>
                    <a:cubicBezTo>
                      <a:pt x="63" y="368"/>
                      <a:pt x="68" y="366"/>
                      <a:pt x="68" y="362"/>
                    </a:cubicBezTo>
                    <a:cubicBezTo>
                      <a:pt x="68" y="358"/>
                      <a:pt x="67" y="354"/>
                      <a:pt x="65" y="350"/>
                    </a:cubicBezTo>
                    <a:cubicBezTo>
                      <a:pt x="63" y="346"/>
                      <a:pt x="56" y="343"/>
                      <a:pt x="55" y="337"/>
                    </a:cubicBezTo>
                    <a:cubicBezTo>
                      <a:pt x="54" y="331"/>
                      <a:pt x="57" y="324"/>
                      <a:pt x="58" y="314"/>
                    </a:cubicBezTo>
                    <a:cubicBezTo>
                      <a:pt x="59" y="304"/>
                      <a:pt x="62" y="283"/>
                      <a:pt x="62" y="275"/>
                    </a:cubicBezTo>
                    <a:cubicBezTo>
                      <a:pt x="62" y="267"/>
                      <a:pt x="55" y="268"/>
                      <a:pt x="55" y="265"/>
                    </a:cubicBezTo>
                    <a:cubicBezTo>
                      <a:pt x="55" y="262"/>
                      <a:pt x="61" y="260"/>
                      <a:pt x="64" y="257"/>
                    </a:cubicBezTo>
                    <a:cubicBezTo>
                      <a:pt x="67" y="254"/>
                      <a:pt x="72" y="248"/>
                      <a:pt x="71" y="245"/>
                    </a:cubicBezTo>
                    <a:cubicBezTo>
                      <a:pt x="70" y="242"/>
                      <a:pt x="63" y="239"/>
                      <a:pt x="59" y="236"/>
                    </a:cubicBezTo>
                    <a:cubicBezTo>
                      <a:pt x="55" y="233"/>
                      <a:pt x="49" y="233"/>
                      <a:pt x="46" y="229"/>
                    </a:cubicBezTo>
                    <a:cubicBezTo>
                      <a:pt x="43" y="225"/>
                      <a:pt x="43" y="216"/>
                      <a:pt x="43" y="211"/>
                    </a:cubicBezTo>
                    <a:cubicBezTo>
                      <a:pt x="43" y="206"/>
                      <a:pt x="41" y="198"/>
                      <a:pt x="43" y="196"/>
                    </a:cubicBezTo>
                    <a:cubicBezTo>
                      <a:pt x="45" y="194"/>
                      <a:pt x="55" y="199"/>
                      <a:pt x="56" y="197"/>
                    </a:cubicBezTo>
                    <a:cubicBezTo>
                      <a:pt x="57" y="195"/>
                      <a:pt x="51" y="187"/>
                      <a:pt x="49" y="184"/>
                    </a:cubicBezTo>
                    <a:cubicBezTo>
                      <a:pt x="47" y="181"/>
                      <a:pt x="44" y="176"/>
                      <a:pt x="41" y="176"/>
                    </a:cubicBezTo>
                    <a:cubicBezTo>
                      <a:pt x="38" y="176"/>
                      <a:pt x="34" y="179"/>
                      <a:pt x="31" y="181"/>
                    </a:cubicBezTo>
                    <a:cubicBezTo>
                      <a:pt x="24" y="175"/>
                      <a:pt x="31" y="189"/>
                      <a:pt x="23" y="188"/>
                    </a:cubicBezTo>
                    <a:cubicBezTo>
                      <a:pt x="25" y="186"/>
                      <a:pt x="18" y="175"/>
                      <a:pt x="22" y="170"/>
                    </a:cubicBezTo>
                    <a:cubicBezTo>
                      <a:pt x="20" y="167"/>
                      <a:pt x="9" y="171"/>
                      <a:pt x="8" y="167"/>
                    </a:cubicBezTo>
                    <a:cubicBezTo>
                      <a:pt x="9" y="165"/>
                      <a:pt x="6" y="151"/>
                      <a:pt x="14" y="148"/>
                    </a:cubicBezTo>
                    <a:cubicBezTo>
                      <a:pt x="14" y="143"/>
                      <a:pt x="10" y="140"/>
                      <a:pt x="8" y="136"/>
                    </a:cubicBezTo>
                    <a:cubicBezTo>
                      <a:pt x="6" y="132"/>
                      <a:pt x="0" y="129"/>
                      <a:pt x="1" y="125"/>
                    </a:cubicBezTo>
                    <a:cubicBezTo>
                      <a:pt x="2" y="121"/>
                      <a:pt x="13" y="115"/>
                      <a:pt x="16" y="112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Freeform 12">
                <a:extLst>
                  <a:ext uri="{FF2B5EF4-FFF2-40B4-BE49-F238E27FC236}">
                    <a16:creationId xmlns:a16="http://schemas.microsoft.com/office/drawing/2014/main" id="{83F3ED89-BB05-4B01-9431-78500F80AB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02657" y="3360569"/>
                <a:ext cx="3030871" cy="2550575"/>
              </a:xfrm>
              <a:custGeom>
                <a:avLst/>
                <a:gdLst/>
                <a:ahLst/>
                <a:cxnLst>
                  <a:cxn ang="0">
                    <a:pos x="84" y="120"/>
                  </a:cxn>
                  <a:cxn ang="0">
                    <a:pos x="66" y="66"/>
                  </a:cxn>
                  <a:cxn ang="0">
                    <a:pos x="131" y="12"/>
                  </a:cxn>
                  <a:cxn ang="0">
                    <a:pos x="170" y="63"/>
                  </a:cxn>
                  <a:cxn ang="0">
                    <a:pos x="201" y="62"/>
                  </a:cxn>
                  <a:cxn ang="0">
                    <a:pos x="224" y="15"/>
                  </a:cxn>
                  <a:cxn ang="0">
                    <a:pos x="260" y="36"/>
                  </a:cxn>
                  <a:cxn ang="0">
                    <a:pos x="311" y="45"/>
                  </a:cxn>
                  <a:cxn ang="0">
                    <a:pos x="345" y="51"/>
                  </a:cxn>
                  <a:cxn ang="0">
                    <a:pos x="381" y="12"/>
                  </a:cxn>
                  <a:cxn ang="0">
                    <a:pos x="414" y="12"/>
                  </a:cxn>
                  <a:cxn ang="0">
                    <a:pos x="467" y="32"/>
                  </a:cxn>
                  <a:cxn ang="0">
                    <a:pos x="512" y="54"/>
                  </a:cxn>
                  <a:cxn ang="0">
                    <a:pos x="531" y="92"/>
                  </a:cxn>
                  <a:cxn ang="0">
                    <a:pos x="588" y="98"/>
                  </a:cxn>
                  <a:cxn ang="0">
                    <a:pos x="629" y="111"/>
                  </a:cxn>
                  <a:cxn ang="0">
                    <a:pos x="677" y="117"/>
                  </a:cxn>
                  <a:cxn ang="0">
                    <a:pos x="719" y="87"/>
                  </a:cxn>
                  <a:cxn ang="0">
                    <a:pos x="749" y="110"/>
                  </a:cxn>
                  <a:cxn ang="0">
                    <a:pos x="776" y="125"/>
                  </a:cxn>
                  <a:cxn ang="0">
                    <a:pos x="755" y="171"/>
                  </a:cxn>
                  <a:cxn ang="0">
                    <a:pos x="767" y="206"/>
                  </a:cxn>
                  <a:cxn ang="0">
                    <a:pos x="738" y="239"/>
                  </a:cxn>
                  <a:cxn ang="0">
                    <a:pos x="683" y="287"/>
                  </a:cxn>
                  <a:cxn ang="0">
                    <a:pos x="710" y="336"/>
                  </a:cxn>
                  <a:cxn ang="0">
                    <a:pos x="719" y="416"/>
                  </a:cxn>
                  <a:cxn ang="0">
                    <a:pos x="663" y="458"/>
                  </a:cxn>
                  <a:cxn ang="0">
                    <a:pos x="609" y="464"/>
                  </a:cxn>
                  <a:cxn ang="0">
                    <a:pos x="560" y="470"/>
                  </a:cxn>
                  <a:cxn ang="0">
                    <a:pos x="525" y="476"/>
                  </a:cxn>
                  <a:cxn ang="0">
                    <a:pos x="530" y="524"/>
                  </a:cxn>
                  <a:cxn ang="0">
                    <a:pos x="531" y="573"/>
                  </a:cxn>
                  <a:cxn ang="0">
                    <a:pos x="545" y="665"/>
                  </a:cxn>
                  <a:cxn ang="0">
                    <a:pos x="482" y="633"/>
                  </a:cxn>
                  <a:cxn ang="0">
                    <a:pos x="440" y="578"/>
                  </a:cxn>
                  <a:cxn ang="0">
                    <a:pos x="377" y="566"/>
                  </a:cxn>
                  <a:cxn ang="0">
                    <a:pos x="323" y="524"/>
                  </a:cxn>
                  <a:cxn ang="0">
                    <a:pos x="248" y="555"/>
                  </a:cxn>
                  <a:cxn ang="0">
                    <a:pos x="129" y="530"/>
                  </a:cxn>
                  <a:cxn ang="0">
                    <a:pos x="83" y="542"/>
                  </a:cxn>
                  <a:cxn ang="0">
                    <a:pos x="42" y="473"/>
                  </a:cxn>
                  <a:cxn ang="0">
                    <a:pos x="30" y="441"/>
                  </a:cxn>
                  <a:cxn ang="0">
                    <a:pos x="38" y="383"/>
                  </a:cxn>
                  <a:cxn ang="0">
                    <a:pos x="27" y="303"/>
                  </a:cxn>
                  <a:cxn ang="0">
                    <a:pos x="14" y="275"/>
                  </a:cxn>
                  <a:cxn ang="0">
                    <a:pos x="5" y="228"/>
                  </a:cxn>
                  <a:cxn ang="0">
                    <a:pos x="41" y="191"/>
                  </a:cxn>
                  <a:cxn ang="0">
                    <a:pos x="101" y="176"/>
                  </a:cxn>
                </a:cxnLst>
                <a:rect l="0" t="0" r="r" b="b"/>
                <a:pathLst>
                  <a:path w="784" h="668">
                    <a:moveTo>
                      <a:pt x="111" y="161"/>
                    </a:moveTo>
                    <a:cubicBezTo>
                      <a:pt x="122" y="161"/>
                      <a:pt x="90" y="157"/>
                      <a:pt x="87" y="153"/>
                    </a:cubicBezTo>
                    <a:cubicBezTo>
                      <a:pt x="84" y="149"/>
                      <a:pt x="93" y="142"/>
                      <a:pt x="93" y="137"/>
                    </a:cubicBezTo>
                    <a:cubicBezTo>
                      <a:pt x="93" y="132"/>
                      <a:pt x="85" y="121"/>
                      <a:pt x="84" y="120"/>
                    </a:cubicBezTo>
                    <a:cubicBezTo>
                      <a:pt x="83" y="119"/>
                      <a:pt x="88" y="129"/>
                      <a:pt x="86" y="128"/>
                    </a:cubicBezTo>
                    <a:cubicBezTo>
                      <a:pt x="84" y="127"/>
                      <a:pt x="75" y="118"/>
                      <a:pt x="74" y="113"/>
                    </a:cubicBezTo>
                    <a:cubicBezTo>
                      <a:pt x="73" y="108"/>
                      <a:pt x="79" y="107"/>
                      <a:pt x="78" y="99"/>
                    </a:cubicBezTo>
                    <a:cubicBezTo>
                      <a:pt x="77" y="91"/>
                      <a:pt x="64" y="75"/>
                      <a:pt x="66" y="66"/>
                    </a:cubicBezTo>
                    <a:cubicBezTo>
                      <a:pt x="68" y="57"/>
                      <a:pt x="83" y="51"/>
                      <a:pt x="90" y="44"/>
                    </a:cubicBezTo>
                    <a:cubicBezTo>
                      <a:pt x="97" y="37"/>
                      <a:pt x="103" y="31"/>
                      <a:pt x="107" y="24"/>
                    </a:cubicBezTo>
                    <a:cubicBezTo>
                      <a:pt x="111" y="17"/>
                      <a:pt x="113" y="4"/>
                      <a:pt x="117" y="2"/>
                    </a:cubicBezTo>
                    <a:cubicBezTo>
                      <a:pt x="121" y="0"/>
                      <a:pt x="126" y="8"/>
                      <a:pt x="131" y="12"/>
                    </a:cubicBezTo>
                    <a:cubicBezTo>
                      <a:pt x="136" y="16"/>
                      <a:pt x="146" y="21"/>
                      <a:pt x="149" y="26"/>
                    </a:cubicBezTo>
                    <a:cubicBezTo>
                      <a:pt x="152" y="31"/>
                      <a:pt x="147" y="41"/>
                      <a:pt x="150" y="45"/>
                    </a:cubicBezTo>
                    <a:cubicBezTo>
                      <a:pt x="153" y="49"/>
                      <a:pt x="167" y="48"/>
                      <a:pt x="170" y="51"/>
                    </a:cubicBezTo>
                    <a:cubicBezTo>
                      <a:pt x="173" y="54"/>
                      <a:pt x="168" y="58"/>
                      <a:pt x="170" y="63"/>
                    </a:cubicBezTo>
                    <a:cubicBezTo>
                      <a:pt x="172" y="68"/>
                      <a:pt x="178" y="77"/>
                      <a:pt x="182" y="81"/>
                    </a:cubicBezTo>
                    <a:cubicBezTo>
                      <a:pt x="186" y="85"/>
                      <a:pt x="193" y="89"/>
                      <a:pt x="197" y="89"/>
                    </a:cubicBezTo>
                    <a:cubicBezTo>
                      <a:pt x="201" y="89"/>
                      <a:pt x="206" y="88"/>
                      <a:pt x="207" y="84"/>
                    </a:cubicBezTo>
                    <a:cubicBezTo>
                      <a:pt x="208" y="80"/>
                      <a:pt x="202" y="69"/>
                      <a:pt x="201" y="62"/>
                    </a:cubicBezTo>
                    <a:cubicBezTo>
                      <a:pt x="200" y="55"/>
                      <a:pt x="204" y="49"/>
                      <a:pt x="204" y="44"/>
                    </a:cubicBezTo>
                    <a:cubicBezTo>
                      <a:pt x="204" y="39"/>
                      <a:pt x="200" y="36"/>
                      <a:pt x="201" y="33"/>
                    </a:cubicBezTo>
                    <a:cubicBezTo>
                      <a:pt x="202" y="30"/>
                      <a:pt x="208" y="27"/>
                      <a:pt x="212" y="24"/>
                    </a:cubicBezTo>
                    <a:cubicBezTo>
                      <a:pt x="216" y="21"/>
                      <a:pt x="220" y="16"/>
                      <a:pt x="224" y="15"/>
                    </a:cubicBezTo>
                    <a:cubicBezTo>
                      <a:pt x="228" y="14"/>
                      <a:pt x="232" y="19"/>
                      <a:pt x="236" y="20"/>
                    </a:cubicBezTo>
                    <a:cubicBezTo>
                      <a:pt x="240" y="21"/>
                      <a:pt x="249" y="21"/>
                      <a:pt x="251" y="24"/>
                    </a:cubicBezTo>
                    <a:cubicBezTo>
                      <a:pt x="253" y="27"/>
                      <a:pt x="245" y="39"/>
                      <a:pt x="246" y="41"/>
                    </a:cubicBezTo>
                    <a:cubicBezTo>
                      <a:pt x="247" y="43"/>
                      <a:pt x="257" y="34"/>
                      <a:pt x="260" y="36"/>
                    </a:cubicBezTo>
                    <a:cubicBezTo>
                      <a:pt x="263" y="38"/>
                      <a:pt x="263" y="51"/>
                      <a:pt x="267" y="53"/>
                    </a:cubicBezTo>
                    <a:cubicBezTo>
                      <a:pt x="271" y="55"/>
                      <a:pt x="282" y="49"/>
                      <a:pt x="287" y="50"/>
                    </a:cubicBezTo>
                    <a:cubicBezTo>
                      <a:pt x="292" y="51"/>
                      <a:pt x="293" y="57"/>
                      <a:pt x="297" y="56"/>
                    </a:cubicBezTo>
                    <a:cubicBezTo>
                      <a:pt x="301" y="55"/>
                      <a:pt x="308" y="45"/>
                      <a:pt x="311" y="45"/>
                    </a:cubicBezTo>
                    <a:cubicBezTo>
                      <a:pt x="314" y="45"/>
                      <a:pt x="315" y="58"/>
                      <a:pt x="317" y="57"/>
                    </a:cubicBezTo>
                    <a:cubicBezTo>
                      <a:pt x="319" y="56"/>
                      <a:pt x="322" y="42"/>
                      <a:pt x="326" y="39"/>
                    </a:cubicBezTo>
                    <a:cubicBezTo>
                      <a:pt x="330" y="36"/>
                      <a:pt x="336" y="36"/>
                      <a:pt x="339" y="38"/>
                    </a:cubicBezTo>
                    <a:cubicBezTo>
                      <a:pt x="342" y="40"/>
                      <a:pt x="342" y="51"/>
                      <a:pt x="345" y="51"/>
                    </a:cubicBezTo>
                    <a:cubicBezTo>
                      <a:pt x="348" y="51"/>
                      <a:pt x="353" y="43"/>
                      <a:pt x="356" y="38"/>
                    </a:cubicBezTo>
                    <a:cubicBezTo>
                      <a:pt x="359" y="33"/>
                      <a:pt x="360" y="24"/>
                      <a:pt x="363" y="23"/>
                    </a:cubicBezTo>
                    <a:cubicBezTo>
                      <a:pt x="366" y="22"/>
                      <a:pt x="372" y="31"/>
                      <a:pt x="375" y="29"/>
                    </a:cubicBezTo>
                    <a:cubicBezTo>
                      <a:pt x="378" y="27"/>
                      <a:pt x="377" y="15"/>
                      <a:pt x="381" y="12"/>
                    </a:cubicBezTo>
                    <a:cubicBezTo>
                      <a:pt x="385" y="9"/>
                      <a:pt x="396" y="7"/>
                      <a:pt x="399" y="9"/>
                    </a:cubicBezTo>
                    <a:cubicBezTo>
                      <a:pt x="402" y="11"/>
                      <a:pt x="395" y="22"/>
                      <a:pt x="398" y="23"/>
                    </a:cubicBezTo>
                    <a:cubicBezTo>
                      <a:pt x="401" y="24"/>
                      <a:pt x="417" y="16"/>
                      <a:pt x="420" y="14"/>
                    </a:cubicBezTo>
                    <a:cubicBezTo>
                      <a:pt x="423" y="12"/>
                      <a:pt x="411" y="12"/>
                      <a:pt x="414" y="12"/>
                    </a:cubicBezTo>
                    <a:cubicBezTo>
                      <a:pt x="417" y="12"/>
                      <a:pt x="434" y="13"/>
                      <a:pt x="440" y="15"/>
                    </a:cubicBezTo>
                    <a:cubicBezTo>
                      <a:pt x="446" y="17"/>
                      <a:pt x="451" y="23"/>
                      <a:pt x="453" y="27"/>
                    </a:cubicBezTo>
                    <a:cubicBezTo>
                      <a:pt x="455" y="31"/>
                      <a:pt x="453" y="37"/>
                      <a:pt x="455" y="38"/>
                    </a:cubicBezTo>
                    <a:cubicBezTo>
                      <a:pt x="457" y="39"/>
                      <a:pt x="462" y="33"/>
                      <a:pt x="467" y="32"/>
                    </a:cubicBezTo>
                    <a:cubicBezTo>
                      <a:pt x="472" y="31"/>
                      <a:pt x="482" y="29"/>
                      <a:pt x="485" y="30"/>
                    </a:cubicBezTo>
                    <a:cubicBezTo>
                      <a:pt x="488" y="31"/>
                      <a:pt x="483" y="38"/>
                      <a:pt x="486" y="39"/>
                    </a:cubicBezTo>
                    <a:cubicBezTo>
                      <a:pt x="489" y="40"/>
                      <a:pt x="502" y="36"/>
                      <a:pt x="506" y="39"/>
                    </a:cubicBezTo>
                    <a:cubicBezTo>
                      <a:pt x="510" y="42"/>
                      <a:pt x="511" y="50"/>
                      <a:pt x="512" y="54"/>
                    </a:cubicBezTo>
                    <a:cubicBezTo>
                      <a:pt x="513" y="58"/>
                      <a:pt x="509" y="61"/>
                      <a:pt x="512" y="63"/>
                    </a:cubicBezTo>
                    <a:cubicBezTo>
                      <a:pt x="515" y="65"/>
                      <a:pt x="527" y="63"/>
                      <a:pt x="531" y="65"/>
                    </a:cubicBezTo>
                    <a:cubicBezTo>
                      <a:pt x="535" y="67"/>
                      <a:pt x="537" y="73"/>
                      <a:pt x="537" y="77"/>
                    </a:cubicBezTo>
                    <a:cubicBezTo>
                      <a:pt x="537" y="81"/>
                      <a:pt x="530" y="91"/>
                      <a:pt x="531" y="92"/>
                    </a:cubicBezTo>
                    <a:cubicBezTo>
                      <a:pt x="532" y="93"/>
                      <a:pt x="540" y="87"/>
                      <a:pt x="545" y="86"/>
                    </a:cubicBezTo>
                    <a:cubicBezTo>
                      <a:pt x="550" y="85"/>
                      <a:pt x="559" y="84"/>
                      <a:pt x="561" y="86"/>
                    </a:cubicBezTo>
                    <a:cubicBezTo>
                      <a:pt x="570" y="87"/>
                      <a:pt x="556" y="97"/>
                      <a:pt x="560" y="99"/>
                    </a:cubicBezTo>
                    <a:cubicBezTo>
                      <a:pt x="564" y="101"/>
                      <a:pt x="583" y="96"/>
                      <a:pt x="588" y="98"/>
                    </a:cubicBezTo>
                    <a:cubicBezTo>
                      <a:pt x="593" y="100"/>
                      <a:pt x="588" y="113"/>
                      <a:pt x="591" y="114"/>
                    </a:cubicBezTo>
                    <a:cubicBezTo>
                      <a:pt x="594" y="115"/>
                      <a:pt x="591" y="107"/>
                      <a:pt x="606" y="107"/>
                    </a:cubicBezTo>
                    <a:cubicBezTo>
                      <a:pt x="621" y="107"/>
                      <a:pt x="590" y="118"/>
                      <a:pt x="614" y="120"/>
                    </a:cubicBezTo>
                    <a:cubicBezTo>
                      <a:pt x="618" y="121"/>
                      <a:pt x="625" y="109"/>
                      <a:pt x="629" y="111"/>
                    </a:cubicBezTo>
                    <a:cubicBezTo>
                      <a:pt x="633" y="113"/>
                      <a:pt x="632" y="128"/>
                      <a:pt x="636" y="129"/>
                    </a:cubicBezTo>
                    <a:cubicBezTo>
                      <a:pt x="640" y="130"/>
                      <a:pt x="650" y="119"/>
                      <a:pt x="656" y="119"/>
                    </a:cubicBezTo>
                    <a:cubicBezTo>
                      <a:pt x="662" y="119"/>
                      <a:pt x="668" y="129"/>
                      <a:pt x="671" y="129"/>
                    </a:cubicBezTo>
                    <a:cubicBezTo>
                      <a:pt x="674" y="129"/>
                      <a:pt x="677" y="121"/>
                      <a:pt x="677" y="117"/>
                    </a:cubicBezTo>
                    <a:cubicBezTo>
                      <a:pt x="677" y="113"/>
                      <a:pt x="670" y="106"/>
                      <a:pt x="671" y="102"/>
                    </a:cubicBezTo>
                    <a:cubicBezTo>
                      <a:pt x="672" y="98"/>
                      <a:pt x="679" y="93"/>
                      <a:pt x="683" y="90"/>
                    </a:cubicBezTo>
                    <a:cubicBezTo>
                      <a:pt x="687" y="87"/>
                      <a:pt x="692" y="85"/>
                      <a:pt x="698" y="84"/>
                    </a:cubicBezTo>
                    <a:cubicBezTo>
                      <a:pt x="704" y="83"/>
                      <a:pt x="715" y="85"/>
                      <a:pt x="719" y="87"/>
                    </a:cubicBezTo>
                    <a:cubicBezTo>
                      <a:pt x="723" y="89"/>
                      <a:pt x="720" y="97"/>
                      <a:pt x="723" y="98"/>
                    </a:cubicBezTo>
                    <a:cubicBezTo>
                      <a:pt x="726" y="99"/>
                      <a:pt x="735" y="93"/>
                      <a:pt x="737" y="96"/>
                    </a:cubicBezTo>
                    <a:cubicBezTo>
                      <a:pt x="739" y="99"/>
                      <a:pt x="733" y="112"/>
                      <a:pt x="735" y="114"/>
                    </a:cubicBezTo>
                    <a:cubicBezTo>
                      <a:pt x="737" y="116"/>
                      <a:pt x="747" y="109"/>
                      <a:pt x="749" y="110"/>
                    </a:cubicBezTo>
                    <a:cubicBezTo>
                      <a:pt x="751" y="111"/>
                      <a:pt x="748" y="118"/>
                      <a:pt x="749" y="120"/>
                    </a:cubicBezTo>
                    <a:cubicBezTo>
                      <a:pt x="750" y="122"/>
                      <a:pt x="755" y="120"/>
                      <a:pt x="758" y="120"/>
                    </a:cubicBezTo>
                    <a:cubicBezTo>
                      <a:pt x="761" y="120"/>
                      <a:pt x="765" y="118"/>
                      <a:pt x="768" y="119"/>
                    </a:cubicBezTo>
                    <a:cubicBezTo>
                      <a:pt x="771" y="120"/>
                      <a:pt x="774" y="122"/>
                      <a:pt x="776" y="125"/>
                    </a:cubicBezTo>
                    <a:cubicBezTo>
                      <a:pt x="778" y="128"/>
                      <a:pt x="784" y="134"/>
                      <a:pt x="782" y="138"/>
                    </a:cubicBezTo>
                    <a:cubicBezTo>
                      <a:pt x="780" y="142"/>
                      <a:pt x="766" y="147"/>
                      <a:pt x="764" y="150"/>
                    </a:cubicBezTo>
                    <a:cubicBezTo>
                      <a:pt x="762" y="153"/>
                      <a:pt x="774" y="155"/>
                      <a:pt x="773" y="158"/>
                    </a:cubicBezTo>
                    <a:cubicBezTo>
                      <a:pt x="772" y="161"/>
                      <a:pt x="758" y="167"/>
                      <a:pt x="755" y="171"/>
                    </a:cubicBezTo>
                    <a:cubicBezTo>
                      <a:pt x="752" y="175"/>
                      <a:pt x="753" y="183"/>
                      <a:pt x="755" y="185"/>
                    </a:cubicBezTo>
                    <a:cubicBezTo>
                      <a:pt x="757" y="187"/>
                      <a:pt x="764" y="184"/>
                      <a:pt x="765" y="186"/>
                    </a:cubicBezTo>
                    <a:cubicBezTo>
                      <a:pt x="766" y="188"/>
                      <a:pt x="758" y="194"/>
                      <a:pt x="758" y="197"/>
                    </a:cubicBezTo>
                    <a:cubicBezTo>
                      <a:pt x="758" y="200"/>
                      <a:pt x="766" y="203"/>
                      <a:pt x="767" y="206"/>
                    </a:cubicBezTo>
                    <a:cubicBezTo>
                      <a:pt x="768" y="209"/>
                      <a:pt x="765" y="213"/>
                      <a:pt x="764" y="216"/>
                    </a:cubicBezTo>
                    <a:cubicBezTo>
                      <a:pt x="763" y="219"/>
                      <a:pt x="764" y="223"/>
                      <a:pt x="759" y="225"/>
                    </a:cubicBezTo>
                    <a:cubicBezTo>
                      <a:pt x="754" y="227"/>
                      <a:pt x="736" y="226"/>
                      <a:pt x="732" y="228"/>
                    </a:cubicBezTo>
                    <a:cubicBezTo>
                      <a:pt x="728" y="230"/>
                      <a:pt x="740" y="235"/>
                      <a:pt x="738" y="239"/>
                    </a:cubicBezTo>
                    <a:cubicBezTo>
                      <a:pt x="736" y="243"/>
                      <a:pt x="725" y="251"/>
                      <a:pt x="717" y="255"/>
                    </a:cubicBezTo>
                    <a:cubicBezTo>
                      <a:pt x="709" y="259"/>
                      <a:pt x="693" y="260"/>
                      <a:pt x="690" y="263"/>
                    </a:cubicBezTo>
                    <a:cubicBezTo>
                      <a:pt x="687" y="266"/>
                      <a:pt x="700" y="268"/>
                      <a:pt x="699" y="272"/>
                    </a:cubicBezTo>
                    <a:cubicBezTo>
                      <a:pt x="698" y="276"/>
                      <a:pt x="683" y="284"/>
                      <a:pt x="683" y="287"/>
                    </a:cubicBezTo>
                    <a:cubicBezTo>
                      <a:pt x="683" y="290"/>
                      <a:pt x="697" y="286"/>
                      <a:pt x="699" y="290"/>
                    </a:cubicBezTo>
                    <a:cubicBezTo>
                      <a:pt x="720" y="305"/>
                      <a:pt x="694" y="310"/>
                      <a:pt x="696" y="314"/>
                    </a:cubicBezTo>
                    <a:cubicBezTo>
                      <a:pt x="698" y="318"/>
                      <a:pt x="711" y="308"/>
                      <a:pt x="713" y="312"/>
                    </a:cubicBezTo>
                    <a:cubicBezTo>
                      <a:pt x="733" y="331"/>
                      <a:pt x="709" y="332"/>
                      <a:pt x="710" y="336"/>
                    </a:cubicBezTo>
                    <a:cubicBezTo>
                      <a:pt x="711" y="340"/>
                      <a:pt x="719" y="336"/>
                      <a:pt x="722" y="339"/>
                    </a:cubicBezTo>
                    <a:cubicBezTo>
                      <a:pt x="725" y="342"/>
                      <a:pt x="728" y="344"/>
                      <a:pt x="728" y="354"/>
                    </a:cubicBezTo>
                    <a:lnTo>
                      <a:pt x="725" y="399"/>
                    </a:lnTo>
                    <a:cubicBezTo>
                      <a:pt x="724" y="409"/>
                      <a:pt x="721" y="411"/>
                      <a:pt x="719" y="416"/>
                    </a:cubicBezTo>
                    <a:cubicBezTo>
                      <a:pt x="717" y="421"/>
                      <a:pt x="713" y="427"/>
                      <a:pt x="710" y="431"/>
                    </a:cubicBezTo>
                    <a:cubicBezTo>
                      <a:pt x="707" y="435"/>
                      <a:pt x="701" y="439"/>
                      <a:pt x="698" y="443"/>
                    </a:cubicBezTo>
                    <a:cubicBezTo>
                      <a:pt x="695" y="447"/>
                      <a:pt x="696" y="456"/>
                      <a:pt x="690" y="458"/>
                    </a:cubicBezTo>
                    <a:cubicBezTo>
                      <a:pt x="684" y="460"/>
                      <a:pt x="669" y="457"/>
                      <a:pt x="663" y="458"/>
                    </a:cubicBezTo>
                    <a:cubicBezTo>
                      <a:pt x="657" y="459"/>
                      <a:pt x="655" y="464"/>
                      <a:pt x="651" y="464"/>
                    </a:cubicBezTo>
                    <a:cubicBezTo>
                      <a:pt x="647" y="464"/>
                      <a:pt x="640" y="455"/>
                      <a:pt x="636" y="455"/>
                    </a:cubicBezTo>
                    <a:cubicBezTo>
                      <a:pt x="632" y="455"/>
                      <a:pt x="631" y="461"/>
                      <a:pt x="627" y="462"/>
                    </a:cubicBezTo>
                    <a:cubicBezTo>
                      <a:pt x="623" y="463"/>
                      <a:pt x="614" y="464"/>
                      <a:pt x="609" y="464"/>
                    </a:cubicBezTo>
                    <a:cubicBezTo>
                      <a:pt x="604" y="464"/>
                      <a:pt x="602" y="462"/>
                      <a:pt x="599" y="464"/>
                    </a:cubicBezTo>
                    <a:cubicBezTo>
                      <a:pt x="596" y="466"/>
                      <a:pt x="594" y="476"/>
                      <a:pt x="590" y="476"/>
                    </a:cubicBezTo>
                    <a:cubicBezTo>
                      <a:pt x="586" y="476"/>
                      <a:pt x="578" y="466"/>
                      <a:pt x="573" y="465"/>
                    </a:cubicBezTo>
                    <a:cubicBezTo>
                      <a:pt x="568" y="464"/>
                      <a:pt x="562" y="472"/>
                      <a:pt x="560" y="470"/>
                    </a:cubicBezTo>
                    <a:cubicBezTo>
                      <a:pt x="558" y="468"/>
                      <a:pt x="563" y="458"/>
                      <a:pt x="560" y="455"/>
                    </a:cubicBezTo>
                    <a:cubicBezTo>
                      <a:pt x="557" y="452"/>
                      <a:pt x="548" y="452"/>
                      <a:pt x="543" y="453"/>
                    </a:cubicBezTo>
                    <a:cubicBezTo>
                      <a:pt x="538" y="454"/>
                      <a:pt x="531" y="458"/>
                      <a:pt x="528" y="462"/>
                    </a:cubicBezTo>
                    <a:cubicBezTo>
                      <a:pt x="525" y="466"/>
                      <a:pt x="524" y="472"/>
                      <a:pt x="525" y="476"/>
                    </a:cubicBezTo>
                    <a:cubicBezTo>
                      <a:pt x="526" y="480"/>
                      <a:pt x="532" y="485"/>
                      <a:pt x="533" y="489"/>
                    </a:cubicBezTo>
                    <a:cubicBezTo>
                      <a:pt x="534" y="493"/>
                      <a:pt x="530" y="498"/>
                      <a:pt x="531" y="503"/>
                    </a:cubicBezTo>
                    <a:cubicBezTo>
                      <a:pt x="532" y="508"/>
                      <a:pt x="537" y="516"/>
                      <a:pt x="537" y="519"/>
                    </a:cubicBezTo>
                    <a:cubicBezTo>
                      <a:pt x="537" y="522"/>
                      <a:pt x="530" y="519"/>
                      <a:pt x="530" y="524"/>
                    </a:cubicBezTo>
                    <a:cubicBezTo>
                      <a:pt x="530" y="529"/>
                      <a:pt x="536" y="543"/>
                      <a:pt x="534" y="548"/>
                    </a:cubicBezTo>
                    <a:cubicBezTo>
                      <a:pt x="532" y="553"/>
                      <a:pt x="522" y="547"/>
                      <a:pt x="519" y="552"/>
                    </a:cubicBezTo>
                    <a:cubicBezTo>
                      <a:pt x="516" y="557"/>
                      <a:pt x="511" y="575"/>
                      <a:pt x="513" y="578"/>
                    </a:cubicBezTo>
                    <a:cubicBezTo>
                      <a:pt x="515" y="581"/>
                      <a:pt x="510" y="573"/>
                      <a:pt x="531" y="573"/>
                    </a:cubicBezTo>
                    <a:cubicBezTo>
                      <a:pt x="552" y="573"/>
                      <a:pt x="520" y="607"/>
                      <a:pt x="521" y="614"/>
                    </a:cubicBezTo>
                    <a:cubicBezTo>
                      <a:pt x="522" y="621"/>
                      <a:pt x="526" y="608"/>
                      <a:pt x="534" y="617"/>
                    </a:cubicBezTo>
                    <a:cubicBezTo>
                      <a:pt x="542" y="626"/>
                      <a:pt x="532" y="631"/>
                      <a:pt x="534" y="639"/>
                    </a:cubicBezTo>
                    <a:cubicBezTo>
                      <a:pt x="536" y="647"/>
                      <a:pt x="546" y="662"/>
                      <a:pt x="545" y="665"/>
                    </a:cubicBezTo>
                    <a:cubicBezTo>
                      <a:pt x="544" y="668"/>
                      <a:pt x="535" y="661"/>
                      <a:pt x="530" y="659"/>
                    </a:cubicBezTo>
                    <a:cubicBezTo>
                      <a:pt x="525" y="657"/>
                      <a:pt x="520" y="656"/>
                      <a:pt x="515" y="653"/>
                    </a:cubicBezTo>
                    <a:cubicBezTo>
                      <a:pt x="510" y="650"/>
                      <a:pt x="503" y="644"/>
                      <a:pt x="498" y="641"/>
                    </a:cubicBezTo>
                    <a:cubicBezTo>
                      <a:pt x="493" y="638"/>
                      <a:pt x="487" y="637"/>
                      <a:pt x="482" y="633"/>
                    </a:cubicBezTo>
                    <a:cubicBezTo>
                      <a:pt x="477" y="629"/>
                      <a:pt x="475" y="623"/>
                      <a:pt x="471" y="617"/>
                    </a:cubicBezTo>
                    <a:cubicBezTo>
                      <a:pt x="467" y="611"/>
                      <a:pt x="460" y="603"/>
                      <a:pt x="456" y="599"/>
                    </a:cubicBezTo>
                    <a:cubicBezTo>
                      <a:pt x="452" y="595"/>
                      <a:pt x="453" y="595"/>
                      <a:pt x="450" y="591"/>
                    </a:cubicBezTo>
                    <a:cubicBezTo>
                      <a:pt x="447" y="587"/>
                      <a:pt x="444" y="582"/>
                      <a:pt x="440" y="578"/>
                    </a:cubicBezTo>
                    <a:cubicBezTo>
                      <a:pt x="436" y="574"/>
                      <a:pt x="431" y="569"/>
                      <a:pt x="428" y="566"/>
                    </a:cubicBezTo>
                    <a:cubicBezTo>
                      <a:pt x="425" y="563"/>
                      <a:pt x="427" y="558"/>
                      <a:pt x="423" y="557"/>
                    </a:cubicBezTo>
                    <a:cubicBezTo>
                      <a:pt x="402" y="553"/>
                      <a:pt x="423" y="560"/>
                      <a:pt x="401" y="558"/>
                    </a:cubicBezTo>
                    <a:cubicBezTo>
                      <a:pt x="383" y="572"/>
                      <a:pt x="383" y="567"/>
                      <a:pt x="377" y="566"/>
                    </a:cubicBezTo>
                    <a:cubicBezTo>
                      <a:pt x="371" y="565"/>
                      <a:pt x="367" y="557"/>
                      <a:pt x="363" y="554"/>
                    </a:cubicBezTo>
                    <a:cubicBezTo>
                      <a:pt x="359" y="551"/>
                      <a:pt x="358" y="551"/>
                      <a:pt x="353" y="545"/>
                    </a:cubicBezTo>
                    <a:cubicBezTo>
                      <a:pt x="327" y="542"/>
                      <a:pt x="337" y="519"/>
                      <a:pt x="332" y="516"/>
                    </a:cubicBezTo>
                    <a:cubicBezTo>
                      <a:pt x="327" y="513"/>
                      <a:pt x="327" y="522"/>
                      <a:pt x="323" y="524"/>
                    </a:cubicBezTo>
                    <a:cubicBezTo>
                      <a:pt x="319" y="526"/>
                      <a:pt x="314" y="525"/>
                      <a:pt x="309" y="527"/>
                    </a:cubicBezTo>
                    <a:cubicBezTo>
                      <a:pt x="304" y="529"/>
                      <a:pt x="296" y="534"/>
                      <a:pt x="290" y="537"/>
                    </a:cubicBezTo>
                    <a:cubicBezTo>
                      <a:pt x="284" y="540"/>
                      <a:pt x="280" y="545"/>
                      <a:pt x="273" y="548"/>
                    </a:cubicBezTo>
                    <a:cubicBezTo>
                      <a:pt x="266" y="551"/>
                      <a:pt x="255" y="555"/>
                      <a:pt x="248" y="555"/>
                    </a:cubicBezTo>
                    <a:cubicBezTo>
                      <a:pt x="241" y="551"/>
                      <a:pt x="237" y="555"/>
                      <a:pt x="230" y="551"/>
                    </a:cubicBezTo>
                    <a:cubicBezTo>
                      <a:pt x="226" y="569"/>
                      <a:pt x="220" y="540"/>
                      <a:pt x="216" y="537"/>
                    </a:cubicBezTo>
                    <a:cubicBezTo>
                      <a:pt x="212" y="534"/>
                      <a:pt x="221" y="531"/>
                      <a:pt x="207" y="530"/>
                    </a:cubicBezTo>
                    <a:cubicBezTo>
                      <a:pt x="182" y="545"/>
                      <a:pt x="143" y="528"/>
                      <a:pt x="129" y="530"/>
                    </a:cubicBezTo>
                    <a:cubicBezTo>
                      <a:pt x="115" y="532"/>
                      <a:pt x="127" y="539"/>
                      <a:pt x="125" y="540"/>
                    </a:cubicBezTo>
                    <a:cubicBezTo>
                      <a:pt x="123" y="541"/>
                      <a:pt x="120" y="535"/>
                      <a:pt x="114" y="537"/>
                    </a:cubicBezTo>
                    <a:cubicBezTo>
                      <a:pt x="108" y="539"/>
                      <a:pt x="95" y="550"/>
                      <a:pt x="90" y="551"/>
                    </a:cubicBezTo>
                    <a:cubicBezTo>
                      <a:pt x="85" y="552"/>
                      <a:pt x="87" y="541"/>
                      <a:pt x="83" y="542"/>
                    </a:cubicBezTo>
                    <a:cubicBezTo>
                      <a:pt x="79" y="543"/>
                      <a:pt x="71" y="558"/>
                      <a:pt x="65" y="560"/>
                    </a:cubicBezTo>
                    <a:cubicBezTo>
                      <a:pt x="59" y="562"/>
                      <a:pt x="51" y="560"/>
                      <a:pt x="47" y="557"/>
                    </a:cubicBezTo>
                    <a:cubicBezTo>
                      <a:pt x="43" y="554"/>
                      <a:pt x="42" y="557"/>
                      <a:pt x="41" y="543"/>
                    </a:cubicBezTo>
                    <a:cubicBezTo>
                      <a:pt x="40" y="529"/>
                      <a:pt x="43" y="485"/>
                      <a:pt x="42" y="473"/>
                    </a:cubicBezTo>
                    <a:cubicBezTo>
                      <a:pt x="41" y="461"/>
                      <a:pt x="37" y="473"/>
                      <a:pt x="35" y="471"/>
                    </a:cubicBezTo>
                    <a:cubicBezTo>
                      <a:pt x="33" y="469"/>
                      <a:pt x="28" y="466"/>
                      <a:pt x="30" y="462"/>
                    </a:cubicBezTo>
                    <a:cubicBezTo>
                      <a:pt x="32" y="458"/>
                      <a:pt x="45" y="449"/>
                      <a:pt x="45" y="446"/>
                    </a:cubicBezTo>
                    <a:cubicBezTo>
                      <a:pt x="45" y="443"/>
                      <a:pt x="34" y="443"/>
                      <a:pt x="30" y="441"/>
                    </a:cubicBezTo>
                    <a:cubicBezTo>
                      <a:pt x="26" y="439"/>
                      <a:pt x="25" y="435"/>
                      <a:pt x="23" y="431"/>
                    </a:cubicBezTo>
                    <a:cubicBezTo>
                      <a:pt x="21" y="427"/>
                      <a:pt x="18" y="421"/>
                      <a:pt x="18" y="416"/>
                    </a:cubicBezTo>
                    <a:cubicBezTo>
                      <a:pt x="18" y="411"/>
                      <a:pt x="18" y="403"/>
                      <a:pt x="21" y="398"/>
                    </a:cubicBezTo>
                    <a:cubicBezTo>
                      <a:pt x="24" y="393"/>
                      <a:pt x="35" y="392"/>
                      <a:pt x="38" y="383"/>
                    </a:cubicBezTo>
                    <a:cubicBezTo>
                      <a:pt x="41" y="374"/>
                      <a:pt x="42" y="352"/>
                      <a:pt x="41" y="344"/>
                    </a:cubicBezTo>
                    <a:cubicBezTo>
                      <a:pt x="40" y="336"/>
                      <a:pt x="33" y="337"/>
                      <a:pt x="30" y="333"/>
                    </a:cubicBezTo>
                    <a:cubicBezTo>
                      <a:pt x="27" y="329"/>
                      <a:pt x="24" y="325"/>
                      <a:pt x="23" y="320"/>
                    </a:cubicBezTo>
                    <a:cubicBezTo>
                      <a:pt x="22" y="315"/>
                      <a:pt x="29" y="307"/>
                      <a:pt x="27" y="303"/>
                    </a:cubicBezTo>
                    <a:cubicBezTo>
                      <a:pt x="25" y="299"/>
                      <a:pt x="14" y="300"/>
                      <a:pt x="12" y="297"/>
                    </a:cubicBezTo>
                    <a:cubicBezTo>
                      <a:pt x="10" y="294"/>
                      <a:pt x="13" y="291"/>
                      <a:pt x="15" y="288"/>
                    </a:cubicBezTo>
                    <a:cubicBezTo>
                      <a:pt x="17" y="285"/>
                      <a:pt x="24" y="278"/>
                      <a:pt x="24" y="276"/>
                    </a:cubicBezTo>
                    <a:cubicBezTo>
                      <a:pt x="24" y="274"/>
                      <a:pt x="15" y="277"/>
                      <a:pt x="14" y="275"/>
                    </a:cubicBezTo>
                    <a:cubicBezTo>
                      <a:pt x="13" y="273"/>
                      <a:pt x="16" y="267"/>
                      <a:pt x="15" y="263"/>
                    </a:cubicBezTo>
                    <a:cubicBezTo>
                      <a:pt x="14" y="259"/>
                      <a:pt x="10" y="257"/>
                      <a:pt x="8" y="254"/>
                    </a:cubicBezTo>
                    <a:cubicBezTo>
                      <a:pt x="6" y="251"/>
                      <a:pt x="0" y="249"/>
                      <a:pt x="0" y="245"/>
                    </a:cubicBezTo>
                    <a:cubicBezTo>
                      <a:pt x="0" y="241"/>
                      <a:pt x="3" y="233"/>
                      <a:pt x="5" y="228"/>
                    </a:cubicBezTo>
                    <a:cubicBezTo>
                      <a:pt x="7" y="223"/>
                      <a:pt x="11" y="217"/>
                      <a:pt x="14" y="213"/>
                    </a:cubicBezTo>
                    <a:cubicBezTo>
                      <a:pt x="17" y="209"/>
                      <a:pt x="18" y="206"/>
                      <a:pt x="21" y="201"/>
                    </a:cubicBezTo>
                    <a:cubicBezTo>
                      <a:pt x="24" y="196"/>
                      <a:pt x="27" y="182"/>
                      <a:pt x="30" y="180"/>
                    </a:cubicBezTo>
                    <a:cubicBezTo>
                      <a:pt x="33" y="178"/>
                      <a:pt x="37" y="189"/>
                      <a:pt x="41" y="191"/>
                    </a:cubicBezTo>
                    <a:cubicBezTo>
                      <a:pt x="45" y="193"/>
                      <a:pt x="53" y="191"/>
                      <a:pt x="57" y="192"/>
                    </a:cubicBezTo>
                    <a:cubicBezTo>
                      <a:pt x="61" y="193"/>
                      <a:pt x="63" y="196"/>
                      <a:pt x="68" y="197"/>
                    </a:cubicBezTo>
                    <a:cubicBezTo>
                      <a:pt x="73" y="198"/>
                      <a:pt x="81" y="200"/>
                      <a:pt x="86" y="197"/>
                    </a:cubicBezTo>
                    <a:cubicBezTo>
                      <a:pt x="82" y="187"/>
                      <a:pt x="96" y="186"/>
                      <a:pt x="101" y="176"/>
                    </a:cubicBezTo>
                    <a:cubicBezTo>
                      <a:pt x="106" y="177"/>
                      <a:pt x="111" y="159"/>
                      <a:pt x="111" y="16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Freeform 13">
                <a:extLst>
                  <a:ext uri="{FF2B5EF4-FFF2-40B4-BE49-F238E27FC236}">
                    <a16:creationId xmlns:a16="http://schemas.microsoft.com/office/drawing/2014/main" id="{92FFE027-3D68-4A01-B55D-0FBB396C35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60431" y="6121145"/>
                <a:ext cx="2389131" cy="1870931"/>
              </a:xfrm>
              <a:custGeom>
                <a:avLst/>
                <a:gdLst/>
                <a:ahLst/>
                <a:cxnLst>
                  <a:cxn ang="0">
                    <a:pos x="241" y="29"/>
                  </a:cxn>
                  <a:cxn ang="0">
                    <a:pos x="264" y="14"/>
                  </a:cxn>
                  <a:cxn ang="0">
                    <a:pos x="307" y="11"/>
                  </a:cxn>
                  <a:cxn ang="0">
                    <a:pos x="337" y="8"/>
                  </a:cxn>
                  <a:cxn ang="0">
                    <a:pos x="363" y="2"/>
                  </a:cxn>
                  <a:cxn ang="0">
                    <a:pos x="384" y="35"/>
                  </a:cxn>
                  <a:cxn ang="0">
                    <a:pos x="384" y="68"/>
                  </a:cxn>
                  <a:cxn ang="0">
                    <a:pos x="405" y="87"/>
                  </a:cxn>
                  <a:cxn ang="0">
                    <a:pos x="408" y="113"/>
                  </a:cxn>
                  <a:cxn ang="0">
                    <a:pos x="412" y="128"/>
                  </a:cxn>
                  <a:cxn ang="0">
                    <a:pos x="442" y="134"/>
                  </a:cxn>
                  <a:cxn ang="0">
                    <a:pos x="487" y="152"/>
                  </a:cxn>
                  <a:cxn ang="0">
                    <a:pos x="495" y="183"/>
                  </a:cxn>
                  <a:cxn ang="0">
                    <a:pos x="546" y="206"/>
                  </a:cxn>
                  <a:cxn ang="0">
                    <a:pos x="552" y="255"/>
                  </a:cxn>
                  <a:cxn ang="0">
                    <a:pos x="594" y="339"/>
                  </a:cxn>
                  <a:cxn ang="0">
                    <a:pos x="616" y="374"/>
                  </a:cxn>
                  <a:cxn ang="0">
                    <a:pos x="600" y="380"/>
                  </a:cxn>
                  <a:cxn ang="0">
                    <a:pos x="582" y="384"/>
                  </a:cxn>
                  <a:cxn ang="0">
                    <a:pos x="561" y="371"/>
                  </a:cxn>
                  <a:cxn ang="0">
                    <a:pos x="534" y="365"/>
                  </a:cxn>
                  <a:cxn ang="0">
                    <a:pos x="502" y="360"/>
                  </a:cxn>
                  <a:cxn ang="0">
                    <a:pos x="472" y="350"/>
                  </a:cxn>
                  <a:cxn ang="0">
                    <a:pos x="445" y="363"/>
                  </a:cxn>
                  <a:cxn ang="0">
                    <a:pos x="429" y="383"/>
                  </a:cxn>
                  <a:cxn ang="0">
                    <a:pos x="424" y="410"/>
                  </a:cxn>
                  <a:cxn ang="0">
                    <a:pos x="414" y="444"/>
                  </a:cxn>
                  <a:cxn ang="0">
                    <a:pos x="384" y="437"/>
                  </a:cxn>
                  <a:cxn ang="0">
                    <a:pos x="325" y="429"/>
                  </a:cxn>
                  <a:cxn ang="0">
                    <a:pos x="286" y="413"/>
                  </a:cxn>
                  <a:cxn ang="0">
                    <a:pos x="256" y="426"/>
                  </a:cxn>
                  <a:cxn ang="0">
                    <a:pos x="234" y="437"/>
                  </a:cxn>
                  <a:cxn ang="0">
                    <a:pos x="187" y="489"/>
                  </a:cxn>
                  <a:cxn ang="0">
                    <a:pos x="175" y="461"/>
                  </a:cxn>
                  <a:cxn ang="0">
                    <a:pos x="157" y="444"/>
                  </a:cxn>
                  <a:cxn ang="0">
                    <a:pos x="106" y="425"/>
                  </a:cxn>
                  <a:cxn ang="0">
                    <a:pos x="90" y="399"/>
                  </a:cxn>
                  <a:cxn ang="0">
                    <a:pos x="58" y="369"/>
                  </a:cxn>
                  <a:cxn ang="0">
                    <a:pos x="57" y="291"/>
                  </a:cxn>
                  <a:cxn ang="0">
                    <a:pos x="69" y="251"/>
                  </a:cxn>
                  <a:cxn ang="0">
                    <a:pos x="63" y="213"/>
                  </a:cxn>
                  <a:cxn ang="0">
                    <a:pos x="58" y="195"/>
                  </a:cxn>
                  <a:cxn ang="0">
                    <a:pos x="49" y="186"/>
                  </a:cxn>
                  <a:cxn ang="0">
                    <a:pos x="45" y="168"/>
                  </a:cxn>
                  <a:cxn ang="0">
                    <a:pos x="36" y="149"/>
                  </a:cxn>
                  <a:cxn ang="0">
                    <a:pos x="22" y="122"/>
                  </a:cxn>
                  <a:cxn ang="0">
                    <a:pos x="7" y="81"/>
                  </a:cxn>
                  <a:cxn ang="0">
                    <a:pos x="10" y="45"/>
                  </a:cxn>
                  <a:cxn ang="0">
                    <a:pos x="64" y="29"/>
                  </a:cxn>
                  <a:cxn ang="0">
                    <a:pos x="121" y="41"/>
                  </a:cxn>
                  <a:cxn ang="0">
                    <a:pos x="162" y="33"/>
                  </a:cxn>
                </a:cxnLst>
                <a:rect l="0" t="0" r="r" b="b"/>
                <a:pathLst>
                  <a:path w="618" h="490">
                    <a:moveTo>
                      <a:pt x="172" y="26"/>
                    </a:moveTo>
                    <a:cubicBezTo>
                      <a:pt x="256" y="29"/>
                      <a:pt x="157" y="24"/>
                      <a:pt x="241" y="29"/>
                    </a:cubicBezTo>
                    <a:cubicBezTo>
                      <a:pt x="257" y="34"/>
                      <a:pt x="253" y="26"/>
                      <a:pt x="259" y="24"/>
                    </a:cubicBezTo>
                    <a:cubicBezTo>
                      <a:pt x="263" y="22"/>
                      <a:pt x="260" y="16"/>
                      <a:pt x="264" y="14"/>
                    </a:cubicBezTo>
                    <a:cubicBezTo>
                      <a:pt x="268" y="12"/>
                      <a:pt x="275" y="9"/>
                      <a:pt x="282" y="9"/>
                    </a:cubicBezTo>
                    <a:cubicBezTo>
                      <a:pt x="289" y="9"/>
                      <a:pt x="301" y="12"/>
                      <a:pt x="307" y="11"/>
                    </a:cubicBezTo>
                    <a:cubicBezTo>
                      <a:pt x="313" y="10"/>
                      <a:pt x="314" y="4"/>
                      <a:pt x="319" y="3"/>
                    </a:cubicBezTo>
                    <a:cubicBezTo>
                      <a:pt x="324" y="2"/>
                      <a:pt x="332" y="7"/>
                      <a:pt x="337" y="8"/>
                    </a:cubicBezTo>
                    <a:cubicBezTo>
                      <a:pt x="342" y="9"/>
                      <a:pt x="347" y="12"/>
                      <a:pt x="351" y="11"/>
                    </a:cubicBezTo>
                    <a:cubicBezTo>
                      <a:pt x="355" y="10"/>
                      <a:pt x="358" y="3"/>
                      <a:pt x="363" y="2"/>
                    </a:cubicBezTo>
                    <a:cubicBezTo>
                      <a:pt x="368" y="1"/>
                      <a:pt x="379" y="0"/>
                      <a:pt x="382" y="5"/>
                    </a:cubicBezTo>
                    <a:cubicBezTo>
                      <a:pt x="385" y="10"/>
                      <a:pt x="386" y="27"/>
                      <a:pt x="384" y="35"/>
                    </a:cubicBezTo>
                    <a:cubicBezTo>
                      <a:pt x="385" y="43"/>
                      <a:pt x="367" y="24"/>
                      <a:pt x="372" y="51"/>
                    </a:cubicBezTo>
                    <a:cubicBezTo>
                      <a:pt x="372" y="56"/>
                      <a:pt x="379" y="64"/>
                      <a:pt x="384" y="68"/>
                    </a:cubicBezTo>
                    <a:cubicBezTo>
                      <a:pt x="389" y="72"/>
                      <a:pt x="396" y="72"/>
                      <a:pt x="399" y="75"/>
                    </a:cubicBezTo>
                    <a:cubicBezTo>
                      <a:pt x="402" y="78"/>
                      <a:pt x="405" y="83"/>
                      <a:pt x="405" y="87"/>
                    </a:cubicBezTo>
                    <a:cubicBezTo>
                      <a:pt x="405" y="91"/>
                      <a:pt x="402" y="94"/>
                      <a:pt x="402" y="98"/>
                    </a:cubicBezTo>
                    <a:cubicBezTo>
                      <a:pt x="402" y="102"/>
                      <a:pt x="409" y="110"/>
                      <a:pt x="408" y="113"/>
                    </a:cubicBezTo>
                    <a:cubicBezTo>
                      <a:pt x="407" y="116"/>
                      <a:pt x="396" y="117"/>
                      <a:pt x="397" y="119"/>
                    </a:cubicBezTo>
                    <a:cubicBezTo>
                      <a:pt x="398" y="121"/>
                      <a:pt x="408" y="125"/>
                      <a:pt x="412" y="128"/>
                    </a:cubicBezTo>
                    <a:cubicBezTo>
                      <a:pt x="416" y="131"/>
                      <a:pt x="419" y="137"/>
                      <a:pt x="424" y="138"/>
                    </a:cubicBezTo>
                    <a:cubicBezTo>
                      <a:pt x="429" y="139"/>
                      <a:pt x="435" y="134"/>
                      <a:pt x="442" y="134"/>
                    </a:cubicBezTo>
                    <a:cubicBezTo>
                      <a:pt x="449" y="134"/>
                      <a:pt x="458" y="137"/>
                      <a:pt x="465" y="140"/>
                    </a:cubicBezTo>
                    <a:cubicBezTo>
                      <a:pt x="472" y="143"/>
                      <a:pt x="483" y="147"/>
                      <a:pt x="487" y="152"/>
                    </a:cubicBezTo>
                    <a:cubicBezTo>
                      <a:pt x="491" y="157"/>
                      <a:pt x="488" y="163"/>
                      <a:pt x="489" y="168"/>
                    </a:cubicBezTo>
                    <a:cubicBezTo>
                      <a:pt x="490" y="173"/>
                      <a:pt x="490" y="179"/>
                      <a:pt x="495" y="183"/>
                    </a:cubicBezTo>
                    <a:cubicBezTo>
                      <a:pt x="500" y="187"/>
                      <a:pt x="511" y="190"/>
                      <a:pt x="519" y="194"/>
                    </a:cubicBezTo>
                    <a:cubicBezTo>
                      <a:pt x="527" y="198"/>
                      <a:pt x="540" y="199"/>
                      <a:pt x="546" y="206"/>
                    </a:cubicBezTo>
                    <a:cubicBezTo>
                      <a:pt x="543" y="215"/>
                      <a:pt x="555" y="226"/>
                      <a:pt x="556" y="234"/>
                    </a:cubicBezTo>
                    <a:cubicBezTo>
                      <a:pt x="557" y="242"/>
                      <a:pt x="548" y="239"/>
                      <a:pt x="552" y="255"/>
                    </a:cubicBezTo>
                    <a:cubicBezTo>
                      <a:pt x="556" y="271"/>
                      <a:pt x="570" y="316"/>
                      <a:pt x="577" y="330"/>
                    </a:cubicBezTo>
                    <a:cubicBezTo>
                      <a:pt x="584" y="344"/>
                      <a:pt x="588" y="336"/>
                      <a:pt x="594" y="339"/>
                    </a:cubicBezTo>
                    <a:cubicBezTo>
                      <a:pt x="600" y="342"/>
                      <a:pt x="609" y="344"/>
                      <a:pt x="613" y="350"/>
                    </a:cubicBezTo>
                    <a:cubicBezTo>
                      <a:pt x="617" y="356"/>
                      <a:pt x="618" y="371"/>
                      <a:pt x="616" y="374"/>
                    </a:cubicBezTo>
                    <a:cubicBezTo>
                      <a:pt x="614" y="377"/>
                      <a:pt x="601" y="368"/>
                      <a:pt x="598" y="369"/>
                    </a:cubicBezTo>
                    <a:cubicBezTo>
                      <a:pt x="595" y="370"/>
                      <a:pt x="602" y="379"/>
                      <a:pt x="600" y="380"/>
                    </a:cubicBezTo>
                    <a:cubicBezTo>
                      <a:pt x="598" y="381"/>
                      <a:pt x="589" y="376"/>
                      <a:pt x="586" y="377"/>
                    </a:cubicBezTo>
                    <a:cubicBezTo>
                      <a:pt x="583" y="378"/>
                      <a:pt x="585" y="383"/>
                      <a:pt x="582" y="384"/>
                    </a:cubicBezTo>
                    <a:cubicBezTo>
                      <a:pt x="579" y="385"/>
                      <a:pt x="570" y="383"/>
                      <a:pt x="567" y="381"/>
                    </a:cubicBezTo>
                    <a:cubicBezTo>
                      <a:pt x="564" y="379"/>
                      <a:pt x="564" y="372"/>
                      <a:pt x="561" y="371"/>
                    </a:cubicBezTo>
                    <a:cubicBezTo>
                      <a:pt x="558" y="370"/>
                      <a:pt x="551" y="379"/>
                      <a:pt x="547" y="378"/>
                    </a:cubicBezTo>
                    <a:cubicBezTo>
                      <a:pt x="543" y="377"/>
                      <a:pt x="538" y="369"/>
                      <a:pt x="534" y="365"/>
                    </a:cubicBezTo>
                    <a:cubicBezTo>
                      <a:pt x="530" y="361"/>
                      <a:pt x="525" y="354"/>
                      <a:pt x="520" y="353"/>
                    </a:cubicBezTo>
                    <a:cubicBezTo>
                      <a:pt x="515" y="352"/>
                      <a:pt x="507" y="360"/>
                      <a:pt x="502" y="360"/>
                    </a:cubicBezTo>
                    <a:cubicBezTo>
                      <a:pt x="497" y="360"/>
                      <a:pt x="497" y="353"/>
                      <a:pt x="492" y="351"/>
                    </a:cubicBezTo>
                    <a:cubicBezTo>
                      <a:pt x="487" y="349"/>
                      <a:pt x="479" y="350"/>
                      <a:pt x="472" y="350"/>
                    </a:cubicBezTo>
                    <a:cubicBezTo>
                      <a:pt x="465" y="350"/>
                      <a:pt x="454" y="348"/>
                      <a:pt x="450" y="350"/>
                    </a:cubicBezTo>
                    <a:cubicBezTo>
                      <a:pt x="446" y="352"/>
                      <a:pt x="449" y="360"/>
                      <a:pt x="445" y="363"/>
                    </a:cubicBezTo>
                    <a:cubicBezTo>
                      <a:pt x="441" y="366"/>
                      <a:pt x="426" y="366"/>
                      <a:pt x="423" y="369"/>
                    </a:cubicBezTo>
                    <a:cubicBezTo>
                      <a:pt x="420" y="372"/>
                      <a:pt x="429" y="378"/>
                      <a:pt x="429" y="383"/>
                    </a:cubicBezTo>
                    <a:cubicBezTo>
                      <a:pt x="429" y="388"/>
                      <a:pt x="421" y="394"/>
                      <a:pt x="420" y="398"/>
                    </a:cubicBezTo>
                    <a:cubicBezTo>
                      <a:pt x="419" y="402"/>
                      <a:pt x="425" y="407"/>
                      <a:pt x="424" y="410"/>
                    </a:cubicBezTo>
                    <a:cubicBezTo>
                      <a:pt x="423" y="413"/>
                      <a:pt x="414" y="410"/>
                      <a:pt x="412" y="416"/>
                    </a:cubicBezTo>
                    <a:cubicBezTo>
                      <a:pt x="410" y="422"/>
                      <a:pt x="417" y="439"/>
                      <a:pt x="414" y="444"/>
                    </a:cubicBezTo>
                    <a:cubicBezTo>
                      <a:pt x="411" y="449"/>
                      <a:pt x="399" y="447"/>
                      <a:pt x="394" y="446"/>
                    </a:cubicBezTo>
                    <a:cubicBezTo>
                      <a:pt x="389" y="445"/>
                      <a:pt x="388" y="440"/>
                      <a:pt x="384" y="437"/>
                    </a:cubicBezTo>
                    <a:cubicBezTo>
                      <a:pt x="377" y="444"/>
                      <a:pt x="378" y="423"/>
                      <a:pt x="367" y="425"/>
                    </a:cubicBezTo>
                    <a:cubicBezTo>
                      <a:pt x="356" y="432"/>
                      <a:pt x="338" y="427"/>
                      <a:pt x="325" y="429"/>
                    </a:cubicBezTo>
                    <a:cubicBezTo>
                      <a:pt x="313" y="440"/>
                      <a:pt x="322" y="417"/>
                      <a:pt x="316" y="414"/>
                    </a:cubicBezTo>
                    <a:cubicBezTo>
                      <a:pt x="310" y="411"/>
                      <a:pt x="293" y="413"/>
                      <a:pt x="286" y="413"/>
                    </a:cubicBezTo>
                    <a:cubicBezTo>
                      <a:pt x="279" y="413"/>
                      <a:pt x="278" y="414"/>
                      <a:pt x="273" y="416"/>
                    </a:cubicBezTo>
                    <a:cubicBezTo>
                      <a:pt x="271" y="414"/>
                      <a:pt x="258" y="427"/>
                      <a:pt x="256" y="426"/>
                    </a:cubicBezTo>
                    <a:cubicBezTo>
                      <a:pt x="254" y="438"/>
                      <a:pt x="247" y="427"/>
                      <a:pt x="244" y="429"/>
                    </a:cubicBezTo>
                    <a:cubicBezTo>
                      <a:pt x="241" y="431"/>
                      <a:pt x="238" y="431"/>
                      <a:pt x="234" y="437"/>
                    </a:cubicBezTo>
                    <a:cubicBezTo>
                      <a:pt x="230" y="443"/>
                      <a:pt x="228" y="455"/>
                      <a:pt x="220" y="464"/>
                    </a:cubicBezTo>
                    <a:cubicBezTo>
                      <a:pt x="198" y="486"/>
                      <a:pt x="194" y="488"/>
                      <a:pt x="187" y="489"/>
                    </a:cubicBezTo>
                    <a:cubicBezTo>
                      <a:pt x="180" y="490"/>
                      <a:pt x="182" y="478"/>
                      <a:pt x="180" y="473"/>
                    </a:cubicBezTo>
                    <a:cubicBezTo>
                      <a:pt x="174" y="469"/>
                      <a:pt x="182" y="463"/>
                      <a:pt x="175" y="461"/>
                    </a:cubicBezTo>
                    <a:cubicBezTo>
                      <a:pt x="170" y="458"/>
                      <a:pt x="170" y="460"/>
                      <a:pt x="165" y="458"/>
                    </a:cubicBezTo>
                    <a:cubicBezTo>
                      <a:pt x="161" y="456"/>
                      <a:pt x="161" y="446"/>
                      <a:pt x="157" y="444"/>
                    </a:cubicBezTo>
                    <a:cubicBezTo>
                      <a:pt x="149" y="452"/>
                      <a:pt x="137" y="434"/>
                      <a:pt x="129" y="431"/>
                    </a:cubicBezTo>
                    <a:cubicBezTo>
                      <a:pt x="121" y="428"/>
                      <a:pt x="110" y="428"/>
                      <a:pt x="106" y="425"/>
                    </a:cubicBezTo>
                    <a:cubicBezTo>
                      <a:pt x="102" y="422"/>
                      <a:pt x="105" y="415"/>
                      <a:pt x="102" y="411"/>
                    </a:cubicBezTo>
                    <a:cubicBezTo>
                      <a:pt x="99" y="407"/>
                      <a:pt x="93" y="403"/>
                      <a:pt x="90" y="399"/>
                    </a:cubicBezTo>
                    <a:cubicBezTo>
                      <a:pt x="87" y="395"/>
                      <a:pt x="86" y="389"/>
                      <a:pt x="81" y="384"/>
                    </a:cubicBezTo>
                    <a:cubicBezTo>
                      <a:pt x="76" y="379"/>
                      <a:pt x="62" y="380"/>
                      <a:pt x="58" y="369"/>
                    </a:cubicBezTo>
                    <a:cubicBezTo>
                      <a:pt x="44" y="369"/>
                      <a:pt x="54" y="333"/>
                      <a:pt x="55" y="320"/>
                    </a:cubicBezTo>
                    <a:cubicBezTo>
                      <a:pt x="55" y="307"/>
                      <a:pt x="55" y="299"/>
                      <a:pt x="57" y="291"/>
                    </a:cubicBezTo>
                    <a:cubicBezTo>
                      <a:pt x="59" y="283"/>
                      <a:pt x="67" y="279"/>
                      <a:pt x="69" y="272"/>
                    </a:cubicBezTo>
                    <a:cubicBezTo>
                      <a:pt x="71" y="265"/>
                      <a:pt x="69" y="259"/>
                      <a:pt x="69" y="251"/>
                    </a:cubicBezTo>
                    <a:cubicBezTo>
                      <a:pt x="64" y="231"/>
                      <a:pt x="75" y="244"/>
                      <a:pt x="66" y="225"/>
                    </a:cubicBezTo>
                    <a:cubicBezTo>
                      <a:pt x="59" y="221"/>
                      <a:pt x="64" y="217"/>
                      <a:pt x="63" y="213"/>
                    </a:cubicBezTo>
                    <a:cubicBezTo>
                      <a:pt x="62" y="209"/>
                      <a:pt x="59" y="206"/>
                      <a:pt x="58" y="203"/>
                    </a:cubicBezTo>
                    <a:cubicBezTo>
                      <a:pt x="57" y="200"/>
                      <a:pt x="59" y="197"/>
                      <a:pt x="58" y="195"/>
                    </a:cubicBezTo>
                    <a:cubicBezTo>
                      <a:pt x="57" y="193"/>
                      <a:pt x="55" y="192"/>
                      <a:pt x="54" y="191"/>
                    </a:cubicBezTo>
                    <a:cubicBezTo>
                      <a:pt x="53" y="190"/>
                      <a:pt x="50" y="189"/>
                      <a:pt x="49" y="186"/>
                    </a:cubicBezTo>
                    <a:cubicBezTo>
                      <a:pt x="48" y="183"/>
                      <a:pt x="50" y="177"/>
                      <a:pt x="49" y="174"/>
                    </a:cubicBezTo>
                    <a:cubicBezTo>
                      <a:pt x="48" y="171"/>
                      <a:pt x="46" y="170"/>
                      <a:pt x="45" y="168"/>
                    </a:cubicBezTo>
                    <a:cubicBezTo>
                      <a:pt x="44" y="166"/>
                      <a:pt x="46" y="165"/>
                      <a:pt x="45" y="162"/>
                    </a:cubicBezTo>
                    <a:cubicBezTo>
                      <a:pt x="44" y="159"/>
                      <a:pt x="40" y="153"/>
                      <a:pt x="36" y="149"/>
                    </a:cubicBezTo>
                    <a:cubicBezTo>
                      <a:pt x="32" y="145"/>
                      <a:pt x="24" y="141"/>
                      <a:pt x="22" y="137"/>
                    </a:cubicBezTo>
                    <a:cubicBezTo>
                      <a:pt x="20" y="133"/>
                      <a:pt x="23" y="126"/>
                      <a:pt x="22" y="122"/>
                    </a:cubicBezTo>
                    <a:cubicBezTo>
                      <a:pt x="21" y="118"/>
                      <a:pt x="18" y="117"/>
                      <a:pt x="16" y="110"/>
                    </a:cubicBezTo>
                    <a:cubicBezTo>
                      <a:pt x="14" y="103"/>
                      <a:pt x="9" y="89"/>
                      <a:pt x="7" y="81"/>
                    </a:cubicBezTo>
                    <a:cubicBezTo>
                      <a:pt x="5" y="73"/>
                      <a:pt x="0" y="69"/>
                      <a:pt x="1" y="63"/>
                    </a:cubicBezTo>
                    <a:cubicBezTo>
                      <a:pt x="2" y="57"/>
                      <a:pt x="5" y="50"/>
                      <a:pt x="10" y="45"/>
                    </a:cubicBezTo>
                    <a:cubicBezTo>
                      <a:pt x="11" y="25"/>
                      <a:pt x="22" y="43"/>
                      <a:pt x="30" y="30"/>
                    </a:cubicBezTo>
                    <a:cubicBezTo>
                      <a:pt x="29" y="20"/>
                      <a:pt x="58" y="27"/>
                      <a:pt x="64" y="29"/>
                    </a:cubicBezTo>
                    <a:cubicBezTo>
                      <a:pt x="72" y="30"/>
                      <a:pt x="67" y="37"/>
                      <a:pt x="76" y="39"/>
                    </a:cubicBezTo>
                    <a:cubicBezTo>
                      <a:pt x="85" y="41"/>
                      <a:pt x="111" y="42"/>
                      <a:pt x="121" y="41"/>
                    </a:cubicBezTo>
                    <a:cubicBezTo>
                      <a:pt x="131" y="40"/>
                      <a:pt x="129" y="36"/>
                      <a:pt x="136" y="35"/>
                    </a:cubicBezTo>
                    <a:cubicBezTo>
                      <a:pt x="143" y="34"/>
                      <a:pt x="156" y="34"/>
                      <a:pt x="162" y="33"/>
                    </a:cubicBezTo>
                    <a:cubicBezTo>
                      <a:pt x="168" y="32"/>
                      <a:pt x="170" y="27"/>
                      <a:pt x="172" y="26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Freeform 14">
                <a:extLst>
                  <a:ext uri="{FF2B5EF4-FFF2-40B4-BE49-F238E27FC236}">
                    <a16:creationId xmlns:a16="http://schemas.microsoft.com/office/drawing/2014/main" id="{66DFCDEF-D71E-40D1-B94D-8B53F1E1A3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90816" y="5323138"/>
                <a:ext cx="2922625" cy="2210754"/>
              </a:xfrm>
              <a:custGeom>
                <a:avLst/>
                <a:gdLst/>
                <a:ahLst/>
                <a:cxnLst>
                  <a:cxn ang="0">
                    <a:pos x="102" y="92"/>
                  </a:cxn>
                  <a:cxn ang="0">
                    <a:pos x="306" y="82"/>
                  </a:cxn>
                  <a:cxn ang="0">
                    <a:pos x="323" y="20"/>
                  </a:cxn>
                  <a:cxn ang="0">
                    <a:pos x="396" y="22"/>
                  </a:cxn>
                  <a:cxn ang="0">
                    <a:pos x="443" y="37"/>
                  </a:cxn>
                  <a:cxn ang="0">
                    <a:pos x="512" y="11"/>
                  </a:cxn>
                  <a:cxn ang="0">
                    <a:pos x="549" y="26"/>
                  </a:cxn>
                  <a:cxn ang="0">
                    <a:pos x="609" y="46"/>
                  </a:cxn>
                  <a:cxn ang="0">
                    <a:pos x="647" y="56"/>
                  </a:cxn>
                  <a:cxn ang="0">
                    <a:pos x="687" y="113"/>
                  </a:cxn>
                  <a:cxn ang="0">
                    <a:pos x="738" y="143"/>
                  </a:cxn>
                  <a:cxn ang="0">
                    <a:pos x="755" y="169"/>
                  </a:cxn>
                  <a:cxn ang="0">
                    <a:pos x="740" y="185"/>
                  </a:cxn>
                  <a:cxn ang="0">
                    <a:pos x="696" y="196"/>
                  </a:cxn>
                  <a:cxn ang="0">
                    <a:pos x="659" y="191"/>
                  </a:cxn>
                  <a:cxn ang="0">
                    <a:pos x="626" y="220"/>
                  </a:cxn>
                  <a:cxn ang="0">
                    <a:pos x="563" y="248"/>
                  </a:cxn>
                  <a:cxn ang="0">
                    <a:pos x="608" y="266"/>
                  </a:cxn>
                  <a:cxn ang="0">
                    <a:pos x="608" y="310"/>
                  </a:cxn>
                  <a:cxn ang="0">
                    <a:pos x="614" y="340"/>
                  </a:cxn>
                  <a:cxn ang="0">
                    <a:pos x="648" y="374"/>
                  </a:cxn>
                  <a:cxn ang="0">
                    <a:pos x="650" y="430"/>
                  </a:cxn>
                  <a:cxn ang="0">
                    <a:pos x="662" y="460"/>
                  </a:cxn>
                  <a:cxn ang="0">
                    <a:pos x="636" y="511"/>
                  </a:cxn>
                  <a:cxn ang="0">
                    <a:pos x="648" y="533"/>
                  </a:cxn>
                  <a:cxn ang="0">
                    <a:pos x="659" y="560"/>
                  </a:cxn>
                  <a:cxn ang="0">
                    <a:pos x="638" y="566"/>
                  </a:cxn>
                  <a:cxn ang="0">
                    <a:pos x="594" y="566"/>
                  </a:cxn>
                  <a:cxn ang="0">
                    <a:pos x="551" y="548"/>
                  </a:cxn>
                  <a:cxn ang="0">
                    <a:pos x="506" y="529"/>
                  </a:cxn>
                  <a:cxn ang="0">
                    <a:pos x="471" y="523"/>
                  </a:cxn>
                  <a:cxn ang="0">
                    <a:pos x="431" y="545"/>
                  </a:cxn>
                  <a:cxn ang="0">
                    <a:pos x="390" y="553"/>
                  </a:cxn>
                  <a:cxn ang="0">
                    <a:pos x="348" y="536"/>
                  </a:cxn>
                  <a:cxn ang="0">
                    <a:pos x="315" y="563"/>
                  </a:cxn>
                  <a:cxn ang="0">
                    <a:pos x="270" y="566"/>
                  </a:cxn>
                  <a:cxn ang="0">
                    <a:pos x="240" y="559"/>
                  </a:cxn>
                  <a:cxn ang="0">
                    <a:pos x="177" y="461"/>
                  </a:cxn>
                  <a:cxn ang="0">
                    <a:pos x="155" y="409"/>
                  </a:cxn>
                  <a:cxn ang="0">
                    <a:pos x="96" y="352"/>
                  </a:cxn>
                  <a:cxn ang="0">
                    <a:pos x="39" y="337"/>
                  </a:cxn>
                  <a:cxn ang="0">
                    <a:pos x="29" y="304"/>
                  </a:cxn>
                  <a:cxn ang="0">
                    <a:pos x="8" y="277"/>
                  </a:cxn>
                  <a:cxn ang="0">
                    <a:pos x="11" y="244"/>
                  </a:cxn>
                  <a:cxn ang="0">
                    <a:pos x="2" y="199"/>
                  </a:cxn>
                  <a:cxn ang="0">
                    <a:pos x="27" y="176"/>
                  </a:cxn>
                  <a:cxn ang="0">
                    <a:pos x="35" y="143"/>
                  </a:cxn>
                  <a:cxn ang="0">
                    <a:pos x="72" y="101"/>
                  </a:cxn>
                </a:cxnLst>
                <a:rect l="0" t="0" r="r" b="b"/>
                <a:pathLst>
                  <a:path w="756" h="579">
                    <a:moveTo>
                      <a:pt x="72" y="101"/>
                    </a:moveTo>
                    <a:cubicBezTo>
                      <a:pt x="73" y="100"/>
                      <a:pt x="91" y="99"/>
                      <a:pt x="92" y="98"/>
                    </a:cubicBezTo>
                    <a:cubicBezTo>
                      <a:pt x="93" y="97"/>
                      <a:pt x="100" y="92"/>
                      <a:pt x="102" y="92"/>
                    </a:cubicBezTo>
                    <a:cubicBezTo>
                      <a:pt x="122" y="91"/>
                      <a:pt x="259" y="91"/>
                      <a:pt x="279" y="92"/>
                    </a:cubicBezTo>
                    <a:cubicBezTo>
                      <a:pt x="316" y="97"/>
                      <a:pt x="297" y="96"/>
                      <a:pt x="303" y="95"/>
                    </a:cubicBezTo>
                    <a:cubicBezTo>
                      <a:pt x="309" y="94"/>
                      <a:pt x="305" y="95"/>
                      <a:pt x="306" y="82"/>
                    </a:cubicBezTo>
                    <a:cubicBezTo>
                      <a:pt x="307" y="69"/>
                      <a:pt x="306" y="67"/>
                      <a:pt x="306" y="61"/>
                    </a:cubicBezTo>
                    <a:cubicBezTo>
                      <a:pt x="305" y="53"/>
                      <a:pt x="299" y="42"/>
                      <a:pt x="302" y="35"/>
                    </a:cubicBezTo>
                    <a:cubicBezTo>
                      <a:pt x="305" y="28"/>
                      <a:pt x="318" y="22"/>
                      <a:pt x="323" y="20"/>
                    </a:cubicBezTo>
                    <a:cubicBezTo>
                      <a:pt x="328" y="18"/>
                      <a:pt x="332" y="26"/>
                      <a:pt x="335" y="25"/>
                    </a:cubicBezTo>
                    <a:cubicBezTo>
                      <a:pt x="338" y="24"/>
                      <a:pt x="329" y="14"/>
                      <a:pt x="339" y="14"/>
                    </a:cubicBezTo>
                    <a:cubicBezTo>
                      <a:pt x="349" y="14"/>
                      <a:pt x="383" y="22"/>
                      <a:pt x="396" y="22"/>
                    </a:cubicBezTo>
                    <a:cubicBezTo>
                      <a:pt x="409" y="22"/>
                      <a:pt x="412" y="10"/>
                      <a:pt x="419" y="13"/>
                    </a:cubicBezTo>
                    <a:cubicBezTo>
                      <a:pt x="426" y="16"/>
                      <a:pt x="433" y="39"/>
                      <a:pt x="437" y="43"/>
                    </a:cubicBezTo>
                    <a:cubicBezTo>
                      <a:pt x="441" y="47"/>
                      <a:pt x="439" y="38"/>
                      <a:pt x="443" y="37"/>
                    </a:cubicBezTo>
                    <a:cubicBezTo>
                      <a:pt x="447" y="36"/>
                      <a:pt x="454" y="39"/>
                      <a:pt x="462" y="38"/>
                    </a:cubicBezTo>
                    <a:cubicBezTo>
                      <a:pt x="470" y="37"/>
                      <a:pt x="481" y="35"/>
                      <a:pt x="489" y="31"/>
                    </a:cubicBezTo>
                    <a:cubicBezTo>
                      <a:pt x="497" y="27"/>
                      <a:pt x="505" y="14"/>
                      <a:pt x="512" y="11"/>
                    </a:cubicBezTo>
                    <a:cubicBezTo>
                      <a:pt x="519" y="8"/>
                      <a:pt x="528" y="12"/>
                      <a:pt x="533" y="11"/>
                    </a:cubicBezTo>
                    <a:cubicBezTo>
                      <a:pt x="538" y="10"/>
                      <a:pt x="542" y="0"/>
                      <a:pt x="545" y="2"/>
                    </a:cubicBezTo>
                    <a:cubicBezTo>
                      <a:pt x="548" y="4"/>
                      <a:pt x="545" y="21"/>
                      <a:pt x="549" y="26"/>
                    </a:cubicBezTo>
                    <a:cubicBezTo>
                      <a:pt x="553" y="31"/>
                      <a:pt x="561" y="30"/>
                      <a:pt x="567" y="34"/>
                    </a:cubicBezTo>
                    <a:cubicBezTo>
                      <a:pt x="573" y="38"/>
                      <a:pt x="580" y="48"/>
                      <a:pt x="587" y="50"/>
                    </a:cubicBezTo>
                    <a:cubicBezTo>
                      <a:pt x="594" y="52"/>
                      <a:pt x="603" y="48"/>
                      <a:pt x="609" y="46"/>
                    </a:cubicBezTo>
                    <a:cubicBezTo>
                      <a:pt x="615" y="44"/>
                      <a:pt x="622" y="40"/>
                      <a:pt x="626" y="40"/>
                    </a:cubicBezTo>
                    <a:cubicBezTo>
                      <a:pt x="630" y="40"/>
                      <a:pt x="632" y="41"/>
                      <a:pt x="636" y="44"/>
                    </a:cubicBezTo>
                    <a:cubicBezTo>
                      <a:pt x="640" y="47"/>
                      <a:pt x="643" y="51"/>
                      <a:pt x="647" y="56"/>
                    </a:cubicBezTo>
                    <a:cubicBezTo>
                      <a:pt x="651" y="61"/>
                      <a:pt x="655" y="71"/>
                      <a:pt x="660" y="77"/>
                    </a:cubicBezTo>
                    <a:cubicBezTo>
                      <a:pt x="665" y="83"/>
                      <a:pt x="670" y="86"/>
                      <a:pt x="675" y="92"/>
                    </a:cubicBezTo>
                    <a:cubicBezTo>
                      <a:pt x="680" y="98"/>
                      <a:pt x="683" y="108"/>
                      <a:pt x="687" y="113"/>
                    </a:cubicBezTo>
                    <a:cubicBezTo>
                      <a:pt x="691" y="118"/>
                      <a:pt x="697" y="122"/>
                      <a:pt x="702" y="125"/>
                    </a:cubicBezTo>
                    <a:cubicBezTo>
                      <a:pt x="707" y="128"/>
                      <a:pt x="714" y="131"/>
                      <a:pt x="720" y="134"/>
                    </a:cubicBezTo>
                    <a:cubicBezTo>
                      <a:pt x="726" y="137"/>
                      <a:pt x="733" y="140"/>
                      <a:pt x="738" y="143"/>
                    </a:cubicBezTo>
                    <a:cubicBezTo>
                      <a:pt x="743" y="146"/>
                      <a:pt x="752" y="149"/>
                      <a:pt x="753" y="151"/>
                    </a:cubicBezTo>
                    <a:cubicBezTo>
                      <a:pt x="754" y="153"/>
                      <a:pt x="746" y="155"/>
                      <a:pt x="746" y="158"/>
                    </a:cubicBezTo>
                    <a:cubicBezTo>
                      <a:pt x="746" y="161"/>
                      <a:pt x="755" y="167"/>
                      <a:pt x="755" y="169"/>
                    </a:cubicBezTo>
                    <a:cubicBezTo>
                      <a:pt x="755" y="171"/>
                      <a:pt x="749" y="171"/>
                      <a:pt x="749" y="173"/>
                    </a:cubicBezTo>
                    <a:cubicBezTo>
                      <a:pt x="749" y="175"/>
                      <a:pt x="756" y="180"/>
                      <a:pt x="755" y="182"/>
                    </a:cubicBezTo>
                    <a:cubicBezTo>
                      <a:pt x="754" y="184"/>
                      <a:pt x="745" y="183"/>
                      <a:pt x="740" y="185"/>
                    </a:cubicBezTo>
                    <a:cubicBezTo>
                      <a:pt x="735" y="187"/>
                      <a:pt x="730" y="195"/>
                      <a:pt x="726" y="197"/>
                    </a:cubicBezTo>
                    <a:cubicBezTo>
                      <a:pt x="722" y="199"/>
                      <a:pt x="718" y="199"/>
                      <a:pt x="713" y="199"/>
                    </a:cubicBezTo>
                    <a:cubicBezTo>
                      <a:pt x="708" y="199"/>
                      <a:pt x="700" y="198"/>
                      <a:pt x="696" y="196"/>
                    </a:cubicBezTo>
                    <a:cubicBezTo>
                      <a:pt x="692" y="194"/>
                      <a:pt x="690" y="189"/>
                      <a:pt x="686" y="188"/>
                    </a:cubicBezTo>
                    <a:cubicBezTo>
                      <a:pt x="682" y="187"/>
                      <a:pt x="678" y="190"/>
                      <a:pt x="674" y="190"/>
                    </a:cubicBezTo>
                    <a:cubicBezTo>
                      <a:pt x="670" y="190"/>
                      <a:pt x="662" y="189"/>
                      <a:pt x="659" y="191"/>
                    </a:cubicBezTo>
                    <a:cubicBezTo>
                      <a:pt x="656" y="193"/>
                      <a:pt x="660" y="202"/>
                      <a:pt x="656" y="205"/>
                    </a:cubicBezTo>
                    <a:cubicBezTo>
                      <a:pt x="652" y="208"/>
                      <a:pt x="641" y="209"/>
                      <a:pt x="636" y="212"/>
                    </a:cubicBezTo>
                    <a:cubicBezTo>
                      <a:pt x="631" y="215"/>
                      <a:pt x="631" y="217"/>
                      <a:pt x="626" y="220"/>
                    </a:cubicBezTo>
                    <a:cubicBezTo>
                      <a:pt x="621" y="223"/>
                      <a:pt x="614" y="228"/>
                      <a:pt x="608" y="230"/>
                    </a:cubicBezTo>
                    <a:cubicBezTo>
                      <a:pt x="602" y="232"/>
                      <a:pt x="597" y="232"/>
                      <a:pt x="590" y="235"/>
                    </a:cubicBezTo>
                    <a:cubicBezTo>
                      <a:pt x="583" y="238"/>
                      <a:pt x="564" y="245"/>
                      <a:pt x="563" y="248"/>
                    </a:cubicBezTo>
                    <a:cubicBezTo>
                      <a:pt x="562" y="251"/>
                      <a:pt x="575" y="252"/>
                      <a:pt x="581" y="254"/>
                    </a:cubicBezTo>
                    <a:cubicBezTo>
                      <a:pt x="587" y="256"/>
                      <a:pt x="596" y="258"/>
                      <a:pt x="600" y="260"/>
                    </a:cubicBezTo>
                    <a:cubicBezTo>
                      <a:pt x="604" y="262"/>
                      <a:pt x="606" y="263"/>
                      <a:pt x="608" y="266"/>
                    </a:cubicBezTo>
                    <a:cubicBezTo>
                      <a:pt x="610" y="269"/>
                      <a:pt x="611" y="276"/>
                      <a:pt x="611" y="281"/>
                    </a:cubicBezTo>
                    <a:cubicBezTo>
                      <a:pt x="611" y="286"/>
                      <a:pt x="609" y="294"/>
                      <a:pt x="609" y="299"/>
                    </a:cubicBezTo>
                    <a:cubicBezTo>
                      <a:pt x="609" y="304"/>
                      <a:pt x="610" y="307"/>
                      <a:pt x="608" y="310"/>
                    </a:cubicBezTo>
                    <a:cubicBezTo>
                      <a:pt x="606" y="313"/>
                      <a:pt x="600" y="316"/>
                      <a:pt x="599" y="320"/>
                    </a:cubicBezTo>
                    <a:cubicBezTo>
                      <a:pt x="598" y="324"/>
                      <a:pt x="600" y="332"/>
                      <a:pt x="602" y="335"/>
                    </a:cubicBezTo>
                    <a:cubicBezTo>
                      <a:pt x="604" y="338"/>
                      <a:pt x="610" y="337"/>
                      <a:pt x="614" y="340"/>
                    </a:cubicBezTo>
                    <a:cubicBezTo>
                      <a:pt x="618" y="343"/>
                      <a:pt x="625" y="348"/>
                      <a:pt x="629" y="352"/>
                    </a:cubicBezTo>
                    <a:cubicBezTo>
                      <a:pt x="633" y="356"/>
                      <a:pt x="636" y="363"/>
                      <a:pt x="639" y="367"/>
                    </a:cubicBezTo>
                    <a:cubicBezTo>
                      <a:pt x="642" y="371"/>
                      <a:pt x="645" y="371"/>
                      <a:pt x="648" y="374"/>
                    </a:cubicBezTo>
                    <a:cubicBezTo>
                      <a:pt x="651" y="377"/>
                      <a:pt x="656" y="375"/>
                      <a:pt x="657" y="382"/>
                    </a:cubicBezTo>
                    <a:cubicBezTo>
                      <a:pt x="658" y="389"/>
                      <a:pt x="655" y="411"/>
                      <a:pt x="654" y="419"/>
                    </a:cubicBezTo>
                    <a:cubicBezTo>
                      <a:pt x="653" y="427"/>
                      <a:pt x="649" y="426"/>
                      <a:pt x="650" y="430"/>
                    </a:cubicBezTo>
                    <a:cubicBezTo>
                      <a:pt x="651" y="434"/>
                      <a:pt x="657" y="438"/>
                      <a:pt x="660" y="442"/>
                    </a:cubicBezTo>
                    <a:cubicBezTo>
                      <a:pt x="663" y="446"/>
                      <a:pt x="668" y="449"/>
                      <a:pt x="668" y="452"/>
                    </a:cubicBezTo>
                    <a:cubicBezTo>
                      <a:pt x="668" y="455"/>
                      <a:pt x="665" y="457"/>
                      <a:pt x="662" y="460"/>
                    </a:cubicBezTo>
                    <a:cubicBezTo>
                      <a:pt x="659" y="463"/>
                      <a:pt x="653" y="463"/>
                      <a:pt x="651" y="470"/>
                    </a:cubicBezTo>
                    <a:cubicBezTo>
                      <a:pt x="649" y="477"/>
                      <a:pt x="652" y="496"/>
                      <a:pt x="650" y="503"/>
                    </a:cubicBezTo>
                    <a:cubicBezTo>
                      <a:pt x="648" y="510"/>
                      <a:pt x="638" y="508"/>
                      <a:pt x="636" y="511"/>
                    </a:cubicBezTo>
                    <a:cubicBezTo>
                      <a:pt x="634" y="514"/>
                      <a:pt x="638" y="517"/>
                      <a:pt x="638" y="521"/>
                    </a:cubicBezTo>
                    <a:cubicBezTo>
                      <a:pt x="638" y="525"/>
                      <a:pt x="631" y="533"/>
                      <a:pt x="633" y="535"/>
                    </a:cubicBezTo>
                    <a:cubicBezTo>
                      <a:pt x="635" y="537"/>
                      <a:pt x="646" y="532"/>
                      <a:pt x="648" y="533"/>
                    </a:cubicBezTo>
                    <a:cubicBezTo>
                      <a:pt x="650" y="534"/>
                      <a:pt x="646" y="539"/>
                      <a:pt x="648" y="542"/>
                    </a:cubicBezTo>
                    <a:cubicBezTo>
                      <a:pt x="650" y="545"/>
                      <a:pt x="661" y="547"/>
                      <a:pt x="663" y="550"/>
                    </a:cubicBezTo>
                    <a:cubicBezTo>
                      <a:pt x="665" y="553"/>
                      <a:pt x="660" y="556"/>
                      <a:pt x="659" y="560"/>
                    </a:cubicBezTo>
                    <a:cubicBezTo>
                      <a:pt x="658" y="564"/>
                      <a:pt x="659" y="571"/>
                      <a:pt x="656" y="574"/>
                    </a:cubicBezTo>
                    <a:cubicBezTo>
                      <a:pt x="653" y="577"/>
                      <a:pt x="645" y="579"/>
                      <a:pt x="642" y="578"/>
                    </a:cubicBezTo>
                    <a:cubicBezTo>
                      <a:pt x="639" y="577"/>
                      <a:pt x="641" y="567"/>
                      <a:pt x="638" y="566"/>
                    </a:cubicBezTo>
                    <a:cubicBezTo>
                      <a:pt x="635" y="565"/>
                      <a:pt x="628" y="571"/>
                      <a:pt x="623" y="571"/>
                    </a:cubicBezTo>
                    <a:cubicBezTo>
                      <a:pt x="618" y="571"/>
                      <a:pt x="611" y="564"/>
                      <a:pt x="606" y="563"/>
                    </a:cubicBezTo>
                    <a:cubicBezTo>
                      <a:pt x="601" y="562"/>
                      <a:pt x="598" y="568"/>
                      <a:pt x="594" y="566"/>
                    </a:cubicBezTo>
                    <a:cubicBezTo>
                      <a:pt x="590" y="564"/>
                      <a:pt x="585" y="555"/>
                      <a:pt x="581" y="551"/>
                    </a:cubicBezTo>
                    <a:cubicBezTo>
                      <a:pt x="577" y="547"/>
                      <a:pt x="577" y="543"/>
                      <a:pt x="572" y="542"/>
                    </a:cubicBezTo>
                    <a:cubicBezTo>
                      <a:pt x="567" y="541"/>
                      <a:pt x="556" y="549"/>
                      <a:pt x="551" y="548"/>
                    </a:cubicBezTo>
                    <a:cubicBezTo>
                      <a:pt x="546" y="547"/>
                      <a:pt x="544" y="540"/>
                      <a:pt x="539" y="538"/>
                    </a:cubicBezTo>
                    <a:cubicBezTo>
                      <a:pt x="534" y="536"/>
                      <a:pt x="527" y="534"/>
                      <a:pt x="522" y="533"/>
                    </a:cubicBezTo>
                    <a:cubicBezTo>
                      <a:pt x="517" y="532"/>
                      <a:pt x="510" y="528"/>
                      <a:pt x="506" y="529"/>
                    </a:cubicBezTo>
                    <a:cubicBezTo>
                      <a:pt x="502" y="530"/>
                      <a:pt x="503" y="539"/>
                      <a:pt x="500" y="539"/>
                    </a:cubicBezTo>
                    <a:cubicBezTo>
                      <a:pt x="497" y="539"/>
                      <a:pt x="491" y="530"/>
                      <a:pt x="486" y="527"/>
                    </a:cubicBezTo>
                    <a:cubicBezTo>
                      <a:pt x="465" y="512"/>
                      <a:pt x="476" y="523"/>
                      <a:pt x="471" y="523"/>
                    </a:cubicBezTo>
                    <a:cubicBezTo>
                      <a:pt x="466" y="523"/>
                      <a:pt x="460" y="523"/>
                      <a:pt x="456" y="526"/>
                    </a:cubicBezTo>
                    <a:cubicBezTo>
                      <a:pt x="452" y="529"/>
                      <a:pt x="451" y="539"/>
                      <a:pt x="447" y="542"/>
                    </a:cubicBezTo>
                    <a:cubicBezTo>
                      <a:pt x="443" y="545"/>
                      <a:pt x="436" y="544"/>
                      <a:pt x="431" y="545"/>
                    </a:cubicBezTo>
                    <a:cubicBezTo>
                      <a:pt x="426" y="546"/>
                      <a:pt x="422" y="547"/>
                      <a:pt x="417" y="550"/>
                    </a:cubicBezTo>
                    <a:cubicBezTo>
                      <a:pt x="412" y="553"/>
                      <a:pt x="405" y="560"/>
                      <a:pt x="401" y="560"/>
                    </a:cubicBezTo>
                    <a:cubicBezTo>
                      <a:pt x="397" y="560"/>
                      <a:pt x="394" y="553"/>
                      <a:pt x="390" y="553"/>
                    </a:cubicBezTo>
                    <a:cubicBezTo>
                      <a:pt x="386" y="553"/>
                      <a:pt x="381" y="561"/>
                      <a:pt x="377" y="560"/>
                    </a:cubicBezTo>
                    <a:cubicBezTo>
                      <a:pt x="373" y="559"/>
                      <a:pt x="373" y="548"/>
                      <a:pt x="368" y="544"/>
                    </a:cubicBezTo>
                    <a:cubicBezTo>
                      <a:pt x="363" y="540"/>
                      <a:pt x="351" y="535"/>
                      <a:pt x="348" y="536"/>
                    </a:cubicBezTo>
                    <a:cubicBezTo>
                      <a:pt x="345" y="537"/>
                      <a:pt x="350" y="548"/>
                      <a:pt x="347" y="551"/>
                    </a:cubicBezTo>
                    <a:cubicBezTo>
                      <a:pt x="344" y="554"/>
                      <a:pt x="334" y="551"/>
                      <a:pt x="329" y="553"/>
                    </a:cubicBezTo>
                    <a:cubicBezTo>
                      <a:pt x="324" y="555"/>
                      <a:pt x="321" y="561"/>
                      <a:pt x="315" y="563"/>
                    </a:cubicBezTo>
                    <a:cubicBezTo>
                      <a:pt x="309" y="565"/>
                      <a:pt x="299" y="561"/>
                      <a:pt x="294" y="563"/>
                    </a:cubicBezTo>
                    <a:cubicBezTo>
                      <a:pt x="289" y="565"/>
                      <a:pt x="288" y="575"/>
                      <a:pt x="284" y="575"/>
                    </a:cubicBezTo>
                    <a:cubicBezTo>
                      <a:pt x="280" y="575"/>
                      <a:pt x="274" y="568"/>
                      <a:pt x="270" y="566"/>
                    </a:cubicBezTo>
                    <a:cubicBezTo>
                      <a:pt x="266" y="564"/>
                      <a:pt x="264" y="561"/>
                      <a:pt x="260" y="562"/>
                    </a:cubicBezTo>
                    <a:cubicBezTo>
                      <a:pt x="256" y="563"/>
                      <a:pt x="251" y="575"/>
                      <a:pt x="248" y="574"/>
                    </a:cubicBezTo>
                    <a:cubicBezTo>
                      <a:pt x="245" y="573"/>
                      <a:pt x="243" y="563"/>
                      <a:pt x="240" y="559"/>
                    </a:cubicBezTo>
                    <a:cubicBezTo>
                      <a:pt x="237" y="555"/>
                      <a:pt x="233" y="553"/>
                      <a:pt x="228" y="550"/>
                    </a:cubicBezTo>
                    <a:cubicBezTo>
                      <a:pt x="214" y="566"/>
                      <a:pt x="215" y="553"/>
                      <a:pt x="207" y="538"/>
                    </a:cubicBezTo>
                    <a:cubicBezTo>
                      <a:pt x="199" y="523"/>
                      <a:pt x="180" y="476"/>
                      <a:pt x="177" y="461"/>
                    </a:cubicBezTo>
                    <a:cubicBezTo>
                      <a:pt x="174" y="446"/>
                      <a:pt x="189" y="452"/>
                      <a:pt x="188" y="445"/>
                    </a:cubicBezTo>
                    <a:cubicBezTo>
                      <a:pt x="175" y="454"/>
                      <a:pt x="176" y="422"/>
                      <a:pt x="171" y="416"/>
                    </a:cubicBezTo>
                    <a:cubicBezTo>
                      <a:pt x="166" y="410"/>
                      <a:pt x="163" y="413"/>
                      <a:pt x="155" y="409"/>
                    </a:cubicBezTo>
                    <a:cubicBezTo>
                      <a:pt x="147" y="405"/>
                      <a:pt x="130" y="398"/>
                      <a:pt x="123" y="391"/>
                    </a:cubicBezTo>
                    <a:cubicBezTo>
                      <a:pt x="116" y="384"/>
                      <a:pt x="118" y="371"/>
                      <a:pt x="114" y="365"/>
                    </a:cubicBezTo>
                    <a:cubicBezTo>
                      <a:pt x="110" y="359"/>
                      <a:pt x="103" y="356"/>
                      <a:pt x="96" y="352"/>
                    </a:cubicBezTo>
                    <a:cubicBezTo>
                      <a:pt x="89" y="348"/>
                      <a:pt x="81" y="344"/>
                      <a:pt x="74" y="344"/>
                    </a:cubicBezTo>
                    <a:cubicBezTo>
                      <a:pt x="67" y="344"/>
                      <a:pt x="62" y="351"/>
                      <a:pt x="56" y="350"/>
                    </a:cubicBezTo>
                    <a:cubicBezTo>
                      <a:pt x="50" y="349"/>
                      <a:pt x="44" y="341"/>
                      <a:pt x="39" y="337"/>
                    </a:cubicBezTo>
                    <a:cubicBezTo>
                      <a:pt x="34" y="333"/>
                      <a:pt x="26" y="331"/>
                      <a:pt x="26" y="328"/>
                    </a:cubicBezTo>
                    <a:cubicBezTo>
                      <a:pt x="26" y="325"/>
                      <a:pt x="36" y="321"/>
                      <a:pt x="36" y="317"/>
                    </a:cubicBezTo>
                    <a:cubicBezTo>
                      <a:pt x="36" y="313"/>
                      <a:pt x="29" y="308"/>
                      <a:pt x="29" y="304"/>
                    </a:cubicBezTo>
                    <a:cubicBezTo>
                      <a:pt x="29" y="300"/>
                      <a:pt x="38" y="295"/>
                      <a:pt x="38" y="292"/>
                    </a:cubicBezTo>
                    <a:cubicBezTo>
                      <a:pt x="38" y="289"/>
                      <a:pt x="31" y="289"/>
                      <a:pt x="26" y="287"/>
                    </a:cubicBezTo>
                    <a:cubicBezTo>
                      <a:pt x="21" y="285"/>
                      <a:pt x="12" y="281"/>
                      <a:pt x="8" y="277"/>
                    </a:cubicBezTo>
                    <a:cubicBezTo>
                      <a:pt x="4" y="273"/>
                      <a:pt x="4" y="267"/>
                      <a:pt x="3" y="262"/>
                    </a:cubicBezTo>
                    <a:cubicBezTo>
                      <a:pt x="2" y="257"/>
                      <a:pt x="1" y="250"/>
                      <a:pt x="2" y="247"/>
                    </a:cubicBezTo>
                    <a:cubicBezTo>
                      <a:pt x="3" y="244"/>
                      <a:pt x="9" y="247"/>
                      <a:pt x="11" y="244"/>
                    </a:cubicBezTo>
                    <a:cubicBezTo>
                      <a:pt x="13" y="241"/>
                      <a:pt x="16" y="232"/>
                      <a:pt x="15" y="227"/>
                    </a:cubicBezTo>
                    <a:cubicBezTo>
                      <a:pt x="14" y="222"/>
                      <a:pt x="8" y="216"/>
                      <a:pt x="6" y="212"/>
                    </a:cubicBezTo>
                    <a:cubicBezTo>
                      <a:pt x="4" y="208"/>
                      <a:pt x="0" y="202"/>
                      <a:pt x="2" y="199"/>
                    </a:cubicBezTo>
                    <a:cubicBezTo>
                      <a:pt x="4" y="196"/>
                      <a:pt x="19" y="197"/>
                      <a:pt x="21" y="194"/>
                    </a:cubicBezTo>
                    <a:cubicBezTo>
                      <a:pt x="23" y="191"/>
                      <a:pt x="11" y="185"/>
                      <a:pt x="12" y="182"/>
                    </a:cubicBezTo>
                    <a:cubicBezTo>
                      <a:pt x="13" y="179"/>
                      <a:pt x="25" y="179"/>
                      <a:pt x="27" y="176"/>
                    </a:cubicBezTo>
                    <a:cubicBezTo>
                      <a:pt x="29" y="173"/>
                      <a:pt x="22" y="169"/>
                      <a:pt x="24" y="166"/>
                    </a:cubicBezTo>
                    <a:cubicBezTo>
                      <a:pt x="26" y="163"/>
                      <a:pt x="37" y="159"/>
                      <a:pt x="39" y="155"/>
                    </a:cubicBezTo>
                    <a:cubicBezTo>
                      <a:pt x="41" y="151"/>
                      <a:pt x="33" y="147"/>
                      <a:pt x="35" y="143"/>
                    </a:cubicBezTo>
                    <a:cubicBezTo>
                      <a:pt x="37" y="139"/>
                      <a:pt x="51" y="137"/>
                      <a:pt x="54" y="133"/>
                    </a:cubicBezTo>
                    <a:cubicBezTo>
                      <a:pt x="60" y="125"/>
                      <a:pt x="44" y="122"/>
                      <a:pt x="53" y="116"/>
                    </a:cubicBezTo>
                    <a:cubicBezTo>
                      <a:pt x="56" y="109"/>
                      <a:pt x="83" y="101"/>
                      <a:pt x="72" y="101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Freeform 17">
                <a:extLst>
                  <a:ext uri="{FF2B5EF4-FFF2-40B4-BE49-F238E27FC236}">
                    <a16:creationId xmlns:a16="http://schemas.microsoft.com/office/drawing/2014/main" id="{AB2AF3AF-820C-44F5-866E-257F835152CA}"/>
                  </a:ext>
                </a:extLst>
              </p:cNvPr>
              <p:cNvSpPr/>
              <p:nvPr/>
            </p:nvSpPr>
            <p:spPr>
              <a:xfrm>
                <a:off x="7286829" y="1963639"/>
                <a:ext cx="2478348" cy="1529916"/>
              </a:xfrm>
              <a:custGeom>
                <a:avLst/>
                <a:gdLst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66725 w 1423987"/>
                  <a:gd name="connsiteY32" fmla="*/ 638175 h 895350"/>
                  <a:gd name="connsiteX33" fmla="*/ 457200 w 1423987"/>
                  <a:gd name="connsiteY33" fmla="*/ 595313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57200 w 1423987"/>
                  <a:gd name="connsiteY33" fmla="*/ 595313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52537 w 1423987"/>
                  <a:gd name="connsiteY51" fmla="*/ 690563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33500 w 1423987"/>
                  <a:gd name="connsiteY55" fmla="*/ 757238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47787 w 1423987"/>
                  <a:gd name="connsiteY60" fmla="*/ 619125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28637 w 1423987"/>
                  <a:gd name="connsiteY36" fmla="*/ 538163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38100 w 1423987"/>
                  <a:gd name="connsiteY2" fmla="*/ 300038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19200 w 1423987"/>
                  <a:gd name="connsiteY36" fmla="*/ 566738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23812 w 1423987"/>
                  <a:gd name="connsiteY0" fmla="*/ 242888 h 895350"/>
                  <a:gd name="connsiteX1" fmla="*/ 0 w 1423987"/>
                  <a:gd name="connsiteY1" fmla="*/ 290513 h 895350"/>
                  <a:gd name="connsiteX2" fmla="*/ 19226 w 1423987"/>
                  <a:gd name="connsiteY2" fmla="*/ 304800 h 895350"/>
                  <a:gd name="connsiteX3" fmla="*/ 38100 w 1423987"/>
                  <a:gd name="connsiteY3" fmla="*/ 333375 h 895350"/>
                  <a:gd name="connsiteX4" fmla="*/ 23812 w 1423987"/>
                  <a:gd name="connsiteY4" fmla="*/ 371475 h 895350"/>
                  <a:gd name="connsiteX5" fmla="*/ 52387 w 1423987"/>
                  <a:gd name="connsiteY5" fmla="*/ 385763 h 895350"/>
                  <a:gd name="connsiteX6" fmla="*/ 57150 w 1423987"/>
                  <a:gd name="connsiteY6" fmla="*/ 457200 h 895350"/>
                  <a:gd name="connsiteX7" fmla="*/ 66675 w 1423987"/>
                  <a:gd name="connsiteY7" fmla="*/ 485775 h 895350"/>
                  <a:gd name="connsiteX8" fmla="*/ 76200 w 1423987"/>
                  <a:gd name="connsiteY8" fmla="*/ 538163 h 895350"/>
                  <a:gd name="connsiteX9" fmla="*/ 76200 w 1423987"/>
                  <a:gd name="connsiteY9" fmla="*/ 538163 h 895350"/>
                  <a:gd name="connsiteX10" fmla="*/ 95250 w 1423987"/>
                  <a:gd name="connsiteY10" fmla="*/ 590550 h 895350"/>
                  <a:gd name="connsiteX11" fmla="*/ 100012 w 1423987"/>
                  <a:gd name="connsiteY11" fmla="*/ 628650 h 895350"/>
                  <a:gd name="connsiteX12" fmla="*/ 100012 w 1423987"/>
                  <a:gd name="connsiteY12" fmla="*/ 685800 h 895350"/>
                  <a:gd name="connsiteX13" fmla="*/ 57150 w 1423987"/>
                  <a:gd name="connsiteY13" fmla="*/ 738188 h 895350"/>
                  <a:gd name="connsiteX14" fmla="*/ 28575 w 1423987"/>
                  <a:gd name="connsiteY14" fmla="*/ 809625 h 895350"/>
                  <a:gd name="connsiteX15" fmla="*/ 33337 w 1423987"/>
                  <a:gd name="connsiteY15" fmla="*/ 847725 h 895350"/>
                  <a:gd name="connsiteX16" fmla="*/ 76200 w 1423987"/>
                  <a:gd name="connsiteY16" fmla="*/ 809625 h 895350"/>
                  <a:gd name="connsiteX17" fmla="*/ 119062 w 1423987"/>
                  <a:gd name="connsiteY17" fmla="*/ 809625 h 895350"/>
                  <a:gd name="connsiteX18" fmla="*/ 161925 w 1423987"/>
                  <a:gd name="connsiteY18" fmla="*/ 833438 h 895350"/>
                  <a:gd name="connsiteX19" fmla="*/ 190500 w 1423987"/>
                  <a:gd name="connsiteY19" fmla="*/ 881063 h 895350"/>
                  <a:gd name="connsiteX20" fmla="*/ 223837 w 1423987"/>
                  <a:gd name="connsiteY20" fmla="*/ 895350 h 895350"/>
                  <a:gd name="connsiteX21" fmla="*/ 223837 w 1423987"/>
                  <a:gd name="connsiteY21" fmla="*/ 895350 h 895350"/>
                  <a:gd name="connsiteX22" fmla="*/ 266700 w 1423987"/>
                  <a:gd name="connsiteY22" fmla="*/ 876300 h 895350"/>
                  <a:gd name="connsiteX23" fmla="*/ 276225 w 1423987"/>
                  <a:gd name="connsiteY23" fmla="*/ 833438 h 895350"/>
                  <a:gd name="connsiteX24" fmla="*/ 276225 w 1423987"/>
                  <a:gd name="connsiteY24" fmla="*/ 833438 h 895350"/>
                  <a:gd name="connsiteX25" fmla="*/ 338137 w 1423987"/>
                  <a:gd name="connsiteY25" fmla="*/ 857250 h 895350"/>
                  <a:gd name="connsiteX26" fmla="*/ 338137 w 1423987"/>
                  <a:gd name="connsiteY26" fmla="*/ 857250 h 895350"/>
                  <a:gd name="connsiteX27" fmla="*/ 390525 w 1423987"/>
                  <a:gd name="connsiteY27" fmla="*/ 838200 h 895350"/>
                  <a:gd name="connsiteX28" fmla="*/ 414337 w 1423987"/>
                  <a:gd name="connsiteY28" fmla="*/ 819150 h 895350"/>
                  <a:gd name="connsiteX29" fmla="*/ 442912 w 1423987"/>
                  <a:gd name="connsiteY29" fmla="*/ 781050 h 895350"/>
                  <a:gd name="connsiteX30" fmla="*/ 447675 w 1423987"/>
                  <a:gd name="connsiteY30" fmla="*/ 728663 h 895350"/>
                  <a:gd name="connsiteX31" fmla="*/ 481012 w 1423987"/>
                  <a:gd name="connsiteY31" fmla="*/ 690563 h 895350"/>
                  <a:gd name="connsiteX32" fmla="*/ 480881 w 1423987"/>
                  <a:gd name="connsiteY32" fmla="*/ 633412 h 895350"/>
                  <a:gd name="connsiteX33" fmla="*/ 466637 w 1423987"/>
                  <a:gd name="connsiteY33" fmla="*/ 585788 h 895350"/>
                  <a:gd name="connsiteX34" fmla="*/ 452437 w 1423987"/>
                  <a:gd name="connsiteY34" fmla="*/ 542925 h 895350"/>
                  <a:gd name="connsiteX35" fmla="*/ 495300 w 1423987"/>
                  <a:gd name="connsiteY35" fmla="*/ 523875 h 895350"/>
                  <a:gd name="connsiteX36" fmla="*/ 519200 w 1423987"/>
                  <a:gd name="connsiteY36" fmla="*/ 566738 h 895350"/>
                  <a:gd name="connsiteX37" fmla="*/ 557212 w 1423987"/>
                  <a:gd name="connsiteY37" fmla="*/ 566738 h 895350"/>
                  <a:gd name="connsiteX38" fmla="*/ 590550 w 1423987"/>
                  <a:gd name="connsiteY38" fmla="*/ 519113 h 895350"/>
                  <a:gd name="connsiteX39" fmla="*/ 633412 w 1423987"/>
                  <a:gd name="connsiteY39" fmla="*/ 519113 h 895350"/>
                  <a:gd name="connsiteX40" fmla="*/ 652462 w 1423987"/>
                  <a:gd name="connsiteY40" fmla="*/ 547688 h 895350"/>
                  <a:gd name="connsiteX41" fmla="*/ 709612 w 1423987"/>
                  <a:gd name="connsiteY41" fmla="*/ 619125 h 895350"/>
                  <a:gd name="connsiteX42" fmla="*/ 719137 w 1423987"/>
                  <a:gd name="connsiteY42" fmla="*/ 647700 h 895350"/>
                  <a:gd name="connsiteX43" fmla="*/ 790575 w 1423987"/>
                  <a:gd name="connsiteY43" fmla="*/ 676275 h 895350"/>
                  <a:gd name="connsiteX44" fmla="*/ 828675 w 1423987"/>
                  <a:gd name="connsiteY44" fmla="*/ 633413 h 895350"/>
                  <a:gd name="connsiteX45" fmla="*/ 871537 w 1423987"/>
                  <a:gd name="connsiteY45" fmla="*/ 633413 h 895350"/>
                  <a:gd name="connsiteX46" fmla="*/ 942975 w 1423987"/>
                  <a:gd name="connsiteY46" fmla="*/ 671513 h 895350"/>
                  <a:gd name="connsiteX47" fmla="*/ 981075 w 1423987"/>
                  <a:gd name="connsiteY47" fmla="*/ 666750 h 895350"/>
                  <a:gd name="connsiteX48" fmla="*/ 1004887 w 1423987"/>
                  <a:gd name="connsiteY48" fmla="*/ 714375 h 895350"/>
                  <a:gd name="connsiteX49" fmla="*/ 1071562 w 1423987"/>
                  <a:gd name="connsiteY49" fmla="*/ 723900 h 895350"/>
                  <a:gd name="connsiteX50" fmla="*/ 1133475 w 1423987"/>
                  <a:gd name="connsiteY50" fmla="*/ 700088 h 895350"/>
                  <a:gd name="connsiteX51" fmla="*/ 1243101 w 1423987"/>
                  <a:gd name="connsiteY51" fmla="*/ 704850 h 895350"/>
                  <a:gd name="connsiteX52" fmla="*/ 1295400 w 1423987"/>
                  <a:gd name="connsiteY52" fmla="*/ 742950 h 895350"/>
                  <a:gd name="connsiteX53" fmla="*/ 1338262 w 1423987"/>
                  <a:gd name="connsiteY53" fmla="*/ 738188 h 895350"/>
                  <a:gd name="connsiteX54" fmla="*/ 1333500 w 1423987"/>
                  <a:gd name="connsiteY54" fmla="*/ 757238 h 895350"/>
                  <a:gd name="connsiteX55" fmla="*/ 1354733 w 1423987"/>
                  <a:gd name="connsiteY55" fmla="*/ 769144 h 895350"/>
                  <a:gd name="connsiteX56" fmla="*/ 1414462 w 1423987"/>
                  <a:gd name="connsiteY56" fmla="*/ 762000 h 895350"/>
                  <a:gd name="connsiteX57" fmla="*/ 1409700 w 1423987"/>
                  <a:gd name="connsiteY57" fmla="*/ 723900 h 895350"/>
                  <a:gd name="connsiteX58" fmla="*/ 1366837 w 1423987"/>
                  <a:gd name="connsiteY58" fmla="*/ 690563 h 895350"/>
                  <a:gd name="connsiteX59" fmla="*/ 1352550 w 1423987"/>
                  <a:gd name="connsiteY59" fmla="*/ 647700 h 895350"/>
                  <a:gd name="connsiteX60" fmla="*/ 1359583 w 1423987"/>
                  <a:gd name="connsiteY60" fmla="*/ 611981 h 895350"/>
                  <a:gd name="connsiteX61" fmla="*/ 1357312 w 1423987"/>
                  <a:gd name="connsiteY61" fmla="*/ 552450 h 895350"/>
                  <a:gd name="connsiteX62" fmla="*/ 1295400 w 1423987"/>
                  <a:gd name="connsiteY62" fmla="*/ 585788 h 895350"/>
                  <a:gd name="connsiteX63" fmla="*/ 1276350 w 1423987"/>
                  <a:gd name="connsiteY63" fmla="*/ 557213 h 895350"/>
                  <a:gd name="connsiteX64" fmla="*/ 1257300 w 1423987"/>
                  <a:gd name="connsiteY64" fmla="*/ 476250 h 895350"/>
                  <a:gd name="connsiteX65" fmla="*/ 1300162 w 1423987"/>
                  <a:gd name="connsiteY65" fmla="*/ 457200 h 895350"/>
                  <a:gd name="connsiteX66" fmla="*/ 1371600 w 1423987"/>
                  <a:gd name="connsiteY66" fmla="*/ 457200 h 895350"/>
                  <a:gd name="connsiteX67" fmla="*/ 1419225 w 1423987"/>
                  <a:gd name="connsiteY67" fmla="*/ 423863 h 895350"/>
                  <a:gd name="connsiteX68" fmla="*/ 1423987 w 1423987"/>
                  <a:gd name="connsiteY68" fmla="*/ 371475 h 895350"/>
                  <a:gd name="connsiteX69" fmla="*/ 1352550 w 1423987"/>
                  <a:gd name="connsiteY69" fmla="*/ 390525 h 895350"/>
                  <a:gd name="connsiteX70" fmla="*/ 1333500 w 1423987"/>
                  <a:gd name="connsiteY70" fmla="*/ 376238 h 895350"/>
                  <a:gd name="connsiteX71" fmla="*/ 1257300 w 1423987"/>
                  <a:gd name="connsiteY71" fmla="*/ 347663 h 895350"/>
                  <a:gd name="connsiteX72" fmla="*/ 1214437 w 1423987"/>
                  <a:gd name="connsiteY72" fmla="*/ 361950 h 895350"/>
                  <a:gd name="connsiteX73" fmla="*/ 1200150 w 1423987"/>
                  <a:gd name="connsiteY73" fmla="*/ 419100 h 895350"/>
                  <a:gd name="connsiteX74" fmla="*/ 1171575 w 1423987"/>
                  <a:gd name="connsiteY74" fmla="*/ 423863 h 895350"/>
                  <a:gd name="connsiteX75" fmla="*/ 1152525 w 1423987"/>
                  <a:gd name="connsiteY75" fmla="*/ 338138 h 895350"/>
                  <a:gd name="connsiteX76" fmla="*/ 1109662 w 1423987"/>
                  <a:gd name="connsiteY76" fmla="*/ 304800 h 895350"/>
                  <a:gd name="connsiteX77" fmla="*/ 1057275 w 1423987"/>
                  <a:gd name="connsiteY77" fmla="*/ 328613 h 895350"/>
                  <a:gd name="connsiteX78" fmla="*/ 1033462 w 1423987"/>
                  <a:gd name="connsiteY78" fmla="*/ 361950 h 895350"/>
                  <a:gd name="connsiteX79" fmla="*/ 1033462 w 1423987"/>
                  <a:gd name="connsiteY79" fmla="*/ 361950 h 895350"/>
                  <a:gd name="connsiteX80" fmla="*/ 990600 w 1423987"/>
                  <a:gd name="connsiteY80" fmla="*/ 381000 h 895350"/>
                  <a:gd name="connsiteX81" fmla="*/ 938212 w 1423987"/>
                  <a:gd name="connsiteY81" fmla="*/ 385763 h 895350"/>
                  <a:gd name="connsiteX82" fmla="*/ 919162 w 1423987"/>
                  <a:gd name="connsiteY82" fmla="*/ 314325 h 895350"/>
                  <a:gd name="connsiteX83" fmla="*/ 942975 w 1423987"/>
                  <a:gd name="connsiteY83" fmla="*/ 195263 h 895350"/>
                  <a:gd name="connsiteX84" fmla="*/ 919162 w 1423987"/>
                  <a:gd name="connsiteY84" fmla="*/ 123825 h 895350"/>
                  <a:gd name="connsiteX85" fmla="*/ 914400 w 1423987"/>
                  <a:gd name="connsiteY85" fmla="*/ 61913 h 895350"/>
                  <a:gd name="connsiteX86" fmla="*/ 866775 w 1423987"/>
                  <a:gd name="connsiteY86" fmla="*/ 4763 h 895350"/>
                  <a:gd name="connsiteX87" fmla="*/ 771525 w 1423987"/>
                  <a:gd name="connsiteY87" fmla="*/ 42863 h 895350"/>
                  <a:gd name="connsiteX88" fmla="*/ 733425 w 1423987"/>
                  <a:gd name="connsiteY88" fmla="*/ 66675 h 895350"/>
                  <a:gd name="connsiteX89" fmla="*/ 614362 w 1423987"/>
                  <a:gd name="connsiteY89" fmla="*/ 9525 h 895350"/>
                  <a:gd name="connsiteX90" fmla="*/ 514350 w 1423987"/>
                  <a:gd name="connsiteY90" fmla="*/ 0 h 895350"/>
                  <a:gd name="connsiteX91" fmla="*/ 390525 w 1423987"/>
                  <a:gd name="connsiteY91" fmla="*/ 80963 h 895350"/>
                  <a:gd name="connsiteX92" fmla="*/ 395287 w 1423987"/>
                  <a:gd name="connsiteY92" fmla="*/ 161925 h 895350"/>
                  <a:gd name="connsiteX93" fmla="*/ 319087 w 1423987"/>
                  <a:gd name="connsiteY93" fmla="*/ 152400 h 895350"/>
                  <a:gd name="connsiteX94" fmla="*/ 171450 w 1423987"/>
                  <a:gd name="connsiteY94" fmla="*/ 190500 h 895350"/>
                  <a:gd name="connsiteX95" fmla="*/ 23812 w 1423987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33382 w 1419269"/>
                  <a:gd name="connsiteY3" fmla="*/ 333375 h 895350"/>
                  <a:gd name="connsiteX4" fmla="*/ 19094 w 1419269"/>
                  <a:gd name="connsiteY4" fmla="*/ 371475 h 895350"/>
                  <a:gd name="connsiteX5" fmla="*/ 47669 w 1419269"/>
                  <a:gd name="connsiteY5" fmla="*/ 385763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33382 w 1419269"/>
                  <a:gd name="connsiteY3" fmla="*/ 333375 h 895350"/>
                  <a:gd name="connsiteX4" fmla="*/ 19094 w 1419269"/>
                  <a:gd name="connsiteY4" fmla="*/ 371475 h 895350"/>
                  <a:gd name="connsiteX5" fmla="*/ 28795 w 1419269"/>
                  <a:gd name="connsiteY5" fmla="*/ 390526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  <a:gd name="connsiteX0" fmla="*/ 19094 w 1419269"/>
                  <a:gd name="connsiteY0" fmla="*/ 242888 h 895350"/>
                  <a:gd name="connsiteX1" fmla="*/ 0 w 1419269"/>
                  <a:gd name="connsiteY1" fmla="*/ 280988 h 895350"/>
                  <a:gd name="connsiteX2" fmla="*/ 14508 w 1419269"/>
                  <a:gd name="connsiteY2" fmla="*/ 304800 h 895350"/>
                  <a:gd name="connsiteX3" fmla="*/ 21585 w 1419269"/>
                  <a:gd name="connsiteY3" fmla="*/ 333375 h 895350"/>
                  <a:gd name="connsiteX4" fmla="*/ 19094 w 1419269"/>
                  <a:gd name="connsiteY4" fmla="*/ 371475 h 895350"/>
                  <a:gd name="connsiteX5" fmla="*/ 28795 w 1419269"/>
                  <a:gd name="connsiteY5" fmla="*/ 390526 h 895350"/>
                  <a:gd name="connsiteX6" fmla="*/ 52432 w 1419269"/>
                  <a:gd name="connsiteY6" fmla="*/ 457200 h 895350"/>
                  <a:gd name="connsiteX7" fmla="*/ 61957 w 1419269"/>
                  <a:gd name="connsiteY7" fmla="*/ 485775 h 895350"/>
                  <a:gd name="connsiteX8" fmla="*/ 71482 w 1419269"/>
                  <a:gd name="connsiteY8" fmla="*/ 538163 h 895350"/>
                  <a:gd name="connsiteX9" fmla="*/ 71482 w 1419269"/>
                  <a:gd name="connsiteY9" fmla="*/ 538163 h 895350"/>
                  <a:gd name="connsiteX10" fmla="*/ 90532 w 1419269"/>
                  <a:gd name="connsiteY10" fmla="*/ 590550 h 895350"/>
                  <a:gd name="connsiteX11" fmla="*/ 95294 w 1419269"/>
                  <a:gd name="connsiteY11" fmla="*/ 628650 h 895350"/>
                  <a:gd name="connsiteX12" fmla="*/ 95294 w 1419269"/>
                  <a:gd name="connsiteY12" fmla="*/ 685800 h 895350"/>
                  <a:gd name="connsiteX13" fmla="*/ 52432 w 1419269"/>
                  <a:gd name="connsiteY13" fmla="*/ 738188 h 895350"/>
                  <a:gd name="connsiteX14" fmla="*/ 23857 w 1419269"/>
                  <a:gd name="connsiteY14" fmla="*/ 809625 h 895350"/>
                  <a:gd name="connsiteX15" fmla="*/ 28619 w 1419269"/>
                  <a:gd name="connsiteY15" fmla="*/ 847725 h 895350"/>
                  <a:gd name="connsiteX16" fmla="*/ 71482 w 1419269"/>
                  <a:gd name="connsiteY16" fmla="*/ 809625 h 895350"/>
                  <a:gd name="connsiteX17" fmla="*/ 114344 w 1419269"/>
                  <a:gd name="connsiteY17" fmla="*/ 809625 h 895350"/>
                  <a:gd name="connsiteX18" fmla="*/ 157207 w 1419269"/>
                  <a:gd name="connsiteY18" fmla="*/ 833438 h 895350"/>
                  <a:gd name="connsiteX19" fmla="*/ 185782 w 1419269"/>
                  <a:gd name="connsiteY19" fmla="*/ 881063 h 895350"/>
                  <a:gd name="connsiteX20" fmla="*/ 219119 w 1419269"/>
                  <a:gd name="connsiteY20" fmla="*/ 895350 h 895350"/>
                  <a:gd name="connsiteX21" fmla="*/ 219119 w 1419269"/>
                  <a:gd name="connsiteY21" fmla="*/ 895350 h 895350"/>
                  <a:gd name="connsiteX22" fmla="*/ 261982 w 1419269"/>
                  <a:gd name="connsiteY22" fmla="*/ 876300 h 895350"/>
                  <a:gd name="connsiteX23" fmla="*/ 271507 w 1419269"/>
                  <a:gd name="connsiteY23" fmla="*/ 833438 h 895350"/>
                  <a:gd name="connsiteX24" fmla="*/ 271507 w 1419269"/>
                  <a:gd name="connsiteY24" fmla="*/ 833438 h 895350"/>
                  <a:gd name="connsiteX25" fmla="*/ 333419 w 1419269"/>
                  <a:gd name="connsiteY25" fmla="*/ 857250 h 895350"/>
                  <a:gd name="connsiteX26" fmla="*/ 333419 w 1419269"/>
                  <a:gd name="connsiteY26" fmla="*/ 857250 h 895350"/>
                  <a:gd name="connsiteX27" fmla="*/ 385807 w 1419269"/>
                  <a:gd name="connsiteY27" fmla="*/ 838200 h 895350"/>
                  <a:gd name="connsiteX28" fmla="*/ 409619 w 1419269"/>
                  <a:gd name="connsiteY28" fmla="*/ 819150 h 895350"/>
                  <a:gd name="connsiteX29" fmla="*/ 438194 w 1419269"/>
                  <a:gd name="connsiteY29" fmla="*/ 781050 h 895350"/>
                  <a:gd name="connsiteX30" fmla="*/ 442957 w 1419269"/>
                  <a:gd name="connsiteY30" fmla="*/ 728663 h 895350"/>
                  <a:gd name="connsiteX31" fmla="*/ 476294 w 1419269"/>
                  <a:gd name="connsiteY31" fmla="*/ 690563 h 895350"/>
                  <a:gd name="connsiteX32" fmla="*/ 476163 w 1419269"/>
                  <a:gd name="connsiteY32" fmla="*/ 633412 h 895350"/>
                  <a:gd name="connsiteX33" fmla="*/ 461919 w 1419269"/>
                  <a:gd name="connsiteY33" fmla="*/ 585788 h 895350"/>
                  <a:gd name="connsiteX34" fmla="*/ 447719 w 1419269"/>
                  <a:gd name="connsiteY34" fmla="*/ 542925 h 895350"/>
                  <a:gd name="connsiteX35" fmla="*/ 490582 w 1419269"/>
                  <a:gd name="connsiteY35" fmla="*/ 523875 h 895350"/>
                  <a:gd name="connsiteX36" fmla="*/ 514482 w 1419269"/>
                  <a:gd name="connsiteY36" fmla="*/ 566738 h 895350"/>
                  <a:gd name="connsiteX37" fmla="*/ 552494 w 1419269"/>
                  <a:gd name="connsiteY37" fmla="*/ 566738 h 895350"/>
                  <a:gd name="connsiteX38" fmla="*/ 585832 w 1419269"/>
                  <a:gd name="connsiteY38" fmla="*/ 519113 h 895350"/>
                  <a:gd name="connsiteX39" fmla="*/ 628694 w 1419269"/>
                  <a:gd name="connsiteY39" fmla="*/ 519113 h 895350"/>
                  <a:gd name="connsiteX40" fmla="*/ 647744 w 1419269"/>
                  <a:gd name="connsiteY40" fmla="*/ 547688 h 895350"/>
                  <a:gd name="connsiteX41" fmla="*/ 704894 w 1419269"/>
                  <a:gd name="connsiteY41" fmla="*/ 619125 h 895350"/>
                  <a:gd name="connsiteX42" fmla="*/ 714419 w 1419269"/>
                  <a:gd name="connsiteY42" fmla="*/ 647700 h 895350"/>
                  <a:gd name="connsiteX43" fmla="*/ 785857 w 1419269"/>
                  <a:gd name="connsiteY43" fmla="*/ 676275 h 895350"/>
                  <a:gd name="connsiteX44" fmla="*/ 823957 w 1419269"/>
                  <a:gd name="connsiteY44" fmla="*/ 633413 h 895350"/>
                  <a:gd name="connsiteX45" fmla="*/ 866819 w 1419269"/>
                  <a:gd name="connsiteY45" fmla="*/ 633413 h 895350"/>
                  <a:gd name="connsiteX46" fmla="*/ 938257 w 1419269"/>
                  <a:gd name="connsiteY46" fmla="*/ 671513 h 895350"/>
                  <a:gd name="connsiteX47" fmla="*/ 976357 w 1419269"/>
                  <a:gd name="connsiteY47" fmla="*/ 666750 h 895350"/>
                  <a:gd name="connsiteX48" fmla="*/ 1000169 w 1419269"/>
                  <a:gd name="connsiteY48" fmla="*/ 714375 h 895350"/>
                  <a:gd name="connsiteX49" fmla="*/ 1066844 w 1419269"/>
                  <a:gd name="connsiteY49" fmla="*/ 723900 h 895350"/>
                  <a:gd name="connsiteX50" fmla="*/ 1128757 w 1419269"/>
                  <a:gd name="connsiteY50" fmla="*/ 700088 h 895350"/>
                  <a:gd name="connsiteX51" fmla="*/ 1238383 w 1419269"/>
                  <a:gd name="connsiteY51" fmla="*/ 704850 h 895350"/>
                  <a:gd name="connsiteX52" fmla="*/ 1290682 w 1419269"/>
                  <a:gd name="connsiteY52" fmla="*/ 742950 h 895350"/>
                  <a:gd name="connsiteX53" fmla="*/ 1333544 w 1419269"/>
                  <a:gd name="connsiteY53" fmla="*/ 738188 h 895350"/>
                  <a:gd name="connsiteX54" fmla="*/ 1328782 w 1419269"/>
                  <a:gd name="connsiteY54" fmla="*/ 757238 h 895350"/>
                  <a:gd name="connsiteX55" fmla="*/ 1350015 w 1419269"/>
                  <a:gd name="connsiteY55" fmla="*/ 769144 h 895350"/>
                  <a:gd name="connsiteX56" fmla="*/ 1409744 w 1419269"/>
                  <a:gd name="connsiteY56" fmla="*/ 762000 h 895350"/>
                  <a:gd name="connsiteX57" fmla="*/ 1404982 w 1419269"/>
                  <a:gd name="connsiteY57" fmla="*/ 723900 h 895350"/>
                  <a:gd name="connsiteX58" fmla="*/ 1362119 w 1419269"/>
                  <a:gd name="connsiteY58" fmla="*/ 690563 h 895350"/>
                  <a:gd name="connsiteX59" fmla="*/ 1347832 w 1419269"/>
                  <a:gd name="connsiteY59" fmla="*/ 647700 h 895350"/>
                  <a:gd name="connsiteX60" fmla="*/ 1354865 w 1419269"/>
                  <a:gd name="connsiteY60" fmla="*/ 611981 h 895350"/>
                  <a:gd name="connsiteX61" fmla="*/ 1352594 w 1419269"/>
                  <a:gd name="connsiteY61" fmla="*/ 552450 h 895350"/>
                  <a:gd name="connsiteX62" fmla="*/ 1290682 w 1419269"/>
                  <a:gd name="connsiteY62" fmla="*/ 585788 h 895350"/>
                  <a:gd name="connsiteX63" fmla="*/ 1271632 w 1419269"/>
                  <a:gd name="connsiteY63" fmla="*/ 557213 h 895350"/>
                  <a:gd name="connsiteX64" fmla="*/ 1252582 w 1419269"/>
                  <a:gd name="connsiteY64" fmla="*/ 476250 h 895350"/>
                  <a:gd name="connsiteX65" fmla="*/ 1295444 w 1419269"/>
                  <a:gd name="connsiteY65" fmla="*/ 457200 h 895350"/>
                  <a:gd name="connsiteX66" fmla="*/ 1366882 w 1419269"/>
                  <a:gd name="connsiteY66" fmla="*/ 457200 h 895350"/>
                  <a:gd name="connsiteX67" fmla="*/ 1414507 w 1419269"/>
                  <a:gd name="connsiteY67" fmla="*/ 423863 h 895350"/>
                  <a:gd name="connsiteX68" fmla="*/ 1419269 w 1419269"/>
                  <a:gd name="connsiteY68" fmla="*/ 371475 h 895350"/>
                  <a:gd name="connsiteX69" fmla="*/ 1347832 w 1419269"/>
                  <a:gd name="connsiteY69" fmla="*/ 390525 h 895350"/>
                  <a:gd name="connsiteX70" fmla="*/ 1328782 w 1419269"/>
                  <a:gd name="connsiteY70" fmla="*/ 376238 h 895350"/>
                  <a:gd name="connsiteX71" fmla="*/ 1252582 w 1419269"/>
                  <a:gd name="connsiteY71" fmla="*/ 347663 h 895350"/>
                  <a:gd name="connsiteX72" fmla="*/ 1209719 w 1419269"/>
                  <a:gd name="connsiteY72" fmla="*/ 361950 h 895350"/>
                  <a:gd name="connsiteX73" fmla="*/ 1195432 w 1419269"/>
                  <a:gd name="connsiteY73" fmla="*/ 419100 h 895350"/>
                  <a:gd name="connsiteX74" fmla="*/ 1166857 w 1419269"/>
                  <a:gd name="connsiteY74" fmla="*/ 423863 h 895350"/>
                  <a:gd name="connsiteX75" fmla="*/ 1147807 w 1419269"/>
                  <a:gd name="connsiteY75" fmla="*/ 338138 h 895350"/>
                  <a:gd name="connsiteX76" fmla="*/ 1104944 w 1419269"/>
                  <a:gd name="connsiteY76" fmla="*/ 304800 h 895350"/>
                  <a:gd name="connsiteX77" fmla="*/ 1052557 w 1419269"/>
                  <a:gd name="connsiteY77" fmla="*/ 328613 h 895350"/>
                  <a:gd name="connsiteX78" fmla="*/ 1028744 w 1419269"/>
                  <a:gd name="connsiteY78" fmla="*/ 361950 h 895350"/>
                  <a:gd name="connsiteX79" fmla="*/ 1028744 w 1419269"/>
                  <a:gd name="connsiteY79" fmla="*/ 361950 h 895350"/>
                  <a:gd name="connsiteX80" fmla="*/ 985882 w 1419269"/>
                  <a:gd name="connsiteY80" fmla="*/ 381000 h 895350"/>
                  <a:gd name="connsiteX81" fmla="*/ 933494 w 1419269"/>
                  <a:gd name="connsiteY81" fmla="*/ 385763 h 895350"/>
                  <a:gd name="connsiteX82" fmla="*/ 914444 w 1419269"/>
                  <a:gd name="connsiteY82" fmla="*/ 314325 h 895350"/>
                  <a:gd name="connsiteX83" fmla="*/ 938257 w 1419269"/>
                  <a:gd name="connsiteY83" fmla="*/ 195263 h 895350"/>
                  <a:gd name="connsiteX84" fmla="*/ 914444 w 1419269"/>
                  <a:gd name="connsiteY84" fmla="*/ 123825 h 895350"/>
                  <a:gd name="connsiteX85" fmla="*/ 909682 w 1419269"/>
                  <a:gd name="connsiteY85" fmla="*/ 61913 h 895350"/>
                  <a:gd name="connsiteX86" fmla="*/ 862057 w 1419269"/>
                  <a:gd name="connsiteY86" fmla="*/ 4763 h 895350"/>
                  <a:gd name="connsiteX87" fmla="*/ 766807 w 1419269"/>
                  <a:gd name="connsiteY87" fmla="*/ 42863 h 895350"/>
                  <a:gd name="connsiteX88" fmla="*/ 728707 w 1419269"/>
                  <a:gd name="connsiteY88" fmla="*/ 66675 h 895350"/>
                  <a:gd name="connsiteX89" fmla="*/ 609644 w 1419269"/>
                  <a:gd name="connsiteY89" fmla="*/ 9525 h 895350"/>
                  <a:gd name="connsiteX90" fmla="*/ 509632 w 1419269"/>
                  <a:gd name="connsiteY90" fmla="*/ 0 h 895350"/>
                  <a:gd name="connsiteX91" fmla="*/ 385807 w 1419269"/>
                  <a:gd name="connsiteY91" fmla="*/ 80963 h 895350"/>
                  <a:gd name="connsiteX92" fmla="*/ 390569 w 1419269"/>
                  <a:gd name="connsiteY92" fmla="*/ 161925 h 895350"/>
                  <a:gd name="connsiteX93" fmla="*/ 314369 w 1419269"/>
                  <a:gd name="connsiteY93" fmla="*/ 152400 h 895350"/>
                  <a:gd name="connsiteX94" fmla="*/ 166732 w 1419269"/>
                  <a:gd name="connsiteY94" fmla="*/ 190500 h 895350"/>
                  <a:gd name="connsiteX95" fmla="*/ 19094 w 1419269"/>
                  <a:gd name="connsiteY95" fmla="*/ 242888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</a:cxnLst>
                <a:rect l="l" t="t" r="r" b="b"/>
                <a:pathLst>
                  <a:path w="1419269" h="895350">
                    <a:moveTo>
                      <a:pt x="19094" y="242888"/>
                    </a:moveTo>
                    <a:lnTo>
                      <a:pt x="0" y="280988"/>
                    </a:lnTo>
                    <a:lnTo>
                      <a:pt x="14508" y="304800"/>
                    </a:lnTo>
                    <a:lnTo>
                      <a:pt x="21585" y="333375"/>
                    </a:lnTo>
                    <a:lnTo>
                      <a:pt x="19094" y="371475"/>
                    </a:lnTo>
                    <a:lnTo>
                      <a:pt x="28795" y="390526"/>
                    </a:lnTo>
                    <a:lnTo>
                      <a:pt x="52432" y="457200"/>
                    </a:lnTo>
                    <a:lnTo>
                      <a:pt x="61957" y="485775"/>
                    </a:lnTo>
                    <a:lnTo>
                      <a:pt x="71482" y="538163"/>
                    </a:lnTo>
                    <a:lnTo>
                      <a:pt x="71482" y="538163"/>
                    </a:lnTo>
                    <a:lnTo>
                      <a:pt x="90532" y="590550"/>
                    </a:lnTo>
                    <a:lnTo>
                      <a:pt x="95294" y="628650"/>
                    </a:lnTo>
                    <a:lnTo>
                      <a:pt x="95294" y="685800"/>
                    </a:lnTo>
                    <a:lnTo>
                      <a:pt x="52432" y="738188"/>
                    </a:lnTo>
                    <a:lnTo>
                      <a:pt x="23857" y="809625"/>
                    </a:lnTo>
                    <a:lnTo>
                      <a:pt x="28619" y="847725"/>
                    </a:lnTo>
                    <a:lnTo>
                      <a:pt x="71482" y="809625"/>
                    </a:lnTo>
                    <a:lnTo>
                      <a:pt x="114344" y="809625"/>
                    </a:lnTo>
                    <a:lnTo>
                      <a:pt x="157207" y="833438"/>
                    </a:lnTo>
                    <a:lnTo>
                      <a:pt x="185782" y="881063"/>
                    </a:lnTo>
                    <a:lnTo>
                      <a:pt x="219119" y="895350"/>
                    </a:lnTo>
                    <a:lnTo>
                      <a:pt x="219119" y="895350"/>
                    </a:lnTo>
                    <a:lnTo>
                      <a:pt x="261982" y="876300"/>
                    </a:lnTo>
                    <a:lnTo>
                      <a:pt x="271507" y="833438"/>
                    </a:lnTo>
                    <a:lnTo>
                      <a:pt x="271507" y="833438"/>
                    </a:lnTo>
                    <a:lnTo>
                      <a:pt x="333419" y="857250"/>
                    </a:lnTo>
                    <a:lnTo>
                      <a:pt x="333419" y="857250"/>
                    </a:lnTo>
                    <a:lnTo>
                      <a:pt x="385807" y="838200"/>
                    </a:lnTo>
                    <a:lnTo>
                      <a:pt x="409619" y="819150"/>
                    </a:lnTo>
                    <a:lnTo>
                      <a:pt x="438194" y="781050"/>
                    </a:lnTo>
                    <a:lnTo>
                      <a:pt x="442957" y="728663"/>
                    </a:lnTo>
                    <a:lnTo>
                      <a:pt x="476294" y="690563"/>
                    </a:lnTo>
                    <a:cubicBezTo>
                      <a:pt x="476250" y="671513"/>
                      <a:pt x="476207" y="652462"/>
                      <a:pt x="476163" y="633412"/>
                    </a:cubicBezTo>
                    <a:lnTo>
                      <a:pt x="461919" y="585788"/>
                    </a:lnTo>
                    <a:lnTo>
                      <a:pt x="447719" y="542925"/>
                    </a:lnTo>
                    <a:lnTo>
                      <a:pt x="490582" y="523875"/>
                    </a:lnTo>
                    <a:lnTo>
                      <a:pt x="514482" y="566738"/>
                    </a:lnTo>
                    <a:lnTo>
                      <a:pt x="552494" y="566738"/>
                    </a:lnTo>
                    <a:lnTo>
                      <a:pt x="585832" y="519113"/>
                    </a:lnTo>
                    <a:cubicBezTo>
                      <a:pt x="630272" y="514175"/>
                      <a:pt x="628694" y="499975"/>
                      <a:pt x="628694" y="519113"/>
                    </a:cubicBezTo>
                    <a:lnTo>
                      <a:pt x="647744" y="547688"/>
                    </a:lnTo>
                    <a:lnTo>
                      <a:pt x="704894" y="619125"/>
                    </a:lnTo>
                    <a:lnTo>
                      <a:pt x="714419" y="647700"/>
                    </a:lnTo>
                    <a:lnTo>
                      <a:pt x="785857" y="676275"/>
                    </a:lnTo>
                    <a:lnTo>
                      <a:pt x="823957" y="633413"/>
                    </a:lnTo>
                    <a:lnTo>
                      <a:pt x="866819" y="633413"/>
                    </a:lnTo>
                    <a:lnTo>
                      <a:pt x="938257" y="671513"/>
                    </a:lnTo>
                    <a:lnTo>
                      <a:pt x="976357" y="666750"/>
                    </a:lnTo>
                    <a:lnTo>
                      <a:pt x="1000169" y="714375"/>
                    </a:lnTo>
                    <a:lnTo>
                      <a:pt x="1066844" y="723900"/>
                    </a:lnTo>
                    <a:lnTo>
                      <a:pt x="1128757" y="700088"/>
                    </a:lnTo>
                    <a:lnTo>
                      <a:pt x="1238383" y="704850"/>
                    </a:lnTo>
                    <a:lnTo>
                      <a:pt x="1290682" y="742950"/>
                    </a:lnTo>
                    <a:lnTo>
                      <a:pt x="1333544" y="738188"/>
                    </a:lnTo>
                    <a:cubicBezTo>
                      <a:pt x="1331957" y="744538"/>
                      <a:pt x="1326037" y="752079"/>
                      <a:pt x="1328782" y="757238"/>
                    </a:cubicBezTo>
                    <a:cubicBezTo>
                      <a:pt x="1331527" y="762397"/>
                      <a:pt x="1342937" y="765175"/>
                      <a:pt x="1350015" y="769144"/>
                    </a:cubicBezTo>
                    <a:lnTo>
                      <a:pt x="1409744" y="762000"/>
                    </a:lnTo>
                    <a:lnTo>
                      <a:pt x="1404982" y="723900"/>
                    </a:lnTo>
                    <a:lnTo>
                      <a:pt x="1362119" y="690563"/>
                    </a:lnTo>
                    <a:cubicBezTo>
                      <a:pt x="1357357" y="676275"/>
                      <a:pt x="1349041" y="660797"/>
                      <a:pt x="1347832" y="647700"/>
                    </a:cubicBezTo>
                    <a:cubicBezTo>
                      <a:pt x="1346623" y="634603"/>
                      <a:pt x="1352521" y="623887"/>
                      <a:pt x="1354865" y="611981"/>
                    </a:cubicBezTo>
                    <a:lnTo>
                      <a:pt x="1352594" y="552450"/>
                    </a:lnTo>
                    <a:lnTo>
                      <a:pt x="1290682" y="585788"/>
                    </a:lnTo>
                    <a:lnTo>
                      <a:pt x="1271632" y="557213"/>
                    </a:lnTo>
                    <a:lnTo>
                      <a:pt x="1252582" y="476250"/>
                    </a:lnTo>
                    <a:lnTo>
                      <a:pt x="1295444" y="457200"/>
                    </a:lnTo>
                    <a:lnTo>
                      <a:pt x="1366882" y="457200"/>
                    </a:lnTo>
                    <a:lnTo>
                      <a:pt x="1414507" y="423863"/>
                    </a:lnTo>
                    <a:lnTo>
                      <a:pt x="1419269" y="371475"/>
                    </a:lnTo>
                    <a:lnTo>
                      <a:pt x="1347832" y="390525"/>
                    </a:lnTo>
                    <a:lnTo>
                      <a:pt x="1328782" y="376238"/>
                    </a:lnTo>
                    <a:lnTo>
                      <a:pt x="1252582" y="347663"/>
                    </a:lnTo>
                    <a:lnTo>
                      <a:pt x="1209719" y="361950"/>
                    </a:lnTo>
                    <a:lnTo>
                      <a:pt x="1195432" y="419100"/>
                    </a:lnTo>
                    <a:lnTo>
                      <a:pt x="1166857" y="423863"/>
                    </a:lnTo>
                    <a:lnTo>
                      <a:pt x="1147807" y="338138"/>
                    </a:lnTo>
                    <a:lnTo>
                      <a:pt x="1104944" y="304800"/>
                    </a:lnTo>
                    <a:lnTo>
                      <a:pt x="1052557" y="328613"/>
                    </a:lnTo>
                    <a:lnTo>
                      <a:pt x="1028744" y="361950"/>
                    </a:lnTo>
                    <a:lnTo>
                      <a:pt x="1028744" y="361950"/>
                    </a:lnTo>
                    <a:lnTo>
                      <a:pt x="985882" y="381000"/>
                    </a:lnTo>
                    <a:lnTo>
                      <a:pt x="933494" y="385763"/>
                    </a:lnTo>
                    <a:lnTo>
                      <a:pt x="914444" y="314325"/>
                    </a:lnTo>
                    <a:lnTo>
                      <a:pt x="938257" y="195263"/>
                    </a:lnTo>
                    <a:lnTo>
                      <a:pt x="914444" y="123825"/>
                    </a:lnTo>
                    <a:lnTo>
                      <a:pt x="909682" y="61913"/>
                    </a:lnTo>
                    <a:lnTo>
                      <a:pt x="862057" y="4763"/>
                    </a:lnTo>
                    <a:lnTo>
                      <a:pt x="766807" y="42863"/>
                    </a:lnTo>
                    <a:lnTo>
                      <a:pt x="728707" y="66675"/>
                    </a:lnTo>
                    <a:lnTo>
                      <a:pt x="609644" y="9525"/>
                    </a:lnTo>
                    <a:lnTo>
                      <a:pt x="509632" y="0"/>
                    </a:lnTo>
                    <a:lnTo>
                      <a:pt x="385807" y="80963"/>
                    </a:lnTo>
                    <a:lnTo>
                      <a:pt x="390569" y="161925"/>
                    </a:lnTo>
                    <a:lnTo>
                      <a:pt x="314369" y="152400"/>
                    </a:lnTo>
                    <a:lnTo>
                      <a:pt x="166732" y="190500"/>
                    </a:lnTo>
                    <a:lnTo>
                      <a:pt x="19094" y="2428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635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5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3" name="object 104"/>
            <p:cNvSpPr txBox="1"/>
            <p:nvPr/>
          </p:nvSpPr>
          <p:spPr>
            <a:xfrm>
              <a:off x="5367336" y="1254495"/>
              <a:ext cx="672532" cy="3270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Қостанай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0 %</a:t>
              </a:r>
            </a:p>
          </p:txBody>
        </p:sp>
        <p:sp>
          <p:nvSpPr>
            <p:cNvPr id="24" name="object 104"/>
            <p:cNvSpPr txBox="1"/>
            <p:nvPr/>
          </p:nvSpPr>
          <p:spPr>
            <a:xfrm>
              <a:off x="4569719" y="1866407"/>
              <a:ext cx="672532" cy="3270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Ақтөбе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66 %</a:t>
              </a:r>
            </a:p>
          </p:txBody>
        </p:sp>
        <p:sp>
          <p:nvSpPr>
            <p:cNvPr id="25" name="object 104"/>
            <p:cNvSpPr txBox="1"/>
            <p:nvPr/>
          </p:nvSpPr>
          <p:spPr>
            <a:xfrm>
              <a:off x="3741646" y="2810477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Маңғыстау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95 %</a:t>
              </a:r>
            </a:p>
          </p:txBody>
        </p:sp>
        <p:sp>
          <p:nvSpPr>
            <p:cNvPr id="26" name="object 104"/>
            <p:cNvSpPr txBox="1"/>
            <p:nvPr/>
          </p:nvSpPr>
          <p:spPr>
            <a:xfrm>
              <a:off x="3801450" y="2022206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Атырау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70 %</a:t>
              </a:r>
            </a:p>
          </p:txBody>
        </p:sp>
        <p:sp>
          <p:nvSpPr>
            <p:cNvPr id="27" name="object 104"/>
            <p:cNvSpPr txBox="1"/>
            <p:nvPr/>
          </p:nvSpPr>
          <p:spPr>
            <a:xfrm>
              <a:off x="3662635" y="1496160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Б-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Қазақстан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39 %</a:t>
              </a:r>
              <a:endParaRPr sz="11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object 104"/>
            <p:cNvSpPr txBox="1"/>
            <p:nvPr/>
          </p:nvSpPr>
          <p:spPr>
            <a:xfrm>
              <a:off x="6883144" y="1751597"/>
              <a:ext cx="672532" cy="3270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Қарағанды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9 %</a:t>
              </a:r>
            </a:p>
          </p:txBody>
        </p:sp>
        <p:sp>
          <p:nvSpPr>
            <p:cNvPr id="29" name="object 104"/>
            <p:cNvSpPr txBox="1"/>
            <p:nvPr/>
          </p:nvSpPr>
          <p:spPr>
            <a:xfrm>
              <a:off x="8240896" y="1573541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В-Казахстанская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область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9 %</a:t>
              </a:r>
            </a:p>
          </p:txBody>
        </p:sp>
        <p:sp>
          <p:nvSpPr>
            <p:cNvPr id="30" name="object 104"/>
            <p:cNvSpPr txBox="1"/>
            <p:nvPr/>
          </p:nvSpPr>
          <p:spPr>
            <a:xfrm>
              <a:off x="7656285" y="2391554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Жетысу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3 %</a:t>
              </a:r>
            </a:p>
          </p:txBody>
        </p:sp>
        <p:sp>
          <p:nvSpPr>
            <p:cNvPr id="31" name="object 104"/>
            <p:cNvSpPr txBox="1"/>
            <p:nvPr/>
          </p:nvSpPr>
          <p:spPr>
            <a:xfrm>
              <a:off x="6654740" y="2795643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Жамбыл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95 %</a:t>
              </a:r>
            </a:p>
          </p:txBody>
        </p:sp>
        <p:sp>
          <p:nvSpPr>
            <p:cNvPr id="32" name="object 104"/>
            <p:cNvSpPr txBox="1"/>
            <p:nvPr/>
          </p:nvSpPr>
          <p:spPr>
            <a:xfrm>
              <a:off x="6136577" y="3268717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Түркістан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7 %</a:t>
              </a:r>
            </a:p>
          </p:txBody>
        </p:sp>
        <p:sp>
          <p:nvSpPr>
            <p:cNvPr id="33" name="object 104"/>
            <p:cNvSpPr txBox="1"/>
            <p:nvPr/>
          </p:nvSpPr>
          <p:spPr>
            <a:xfrm>
              <a:off x="5429774" y="2730925"/>
              <a:ext cx="672532" cy="3270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Қызылорда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75 %</a:t>
              </a:r>
            </a:p>
          </p:txBody>
        </p:sp>
        <p:sp>
          <p:nvSpPr>
            <p:cNvPr id="34" name="object 104"/>
            <p:cNvSpPr txBox="1"/>
            <p:nvPr/>
          </p:nvSpPr>
          <p:spPr>
            <a:xfrm>
              <a:off x="6263378" y="1308063"/>
              <a:ext cx="672532" cy="327004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Ақмола</a:t>
              </a: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82 %</a:t>
              </a:r>
            </a:p>
          </p:txBody>
        </p:sp>
        <p:sp>
          <p:nvSpPr>
            <p:cNvPr id="35" name="object 104"/>
            <p:cNvSpPr txBox="1"/>
            <p:nvPr/>
          </p:nvSpPr>
          <p:spPr>
            <a:xfrm>
              <a:off x="6116449" y="800966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С-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Қазақстан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ь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74</a:t>
              </a:r>
              <a:r>
                <a:rPr lang="en-US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 %</a:t>
              </a: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</p:txBody>
        </p:sp>
        <p:sp>
          <p:nvSpPr>
            <p:cNvPr id="36" name="object 104"/>
            <p:cNvSpPr txBox="1"/>
            <p:nvPr/>
          </p:nvSpPr>
          <p:spPr>
            <a:xfrm>
              <a:off x="7083903" y="1183907"/>
              <a:ext cx="672532" cy="414205"/>
            </a:xfrm>
            <a:prstGeom prst="rect">
              <a:avLst/>
            </a:prstGeom>
          </p:spPr>
          <p:txBody>
            <a:bodyPr vert="horz" wrap="square" lIns="0" tIns="12065" rIns="0" bIns="0" rtlCol="0">
              <a:spAutoFit/>
            </a:bodyPr>
            <a:lstStyle/>
            <a:p>
              <a:pPr marL="11176" algn="ctr">
                <a:spcBef>
                  <a:spcPts val="83"/>
                </a:spcBef>
              </a:pPr>
              <a:r>
                <a:rPr lang="ru-RU" sz="600" b="1" dirty="0">
                  <a:latin typeface="Arial" pitchFamily="34" charset="0"/>
                  <a:cs typeface="Arial" pitchFamily="34" charset="0"/>
                </a:rPr>
                <a:t>Павлодар </a:t>
              </a:r>
            </a:p>
            <a:p>
              <a:pPr marL="11176" algn="ctr">
                <a:spcBef>
                  <a:spcPts val="83"/>
                </a:spcBef>
              </a:pPr>
              <a:r>
                <a:rPr lang="ru-RU" sz="600" b="1" dirty="0" err="1">
                  <a:latin typeface="Arial" pitchFamily="34" charset="0"/>
                  <a:cs typeface="Arial" pitchFamily="34" charset="0"/>
                </a:rPr>
                <a:t>облысы</a:t>
              </a:r>
              <a:endParaRPr lang="ru-RU" sz="600" b="1" dirty="0">
                <a:latin typeface="Arial" pitchFamily="34" charset="0"/>
                <a:cs typeface="Arial" pitchFamily="34" charset="0"/>
              </a:endParaRPr>
            </a:p>
            <a:p>
              <a:pPr marL="11176" algn="ctr">
                <a:spcBef>
                  <a:spcPts val="83"/>
                </a:spcBef>
              </a:pPr>
              <a:r>
                <a:rPr lang="ru-RU" b="1" dirty="0">
                  <a:solidFill>
                    <a:srgbClr val="008000"/>
                  </a:solidFill>
                  <a:latin typeface="Arial" pitchFamily="34" charset="0"/>
                  <a:cs typeface="Arial" pitchFamily="34" charset="0"/>
                </a:rPr>
                <a:t>90 %</a:t>
              </a:r>
            </a:p>
          </p:txBody>
        </p:sp>
      </p:grpSp>
      <p:sp>
        <p:nvSpPr>
          <p:cNvPr id="2" name="Полилиния 1"/>
          <p:cNvSpPr/>
          <p:nvPr/>
        </p:nvSpPr>
        <p:spPr>
          <a:xfrm>
            <a:off x="5163112" y="2065501"/>
            <a:ext cx="1787542" cy="507361"/>
          </a:xfrm>
          <a:custGeom>
            <a:avLst/>
            <a:gdLst>
              <a:gd name="connsiteX0" fmla="*/ 0 w 1571625"/>
              <a:gd name="connsiteY0" fmla="*/ 0 h 678391"/>
              <a:gd name="connsiteX1" fmla="*/ 95250 w 1571625"/>
              <a:gd name="connsiteY1" fmla="*/ 142875 h 678391"/>
              <a:gd name="connsiteX2" fmla="*/ 285750 w 1571625"/>
              <a:gd name="connsiteY2" fmla="*/ 200025 h 678391"/>
              <a:gd name="connsiteX3" fmla="*/ 400050 w 1571625"/>
              <a:gd name="connsiteY3" fmla="*/ 276225 h 678391"/>
              <a:gd name="connsiteX4" fmla="*/ 476250 w 1571625"/>
              <a:gd name="connsiteY4" fmla="*/ 400050 h 678391"/>
              <a:gd name="connsiteX5" fmla="*/ 695325 w 1571625"/>
              <a:gd name="connsiteY5" fmla="*/ 485775 h 678391"/>
              <a:gd name="connsiteX6" fmla="*/ 876300 w 1571625"/>
              <a:gd name="connsiteY6" fmla="*/ 619125 h 678391"/>
              <a:gd name="connsiteX7" fmla="*/ 1038225 w 1571625"/>
              <a:gd name="connsiteY7" fmla="*/ 666750 h 678391"/>
              <a:gd name="connsiteX8" fmla="*/ 1219200 w 1571625"/>
              <a:gd name="connsiteY8" fmla="*/ 676275 h 678391"/>
              <a:gd name="connsiteX9" fmla="*/ 1285875 w 1571625"/>
              <a:gd name="connsiteY9" fmla="*/ 647700 h 678391"/>
              <a:gd name="connsiteX10" fmla="*/ 1524000 w 1571625"/>
              <a:gd name="connsiteY10" fmla="*/ 676275 h 678391"/>
              <a:gd name="connsiteX11" fmla="*/ 1571625 w 1571625"/>
              <a:gd name="connsiteY11" fmla="*/ 676275 h 678391"/>
              <a:gd name="connsiteX12" fmla="*/ 1571625 w 1571625"/>
              <a:gd name="connsiteY12" fmla="*/ 676275 h 678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571625" h="678391">
                <a:moveTo>
                  <a:pt x="0" y="0"/>
                </a:moveTo>
                <a:cubicBezTo>
                  <a:pt x="23812" y="54769"/>
                  <a:pt x="47625" y="109538"/>
                  <a:pt x="95250" y="142875"/>
                </a:cubicBezTo>
                <a:cubicBezTo>
                  <a:pt x="142875" y="176213"/>
                  <a:pt x="234950" y="177800"/>
                  <a:pt x="285750" y="200025"/>
                </a:cubicBezTo>
                <a:cubicBezTo>
                  <a:pt x="336550" y="222250"/>
                  <a:pt x="368300" y="242888"/>
                  <a:pt x="400050" y="276225"/>
                </a:cubicBezTo>
                <a:cubicBezTo>
                  <a:pt x="431800" y="309562"/>
                  <a:pt x="427038" y="365125"/>
                  <a:pt x="476250" y="400050"/>
                </a:cubicBezTo>
                <a:cubicBezTo>
                  <a:pt x="525463" y="434975"/>
                  <a:pt x="628650" y="449263"/>
                  <a:pt x="695325" y="485775"/>
                </a:cubicBezTo>
                <a:cubicBezTo>
                  <a:pt x="762000" y="522287"/>
                  <a:pt x="819150" y="588963"/>
                  <a:pt x="876300" y="619125"/>
                </a:cubicBezTo>
                <a:cubicBezTo>
                  <a:pt x="933450" y="649287"/>
                  <a:pt x="981075" y="657225"/>
                  <a:pt x="1038225" y="666750"/>
                </a:cubicBezTo>
                <a:cubicBezTo>
                  <a:pt x="1095375" y="676275"/>
                  <a:pt x="1177925" y="679450"/>
                  <a:pt x="1219200" y="676275"/>
                </a:cubicBezTo>
                <a:cubicBezTo>
                  <a:pt x="1260475" y="673100"/>
                  <a:pt x="1235075" y="647700"/>
                  <a:pt x="1285875" y="647700"/>
                </a:cubicBezTo>
                <a:cubicBezTo>
                  <a:pt x="1336675" y="647700"/>
                  <a:pt x="1476375" y="671513"/>
                  <a:pt x="1524000" y="676275"/>
                </a:cubicBezTo>
                <a:cubicBezTo>
                  <a:pt x="1571625" y="681037"/>
                  <a:pt x="1571625" y="676275"/>
                  <a:pt x="1571625" y="676275"/>
                </a:cubicBezTo>
                <a:lnTo>
                  <a:pt x="1571625" y="676275"/>
                </a:ln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53" name="object 104"/>
          <p:cNvSpPr txBox="1"/>
          <p:nvPr/>
        </p:nvSpPr>
        <p:spPr>
          <a:xfrm>
            <a:off x="4553333" y="2440360"/>
            <a:ext cx="1046595" cy="391293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11176" algn="ctr">
              <a:spcBef>
                <a:spcPts val="83"/>
              </a:spcBef>
            </a:pPr>
            <a:r>
              <a:rPr lang="ru-RU" sz="600" b="1" dirty="0" err="1">
                <a:latin typeface="Arial" pitchFamily="34" charset="0"/>
                <a:cs typeface="Arial" pitchFamily="34" charset="0"/>
              </a:rPr>
              <a:t>Ұлытау</a:t>
            </a:r>
            <a:r>
              <a:rPr lang="ru-RU" sz="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600" b="1" dirty="0" err="1">
                <a:latin typeface="Arial" pitchFamily="34" charset="0"/>
                <a:cs typeface="Arial" pitchFamily="34" charset="0"/>
              </a:rPr>
              <a:t>облысы</a:t>
            </a:r>
            <a:endParaRPr lang="ru-RU" sz="600" b="1" dirty="0">
              <a:latin typeface="Arial" pitchFamily="34" charset="0"/>
              <a:cs typeface="Arial" pitchFamily="34" charset="0"/>
            </a:endParaRPr>
          </a:p>
          <a:p>
            <a:pPr marL="11176" algn="ctr">
              <a:spcBef>
                <a:spcPts val="83"/>
              </a:spcBef>
            </a:pPr>
            <a:r>
              <a:rPr 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87%</a:t>
            </a:r>
          </a:p>
        </p:txBody>
      </p:sp>
      <p:sp>
        <p:nvSpPr>
          <p:cNvPr id="4" name="Полилиния 3"/>
          <p:cNvSpPr/>
          <p:nvPr/>
        </p:nvSpPr>
        <p:spPr>
          <a:xfrm>
            <a:off x="7649677" y="1573804"/>
            <a:ext cx="766614" cy="911746"/>
          </a:xfrm>
          <a:custGeom>
            <a:avLst/>
            <a:gdLst>
              <a:gd name="connsiteX0" fmla="*/ 0 w 523875"/>
              <a:gd name="connsiteY0" fmla="*/ 0 h 1200150"/>
              <a:gd name="connsiteX1" fmla="*/ 57150 w 523875"/>
              <a:gd name="connsiteY1" fmla="*/ 304800 h 1200150"/>
              <a:gd name="connsiteX2" fmla="*/ 85725 w 523875"/>
              <a:gd name="connsiteY2" fmla="*/ 400050 h 1200150"/>
              <a:gd name="connsiteX3" fmla="*/ 200025 w 523875"/>
              <a:gd name="connsiteY3" fmla="*/ 495300 h 1200150"/>
              <a:gd name="connsiteX4" fmla="*/ 257175 w 523875"/>
              <a:gd name="connsiteY4" fmla="*/ 638175 h 1200150"/>
              <a:gd name="connsiteX5" fmla="*/ 295275 w 523875"/>
              <a:gd name="connsiteY5" fmla="*/ 762000 h 1200150"/>
              <a:gd name="connsiteX6" fmla="*/ 314325 w 523875"/>
              <a:gd name="connsiteY6" fmla="*/ 904875 h 1200150"/>
              <a:gd name="connsiteX7" fmla="*/ 381000 w 523875"/>
              <a:gd name="connsiteY7" fmla="*/ 1085850 h 1200150"/>
              <a:gd name="connsiteX8" fmla="*/ 466725 w 523875"/>
              <a:gd name="connsiteY8" fmla="*/ 1152525 h 1200150"/>
              <a:gd name="connsiteX9" fmla="*/ 476250 w 523875"/>
              <a:gd name="connsiteY9" fmla="*/ 1171575 h 1200150"/>
              <a:gd name="connsiteX10" fmla="*/ 514350 w 523875"/>
              <a:gd name="connsiteY10" fmla="*/ 1171575 h 1200150"/>
              <a:gd name="connsiteX11" fmla="*/ 523875 w 523875"/>
              <a:gd name="connsiteY11" fmla="*/ 1200150 h 1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23875" h="1200150">
                <a:moveTo>
                  <a:pt x="0" y="0"/>
                </a:moveTo>
                <a:cubicBezTo>
                  <a:pt x="21431" y="119062"/>
                  <a:pt x="42863" y="238125"/>
                  <a:pt x="57150" y="304800"/>
                </a:cubicBezTo>
                <a:cubicBezTo>
                  <a:pt x="71437" y="371475"/>
                  <a:pt x="61913" y="368300"/>
                  <a:pt x="85725" y="400050"/>
                </a:cubicBezTo>
                <a:cubicBezTo>
                  <a:pt x="109537" y="431800"/>
                  <a:pt x="171450" y="455613"/>
                  <a:pt x="200025" y="495300"/>
                </a:cubicBezTo>
                <a:cubicBezTo>
                  <a:pt x="228600" y="534988"/>
                  <a:pt x="241300" y="593725"/>
                  <a:pt x="257175" y="638175"/>
                </a:cubicBezTo>
                <a:cubicBezTo>
                  <a:pt x="273050" y="682625"/>
                  <a:pt x="285750" y="717550"/>
                  <a:pt x="295275" y="762000"/>
                </a:cubicBezTo>
                <a:cubicBezTo>
                  <a:pt x="304800" y="806450"/>
                  <a:pt x="300038" y="850900"/>
                  <a:pt x="314325" y="904875"/>
                </a:cubicBezTo>
                <a:cubicBezTo>
                  <a:pt x="328613" y="958850"/>
                  <a:pt x="355600" y="1044575"/>
                  <a:pt x="381000" y="1085850"/>
                </a:cubicBezTo>
                <a:cubicBezTo>
                  <a:pt x="406400" y="1127125"/>
                  <a:pt x="450850" y="1138238"/>
                  <a:pt x="466725" y="1152525"/>
                </a:cubicBezTo>
                <a:cubicBezTo>
                  <a:pt x="482600" y="1166813"/>
                  <a:pt x="468312" y="1168400"/>
                  <a:pt x="476250" y="1171575"/>
                </a:cubicBezTo>
                <a:cubicBezTo>
                  <a:pt x="484188" y="1174750"/>
                  <a:pt x="506413" y="1166813"/>
                  <a:pt x="514350" y="1171575"/>
                </a:cubicBezTo>
                <a:cubicBezTo>
                  <a:pt x="522288" y="1176338"/>
                  <a:pt x="523081" y="1188244"/>
                  <a:pt x="523875" y="1200150"/>
                </a:cubicBez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6950655" y="2736892"/>
            <a:ext cx="1088815" cy="592416"/>
          </a:xfrm>
          <a:custGeom>
            <a:avLst/>
            <a:gdLst>
              <a:gd name="connsiteX0" fmla="*/ 20125 w 1126824"/>
              <a:gd name="connsiteY0" fmla="*/ 0 h 790575"/>
              <a:gd name="connsiteX1" fmla="*/ 1075 w 1126824"/>
              <a:gd name="connsiteY1" fmla="*/ 161925 h 790575"/>
              <a:gd name="connsiteX2" fmla="*/ 48700 w 1126824"/>
              <a:gd name="connsiteY2" fmla="*/ 381000 h 790575"/>
              <a:gd name="connsiteX3" fmla="*/ 115375 w 1126824"/>
              <a:gd name="connsiteY3" fmla="*/ 552450 h 790575"/>
              <a:gd name="connsiteX4" fmla="*/ 182050 w 1126824"/>
              <a:gd name="connsiteY4" fmla="*/ 695325 h 790575"/>
              <a:gd name="connsiteX5" fmla="*/ 258250 w 1126824"/>
              <a:gd name="connsiteY5" fmla="*/ 752475 h 790575"/>
              <a:gd name="connsiteX6" fmla="*/ 477325 w 1126824"/>
              <a:gd name="connsiteY6" fmla="*/ 752475 h 790575"/>
              <a:gd name="connsiteX7" fmla="*/ 839275 w 1126824"/>
              <a:gd name="connsiteY7" fmla="*/ 790575 h 790575"/>
              <a:gd name="connsiteX8" fmla="*/ 1039300 w 1126824"/>
              <a:gd name="connsiteY8" fmla="*/ 781050 h 790575"/>
              <a:gd name="connsiteX9" fmla="*/ 1115500 w 1126824"/>
              <a:gd name="connsiteY9" fmla="*/ 723900 h 790575"/>
              <a:gd name="connsiteX10" fmla="*/ 1125025 w 1126824"/>
              <a:gd name="connsiteY10" fmla="*/ 695325 h 790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26824" h="790575">
                <a:moveTo>
                  <a:pt x="20125" y="0"/>
                </a:moveTo>
                <a:cubicBezTo>
                  <a:pt x="8219" y="49212"/>
                  <a:pt x="-3687" y="98425"/>
                  <a:pt x="1075" y="161925"/>
                </a:cubicBezTo>
                <a:cubicBezTo>
                  <a:pt x="5837" y="225425"/>
                  <a:pt x="29650" y="315912"/>
                  <a:pt x="48700" y="381000"/>
                </a:cubicBezTo>
                <a:cubicBezTo>
                  <a:pt x="67750" y="446088"/>
                  <a:pt x="93150" y="500063"/>
                  <a:pt x="115375" y="552450"/>
                </a:cubicBezTo>
                <a:cubicBezTo>
                  <a:pt x="137600" y="604837"/>
                  <a:pt x="158238" y="661988"/>
                  <a:pt x="182050" y="695325"/>
                </a:cubicBezTo>
                <a:cubicBezTo>
                  <a:pt x="205862" y="728662"/>
                  <a:pt x="209037" y="742950"/>
                  <a:pt x="258250" y="752475"/>
                </a:cubicBezTo>
                <a:cubicBezTo>
                  <a:pt x="307463" y="762000"/>
                  <a:pt x="380488" y="746125"/>
                  <a:pt x="477325" y="752475"/>
                </a:cubicBezTo>
                <a:cubicBezTo>
                  <a:pt x="574162" y="758825"/>
                  <a:pt x="745613" y="785813"/>
                  <a:pt x="839275" y="790575"/>
                </a:cubicBezTo>
                <a:cubicBezTo>
                  <a:pt x="932937" y="795337"/>
                  <a:pt x="993263" y="792162"/>
                  <a:pt x="1039300" y="781050"/>
                </a:cubicBezTo>
                <a:cubicBezTo>
                  <a:pt x="1085337" y="769938"/>
                  <a:pt x="1101213" y="738187"/>
                  <a:pt x="1115500" y="723900"/>
                </a:cubicBezTo>
                <a:cubicBezTo>
                  <a:pt x="1129787" y="709613"/>
                  <a:pt x="1127406" y="702469"/>
                  <a:pt x="1125025" y="695325"/>
                </a:cubicBezTo>
              </a:path>
            </a:pathLst>
          </a:cu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51" name="object 104"/>
          <p:cNvSpPr txBox="1"/>
          <p:nvPr/>
        </p:nvSpPr>
        <p:spPr>
          <a:xfrm>
            <a:off x="7011423" y="1909928"/>
            <a:ext cx="1028047" cy="496450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11176" algn="ctr">
              <a:spcBef>
                <a:spcPts val="83"/>
              </a:spcBef>
            </a:pPr>
            <a:r>
              <a:rPr lang="ru-RU" sz="600" b="1" dirty="0">
                <a:latin typeface="Arial" pitchFamily="34" charset="0"/>
                <a:cs typeface="Arial" pitchFamily="34" charset="0"/>
              </a:rPr>
              <a:t>Абай</a:t>
            </a:r>
          </a:p>
          <a:p>
            <a:pPr marL="11176" algn="ctr">
              <a:spcBef>
                <a:spcPts val="83"/>
              </a:spcBef>
            </a:pPr>
            <a:r>
              <a:rPr lang="ru-RU" sz="600" b="1" dirty="0" err="1">
                <a:latin typeface="Arial" pitchFamily="34" charset="0"/>
                <a:cs typeface="Arial" pitchFamily="34" charset="0"/>
              </a:rPr>
              <a:t>облысы</a:t>
            </a:r>
            <a:endParaRPr lang="ru-RU" sz="600" b="1" dirty="0">
              <a:latin typeface="Arial" pitchFamily="34" charset="0"/>
              <a:cs typeface="Arial" pitchFamily="34" charset="0"/>
            </a:endParaRPr>
          </a:p>
          <a:p>
            <a:pPr marL="11176" algn="ctr">
              <a:spcBef>
                <a:spcPts val="83"/>
              </a:spcBef>
            </a:pPr>
            <a:r>
              <a:rPr 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88 %</a:t>
            </a:r>
          </a:p>
        </p:txBody>
      </p:sp>
      <p:sp>
        <p:nvSpPr>
          <p:cNvPr id="52" name="object 104"/>
          <p:cNvSpPr txBox="1"/>
          <p:nvPr/>
        </p:nvSpPr>
        <p:spPr>
          <a:xfrm>
            <a:off x="6137509" y="2875591"/>
            <a:ext cx="1028047" cy="496450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11176" algn="ctr">
              <a:spcBef>
                <a:spcPts val="83"/>
              </a:spcBef>
            </a:pPr>
            <a:r>
              <a:rPr lang="ru-RU" sz="600" b="1" dirty="0">
                <a:latin typeface="Arial" pitchFamily="34" charset="0"/>
                <a:cs typeface="Arial" pitchFamily="34" charset="0"/>
              </a:rPr>
              <a:t>Алматы</a:t>
            </a:r>
          </a:p>
          <a:p>
            <a:pPr marL="11176" algn="ctr">
              <a:spcBef>
                <a:spcPts val="83"/>
              </a:spcBef>
            </a:pPr>
            <a:r>
              <a:rPr lang="ru-RU" sz="600" b="1" dirty="0" err="1">
                <a:latin typeface="Arial" pitchFamily="34" charset="0"/>
                <a:cs typeface="Arial" pitchFamily="34" charset="0"/>
              </a:rPr>
              <a:t>облысы</a:t>
            </a:r>
            <a:endParaRPr lang="ru-RU" sz="600" b="1" dirty="0">
              <a:latin typeface="Arial" pitchFamily="34" charset="0"/>
              <a:cs typeface="Arial" pitchFamily="34" charset="0"/>
            </a:endParaRPr>
          </a:p>
          <a:p>
            <a:pPr marL="11176" algn="ctr">
              <a:spcBef>
                <a:spcPts val="83"/>
              </a:spcBef>
            </a:pPr>
            <a:r>
              <a:rPr 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83 %</a:t>
            </a:r>
          </a:p>
        </p:txBody>
      </p:sp>
      <p:sp>
        <p:nvSpPr>
          <p:cNvPr id="54" name="Прямоугольник 53"/>
          <p:cNvSpPr>
            <a:spLocks noChangeArrowheads="1"/>
          </p:cNvSpPr>
          <p:nvPr/>
        </p:nvSpPr>
        <p:spPr bwMode="auto">
          <a:xfrm>
            <a:off x="-613501" y="371809"/>
            <a:ext cx="5257509" cy="8356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2340" tIns="26171" rIns="52340" bIns="26171" anchor="ctr"/>
          <a:lstStyle/>
          <a:p>
            <a:pPr algn="ctr">
              <a:defRPr/>
            </a:pPr>
            <a:r>
              <a:rPr lang="en-US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372,3 </a:t>
            </a:r>
            <a:r>
              <a:rPr lang="ru-RU" altLang="ru-RU" sz="1500" b="1" dirty="0" err="1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млрд.тг</a:t>
            </a:r>
            <a:r>
              <a:rPr lang="ru-RU" altLang="ru-RU" sz="15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500" b="1" dirty="0" err="1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бөлінді</a:t>
            </a:r>
            <a:r>
              <a:rPr lang="ru-RU" altLang="ru-RU" sz="15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defRPr/>
            </a:pP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РБ – 278,9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лрд.тг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ЖБ-93,4 млрд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г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</a:p>
          <a:p>
            <a:pPr algn="ctr">
              <a:defRPr/>
            </a:pP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лерімен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мту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4,6 тыс. км</a:t>
            </a:r>
          </a:p>
          <a:p>
            <a:pPr algn="ctr">
              <a:defRPr/>
            </a:pP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үгінгі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үні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лды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70 % </a:t>
            </a:r>
          </a:p>
        </p:txBody>
      </p:sp>
      <p:sp>
        <p:nvSpPr>
          <p:cNvPr id="56" name="TextBox 48"/>
          <p:cNvSpPr txBox="1">
            <a:spLocks noChangeArrowheads="1"/>
          </p:cNvSpPr>
          <p:nvPr/>
        </p:nvSpPr>
        <p:spPr bwMode="auto">
          <a:xfrm>
            <a:off x="6227939" y="3945985"/>
            <a:ext cx="3047067" cy="1178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9787" tIns="34894" rIns="69787" bIns="348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kk-KZ" altLang="ru-RU" sz="1200" b="1" u="sng" dirty="0">
                <a:latin typeface="Arial" charset="0"/>
              </a:rPr>
              <a:t>Нашар көрсеткіштері бар аймақтар</a:t>
            </a:r>
          </a:p>
          <a:p>
            <a:pPr algn="ctr" eaLnBrk="1" hangingPunct="1">
              <a:defRPr/>
            </a:pPr>
            <a:r>
              <a:rPr lang="kk-KZ" altLang="ru-RU" sz="1200" b="1" i="1" dirty="0">
                <a:solidFill>
                  <a:schemeClr val="accent1">
                    <a:lumMod val="50000"/>
                  </a:schemeClr>
                </a:solidFill>
                <a:latin typeface="Arial" charset="0"/>
              </a:rPr>
              <a:t>1. Шығыс-Қазақстан – </a:t>
            </a:r>
            <a:r>
              <a:rPr lang="kk-KZ" altLang="ru-RU" sz="1200" b="1" i="1" dirty="0">
                <a:solidFill>
                  <a:srgbClr val="C00000"/>
                </a:solidFill>
                <a:latin typeface="Arial" charset="0"/>
              </a:rPr>
              <a:t>39%</a:t>
            </a:r>
          </a:p>
          <a:p>
            <a:pPr marL="257175" indent="-257175" algn="ctr" eaLnBrk="1" hangingPunct="1">
              <a:buAutoNum type="arabicPeriod"/>
              <a:defRPr/>
            </a:pPr>
            <a:r>
              <a:rPr lang="kk-KZ" altLang="ru-RU" sz="1200" b="1" i="1" dirty="0">
                <a:solidFill>
                  <a:schemeClr val="accent1">
                    <a:lumMod val="50000"/>
                  </a:schemeClr>
                </a:solidFill>
                <a:latin typeface="Arial" charset="0"/>
              </a:rPr>
              <a:t>Ақтөбе – </a:t>
            </a:r>
            <a:r>
              <a:rPr lang="kk-KZ" altLang="ru-RU" sz="1200" b="1" i="1" dirty="0">
                <a:solidFill>
                  <a:srgbClr val="C00000"/>
                </a:solidFill>
                <a:latin typeface="Arial" charset="0"/>
              </a:rPr>
              <a:t>66%</a:t>
            </a:r>
          </a:p>
          <a:p>
            <a:pPr marL="257175" indent="-257175" algn="ctr" eaLnBrk="1" hangingPunct="1">
              <a:buAutoNum type="arabicPeriod"/>
              <a:defRPr/>
            </a:pPr>
            <a:r>
              <a:rPr lang="kk-KZ" altLang="ru-RU" sz="1200" b="1" i="1" dirty="0">
                <a:solidFill>
                  <a:schemeClr val="accent1">
                    <a:lumMod val="50000"/>
                  </a:schemeClr>
                </a:solidFill>
                <a:latin typeface="Arial" charset="0"/>
              </a:rPr>
              <a:t>Атырау – </a:t>
            </a:r>
            <a:r>
              <a:rPr lang="kk-KZ" altLang="ru-RU" sz="1200" b="1" i="1" dirty="0">
                <a:solidFill>
                  <a:srgbClr val="C00000"/>
                </a:solidFill>
                <a:latin typeface="Arial" charset="0"/>
              </a:rPr>
              <a:t>70%</a:t>
            </a:r>
          </a:p>
          <a:p>
            <a:pPr marL="257175" indent="-257175" algn="ctr" eaLnBrk="1" hangingPunct="1">
              <a:buAutoNum type="arabicPeriod"/>
              <a:defRPr/>
            </a:pPr>
            <a:r>
              <a:rPr lang="kk-KZ" altLang="ru-RU" sz="1200" b="1" i="1" dirty="0">
                <a:solidFill>
                  <a:schemeClr val="accent1">
                    <a:lumMod val="50000"/>
                  </a:schemeClr>
                </a:solidFill>
                <a:latin typeface="Arial" charset="0"/>
              </a:rPr>
              <a:t>Солтүстік-Қазақстан – </a:t>
            </a:r>
            <a:r>
              <a:rPr lang="kk-KZ" altLang="ru-RU" sz="1200" b="1" i="1" dirty="0">
                <a:solidFill>
                  <a:srgbClr val="C00000"/>
                </a:solidFill>
                <a:latin typeface="Arial" charset="0"/>
              </a:rPr>
              <a:t>74%</a:t>
            </a:r>
          </a:p>
          <a:p>
            <a:pPr marL="257175" indent="-257175" algn="ctr" eaLnBrk="1" hangingPunct="1">
              <a:buAutoNum type="arabicPeriod"/>
              <a:defRPr/>
            </a:pPr>
            <a:r>
              <a:rPr lang="kk-KZ" altLang="ru-RU" sz="1200" b="1" i="1" dirty="0">
                <a:solidFill>
                  <a:schemeClr val="accent1">
                    <a:lumMod val="50000"/>
                  </a:schemeClr>
                </a:solidFill>
                <a:latin typeface="Arial" charset="0"/>
              </a:rPr>
              <a:t>Қызылорда – </a:t>
            </a:r>
            <a:r>
              <a:rPr lang="kk-KZ" altLang="ru-RU" sz="1200" b="1" i="1" dirty="0">
                <a:solidFill>
                  <a:srgbClr val="C00000"/>
                </a:solidFill>
                <a:latin typeface="Arial" charset="0"/>
              </a:rPr>
              <a:t>75%</a:t>
            </a:r>
          </a:p>
        </p:txBody>
      </p:sp>
      <p:sp>
        <p:nvSpPr>
          <p:cNvPr id="57" name="Прямоугольник 56"/>
          <p:cNvSpPr>
            <a:spLocks noChangeArrowheads="1"/>
          </p:cNvSpPr>
          <p:nvPr/>
        </p:nvSpPr>
        <p:spPr bwMode="auto">
          <a:xfrm>
            <a:off x="0" y="4636810"/>
            <a:ext cx="9577064" cy="478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2340" tIns="26171" rIns="52340" bIns="26171" anchor="ctr"/>
          <a:lstStyle/>
          <a:p>
            <a:pPr>
              <a:defRPr/>
            </a:pP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рытындысы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ормативтік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дағы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лдардың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лесі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85 %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ға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ін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ткізілетін</a:t>
            </a:r>
            <a:r>
              <a:rPr lang="ru-RU" altLang="ru-RU" sz="12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200" b="1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ады</a:t>
            </a:r>
            <a:endParaRPr lang="ru-RU" altLang="ru-RU" sz="1500" b="1" dirty="0">
              <a:solidFill>
                <a:srgbClr val="92D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/>
              <a:t>12</a:t>
            </a:r>
            <a:endParaRPr lang="ru-RU" dirty="0"/>
          </a:p>
        </p:txBody>
      </p:sp>
      <p:sp>
        <p:nvSpPr>
          <p:cNvPr id="60" name="Заголовок 5"/>
          <p:cNvSpPr>
            <a:spLocks/>
          </p:cNvSpPr>
          <p:nvPr/>
        </p:nvSpPr>
        <p:spPr bwMode="auto">
          <a:xfrm>
            <a:off x="0" y="19343"/>
            <a:ext cx="9144000" cy="297299"/>
          </a:xfrm>
          <a:prstGeom prst="roundRect">
            <a:avLst>
              <a:gd name="adj" fmla="val 8801"/>
            </a:avLst>
          </a:prstGeom>
          <a:solidFill>
            <a:schemeClr val="bg1"/>
          </a:solidFill>
          <a:ln>
            <a:noFill/>
          </a:ln>
        </p:spPr>
        <p:txBody>
          <a:bodyPr lIns="110087" tIns="55043" rIns="110087" bIns="55043" anchor="ctr"/>
          <a:lstStyle/>
          <a:p>
            <a:pPr algn="ctr"/>
            <a:r>
              <a:rPr lang="kk-KZ" alt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ЖЕРГІЛІКТІ ЖОЛДАР ЖЕЛІСІНІҢ ЖАҒДАЙЫ</a:t>
            </a:r>
            <a:endParaRPr lang="ru-RU" altLang="ru-RU" sz="1500" b="1" dirty="0">
              <a:solidFill>
                <a:srgbClr val="1F497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321" y="297799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941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FEE9A051-0397-3A54-643A-1C6029ABC2A4}"/>
              </a:ext>
            </a:extLst>
          </p:cNvPr>
          <p:cNvSpPr/>
          <p:nvPr/>
        </p:nvSpPr>
        <p:spPr>
          <a:xfrm>
            <a:off x="239933" y="1278247"/>
            <a:ext cx="8143372" cy="54322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ұмыс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сапасының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сараптамасымен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қамту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: 	</a:t>
            </a:r>
            <a:r>
              <a:rPr lang="ru-RU" altLang="ru-RU" sz="1400" b="1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alt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желі</a:t>
            </a:r>
            <a:r>
              <a:rPr lang="ru-RU" alt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РЖ)</a:t>
            </a:r>
            <a:r>
              <a:rPr lang="ru-RU" altLang="ru-RU" sz="1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– 100 % 					</a:t>
            </a:r>
            <a:r>
              <a:rPr lang="ru-RU" altLang="ru-RU" sz="1400" b="1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Жергілікті</a:t>
            </a:r>
            <a:r>
              <a:rPr lang="ru-RU" alt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желі</a:t>
            </a:r>
            <a:r>
              <a:rPr lang="ru-RU" altLang="ru-RU" sz="14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(ЖЖ)</a:t>
            </a:r>
            <a:r>
              <a:rPr lang="ru-RU" altLang="ru-RU" sz="1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– 90%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665A80EF-973D-F7D3-EEB4-8EBE251DC4D7}"/>
              </a:ext>
            </a:extLst>
          </p:cNvPr>
          <p:cNvSpPr/>
          <p:nvPr/>
        </p:nvSpPr>
        <p:spPr>
          <a:xfrm>
            <a:off x="100705" y="1843137"/>
            <a:ext cx="8856000" cy="381579"/>
          </a:xfrm>
          <a:prstGeom prst="rect">
            <a:avLst/>
          </a:prstGeom>
          <a:noFill/>
          <a:ln w="19050">
            <a:noFill/>
            <a:prstDash val="dash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68580" tIns="34290" rIns="68580" bIns="34290">
            <a:spAutoFit/>
          </a:bodyPr>
          <a:lstStyle/>
          <a:p>
            <a:pPr>
              <a:lnSpc>
                <a:spcPct val="110000"/>
              </a:lnSpc>
            </a:pPr>
            <a:r>
              <a:rPr lang="ru-RU" altLang="ru-RU" sz="1600" b="1" u="sng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Автожол</a:t>
            </a:r>
            <a:r>
              <a:rPr lang="ru-RU" altLang="ru-RU" sz="1600" b="1" u="sng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600" b="1" u="sng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объектілеріне</a:t>
            </a:r>
            <a:r>
              <a:rPr lang="ru-RU" altLang="ru-RU" sz="1600" b="1" u="sng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 208 </a:t>
            </a:r>
            <a:r>
              <a:rPr lang="ru-RU" altLang="ru-RU" sz="1600" b="1" u="sng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шығу</a:t>
            </a:r>
            <a:r>
              <a:rPr lang="ru-RU" altLang="ru-RU" sz="1600" b="1" u="sng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600" b="1" u="sng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үргізілді</a:t>
            </a:r>
            <a:r>
              <a:rPr lang="ru-RU" altLang="ru-RU" sz="1600" b="1" u="sng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altLang="ru-RU" sz="1600" b="1" u="sng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анықталды</a:t>
            </a:r>
            <a:r>
              <a:rPr lang="ru-RU" altLang="ru-RU" sz="1600" b="1" u="sng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:</a:t>
            </a:r>
            <a:endParaRPr lang="ru-RU" altLang="ru-RU" sz="1600" b="1" i="1" u="sng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56AB88AC-8CF9-DBD7-A0B3-F1F5D7782F20}"/>
              </a:ext>
            </a:extLst>
          </p:cNvPr>
          <p:cNvSpPr/>
          <p:nvPr/>
        </p:nvSpPr>
        <p:spPr>
          <a:xfrm>
            <a:off x="-1" y="0"/>
            <a:ext cx="9144000" cy="5280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altLang="ru-RU" sz="1600" b="1" dirty="0">
                <a:solidFill>
                  <a:srgbClr val="1F497D">
                    <a:lumMod val="75000"/>
                  </a:srgbClr>
                </a:solidFill>
                <a:latin typeface="Arial" pitchFamily="34" charset="0"/>
              </a:rPr>
              <a:t>9 АЙДАҒЫ ЖҰМЫС САПАСЫН БАҚЫЛАУ НӘТИЖЕЛЕРІ</a:t>
            </a:r>
          </a:p>
        </p:txBody>
      </p:sp>
      <p:sp>
        <p:nvSpPr>
          <p:cNvPr id="13" name="Пятиугольник 38">
            <a:extLst>
              <a:ext uri="{FF2B5EF4-FFF2-40B4-BE49-F238E27FC236}">
                <a16:creationId xmlns:a16="http://schemas.microsoft.com/office/drawing/2014/main" id="{CB4403F8-788E-45AE-809C-F79D06C0C822}"/>
              </a:ext>
            </a:extLst>
          </p:cNvPr>
          <p:cNvSpPr/>
          <p:nvPr/>
        </p:nvSpPr>
        <p:spPr>
          <a:xfrm>
            <a:off x="867870" y="564210"/>
            <a:ext cx="7981417" cy="570908"/>
          </a:xfrm>
          <a:prstGeom prst="homePlate">
            <a:avLst>
              <a:gd name="adj" fmla="val 0"/>
            </a:avLst>
          </a:prstGeom>
          <a:noFill/>
          <a:ln w="19050" cap="flat" cmpd="sng" algn="ctr">
            <a:solidFill>
              <a:srgbClr val="002060"/>
            </a:solidFill>
            <a:prstDash val="dash"/>
          </a:ln>
          <a:effectLst/>
        </p:spPr>
        <p:txBody>
          <a:bodyPr lIns="87779" tIns="43889" rIns="87779" bIns="43889" spcCol="0" rtlCol="0" anchor="ctr"/>
          <a:lstStyle/>
          <a:p>
            <a:pPr algn="ctr">
              <a:lnSpc>
                <a:spcPct val="110000"/>
              </a:lnSpc>
            </a:pPr>
            <a:r>
              <a:rPr lang="ru-RU" altLang="ru-RU" sz="16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АЛПЫ ПАЙДАЛАНУ ЖЕЛІСІНІҢ ЖАЛПЫ ҰЗЫНДЫҒЫ - </a:t>
            </a:r>
            <a:r>
              <a:rPr lang="ru-RU" alt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57 </a:t>
            </a:r>
            <a:r>
              <a:rPr lang="ru-RU" altLang="ru-RU" sz="16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ың.км</a:t>
            </a:r>
            <a:endParaRPr lang="ru-RU" altLang="ru-RU" sz="1600" b="1" dirty="0">
              <a:solidFill>
                <a:srgbClr val="203864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ол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alt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25 </a:t>
            </a:r>
            <a:r>
              <a:rPr lang="ru-RU" altLang="ru-RU" sz="16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ың.км</a:t>
            </a:r>
            <a:r>
              <a:rPr lang="ru-RU" alt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ергілікті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ол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altLang="ru-RU" sz="14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dirty="0" err="1" smtClean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көшелер</a:t>
            </a:r>
            <a:r>
              <a:rPr lang="ru-RU" altLang="ru-RU" sz="1400" b="1" dirty="0" smtClean="0">
                <a:solidFill>
                  <a:srgbClr val="203864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altLang="ru-RU" sz="16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32 </a:t>
            </a:r>
            <a:r>
              <a:rPr lang="ru-RU" altLang="ru-RU" sz="16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ың.км</a:t>
            </a:r>
            <a:endParaRPr lang="ru-RU" altLang="ru-RU" sz="16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4875" y="2991179"/>
            <a:ext cx="9071136" cy="208518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ru-RU" sz="2000" b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нған</a:t>
            </a:r>
            <a:r>
              <a:rPr lang="ru-RU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u="sng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2000" b="1" u="sng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endParaRPr lang="ru-RU" sz="700" b="1" u="sng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дігер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ған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млрд. </a:t>
            </a:r>
            <a:r>
              <a:rPr lang="ru-RU" altLang="ru-RU" sz="20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altLang="ru-RU" sz="20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ға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ппұл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,3 млн. </a:t>
            </a:r>
            <a:r>
              <a:rPr lang="ru-RU" sz="20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20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женерлік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і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ru-RU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тестат</a:t>
            </a:r>
            <a:r>
              <a:rPr lang="ru-RU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ылды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indent="-214313">
              <a:lnSpc>
                <a:spcPct val="130000"/>
              </a:lnSpc>
              <a:buClr>
                <a:srgbClr val="00B050"/>
              </a:buClr>
              <a:buFont typeface="Wingdings" pitchFamily="2" charset="2"/>
              <a:buChar char="Ø"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МЖ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цензиясына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20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дігерлік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лды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15FED18-4B9E-A017-DD61-1FE5DF2A4794}"/>
              </a:ext>
            </a:extLst>
          </p:cNvPr>
          <p:cNvGrpSpPr/>
          <p:nvPr/>
        </p:nvGrpSpPr>
        <p:grpSpPr>
          <a:xfrm>
            <a:off x="100705" y="2403521"/>
            <a:ext cx="9062757" cy="774647"/>
            <a:chOff x="134273" y="3090394"/>
            <a:chExt cx="12083676" cy="1032862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65A80EF-973D-F7D3-EEB4-8EBE251DC4D7}"/>
                </a:ext>
              </a:extLst>
            </p:cNvPr>
            <p:cNvSpPr/>
            <p:nvPr/>
          </p:nvSpPr>
          <p:spPr>
            <a:xfrm>
              <a:off x="134273" y="3090394"/>
              <a:ext cx="4493828" cy="539550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ru-RU" altLang="ru-RU" sz="2000" b="1" dirty="0">
                  <a:solidFill>
                    <a:schemeClr val="accent2"/>
                  </a:solidFill>
                  <a:latin typeface="Arial" pitchFamily="34" charset="0"/>
                  <a:cs typeface="Arial" pitchFamily="34" charset="0"/>
                </a:rPr>
                <a:t>5 114 </a:t>
              </a:r>
              <a:r>
                <a:rPr lang="kk-KZ" altLang="ru-RU" sz="1600" b="1" dirty="0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бұзушылықтар</a:t>
              </a:r>
              <a:endParaRPr lang="ru-RU" altLang="ru-RU" sz="16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Стрелка вправо 14"/>
            <p:cNvSpPr/>
            <p:nvPr/>
          </p:nvSpPr>
          <p:spPr>
            <a:xfrm>
              <a:off x="3366952" y="3090599"/>
              <a:ext cx="591161" cy="617789"/>
            </a:xfrm>
            <a:prstGeom prst="rightArrow">
              <a:avLst>
                <a:gd name="adj1" fmla="val 50000"/>
                <a:gd name="adj2" fmla="val 45161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anchor="ctr"/>
            <a:lstStyle/>
            <a:p>
              <a:pPr algn="ctr"/>
              <a:endParaRPr lang="ru-RU" sz="11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665A80EF-973D-F7D3-EEB4-8EBE251DC4D7}"/>
                </a:ext>
              </a:extLst>
            </p:cNvPr>
            <p:cNvSpPr/>
            <p:nvPr/>
          </p:nvSpPr>
          <p:spPr>
            <a:xfrm>
              <a:off x="4116062" y="3117625"/>
              <a:ext cx="2980473" cy="539550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ru-RU" altLang="ru-RU" sz="2000" b="1" dirty="0">
                  <a:solidFill>
                    <a:srgbClr val="00B050"/>
                  </a:solidFill>
                  <a:latin typeface="Arial" pitchFamily="34" charset="0"/>
                  <a:cs typeface="Arial" pitchFamily="34" charset="0"/>
                </a:rPr>
                <a:t>2 904 </a:t>
              </a:r>
              <a:r>
                <a:rPr lang="kk-KZ" altLang="ru-RU" sz="1600" b="1" dirty="0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жойылды</a:t>
              </a:r>
              <a:endParaRPr lang="ru-RU" altLang="ru-RU" sz="16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8" name="Прямая соединительная линия 17"/>
            <p:cNvCxnSpPr/>
            <p:nvPr/>
          </p:nvCxnSpPr>
          <p:spPr>
            <a:xfrm flipH="1">
              <a:off x="4387133" y="3691256"/>
              <a:ext cx="324000" cy="432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 flipH="1">
              <a:off x="4387133" y="4123049"/>
              <a:ext cx="8511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665A80EF-973D-F7D3-EEB4-8EBE251DC4D7}"/>
                </a:ext>
              </a:extLst>
            </p:cNvPr>
            <p:cNvSpPr/>
            <p:nvPr/>
          </p:nvSpPr>
          <p:spPr>
            <a:xfrm>
              <a:off x="6751096" y="3107734"/>
              <a:ext cx="3245272" cy="539550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kk-KZ" altLang="ru-RU" sz="2000" b="1" dirty="0">
                  <a:solidFill>
                    <a:srgbClr val="FF0000"/>
                  </a:solidFill>
                  <a:latin typeface="Arial" pitchFamily="34" charset="0"/>
                  <a:cs typeface="Arial" pitchFamily="34" charset="0"/>
                </a:rPr>
                <a:t>245</a:t>
              </a:r>
              <a:r>
                <a:rPr lang="en-US" altLang="ru-RU" sz="1600" b="1" dirty="0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1600" b="1" dirty="0" err="1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жойылған</a:t>
              </a:r>
              <a:r>
                <a:rPr lang="ru-RU" altLang="ru-RU" sz="1600" b="1" dirty="0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1600" b="1" dirty="0" err="1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жоқ</a:t>
              </a:r>
              <a:endParaRPr lang="ru-RU" altLang="ru-RU" sz="1600" b="1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3" name="Прямая соединительная линия 22"/>
            <p:cNvCxnSpPr/>
            <p:nvPr/>
          </p:nvCxnSpPr>
          <p:spPr>
            <a:xfrm flipH="1">
              <a:off x="7109802" y="3701745"/>
              <a:ext cx="241912" cy="42130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 flipH="1">
              <a:off x="7109802" y="4123049"/>
              <a:ext cx="8511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Прямоугольник 2">
              <a:extLst>
                <a:ext uri="{FF2B5EF4-FFF2-40B4-BE49-F238E27FC236}">
                  <a16:creationId xmlns:a16="http://schemas.microsoft.com/office/drawing/2014/main" id="{346E2178-D847-13EF-C302-5D60D0B4C657}"/>
                </a:ext>
              </a:extLst>
            </p:cNvPr>
            <p:cNvSpPr/>
            <p:nvPr/>
          </p:nvSpPr>
          <p:spPr>
            <a:xfrm>
              <a:off x="9465005" y="3097875"/>
              <a:ext cx="2752944" cy="539551"/>
            </a:xfrm>
            <a:prstGeom prst="rect">
              <a:avLst/>
            </a:prstGeom>
            <a:noFill/>
            <a:ln>
              <a:noFill/>
              <a:prstDash val="dash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pPr>
                <a:lnSpc>
                  <a:spcPct val="110000"/>
                </a:lnSpc>
              </a:pPr>
              <a:r>
                <a:rPr lang="ru-RU" altLang="ru-RU" sz="2000" b="1" dirty="0">
                  <a:solidFill>
                    <a:srgbClr val="0070C0"/>
                  </a:solidFill>
                  <a:latin typeface="Arial" pitchFamily="34" charset="0"/>
                  <a:cs typeface="Arial" pitchFamily="34" charset="0"/>
                </a:rPr>
                <a:t> 1 965 </a:t>
              </a:r>
              <a:r>
                <a:rPr lang="ru-RU" altLang="ru-RU" sz="1600" b="1" dirty="0" err="1">
                  <a:solidFill>
                    <a:srgbClr val="203864"/>
                  </a:solidFill>
                  <a:latin typeface="Arial" pitchFamily="34" charset="0"/>
                  <a:cs typeface="Arial" pitchFamily="34" charset="0"/>
                </a:rPr>
                <a:t>жұмыста</a:t>
              </a:r>
              <a:endParaRPr lang="ru-RU" altLang="ru-RU" sz="1600" b="1" dirty="0">
                <a:solidFill>
                  <a:srgbClr val="203864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3E89959C-7E03-160F-07E3-F8F0E9285B40}"/>
                </a:ext>
              </a:extLst>
            </p:cNvPr>
            <p:cNvCxnSpPr/>
            <p:nvPr/>
          </p:nvCxnSpPr>
          <p:spPr>
            <a:xfrm flipH="1">
              <a:off x="9750383" y="3696604"/>
              <a:ext cx="241912" cy="421304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>
              <a:extLst>
                <a:ext uri="{FF2B5EF4-FFF2-40B4-BE49-F238E27FC236}">
                  <a16:creationId xmlns:a16="http://schemas.microsoft.com/office/drawing/2014/main" id="{C2EA9F9A-E4DA-B1CE-B868-7BF5F1ED3241}"/>
                </a:ext>
              </a:extLst>
            </p:cNvPr>
            <p:cNvCxnSpPr/>
            <p:nvPr/>
          </p:nvCxnSpPr>
          <p:spPr>
            <a:xfrm flipH="1">
              <a:off x="9751228" y="4117908"/>
              <a:ext cx="851138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Нашивка 24"/>
          <p:cNvSpPr/>
          <p:nvPr/>
        </p:nvSpPr>
        <p:spPr>
          <a:xfrm>
            <a:off x="317811" y="589209"/>
            <a:ext cx="437765" cy="515291"/>
          </a:xfrm>
          <a:prstGeom prst="chevron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1600">
              <a:solidFill>
                <a:schemeClr val="tx1"/>
              </a:solidFill>
            </a:endParaRPr>
          </a:p>
        </p:txBody>
      </p:sp>
      <p:sp>
        <p:nvSpPr>
          <p:cNvPr id="26" name="Нашивка 25"/>
          <p:cNvSpPr/>
          <p:nvPr/>
        </p:nvSpPr>
        <p:spPr>
          <a:xfrm>
            <a:off x="533835" y="587858"/>
            <a:ext cx="437765" cy="515291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1600">
              <a:solidFill>
                <a:schemeClr val="tx1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>
            <a:off x="749859" y="589209"/>
            <a:ext cx="437765" cy="515291"/>
          </a:xfrm>
          <a:prstGeom prst="chevr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sz="1600">
              <a:solidFill>
                <a:schemeClr val="tx1"/>
              </a:solidFill>
            </a:endParaRPr>
          </a:p>
        </p:txBody>
      </p:sp>
      <p:pic>
        <p:nvPicPr>
          <p:cNvPr id="29" name="Рисунок 134"/>
          <p:cNvPicPr>
            <a:picLocks noChangeAspect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8120372" y="1813463"/>
            <a:ext cx="488861" cy="455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FD7607ED-A854-429F-A3A2-7697A15CB50D}"/>
              </a:ext>
            </a:extLst>
          </p:cNvPr>
          <p:cNvSpPr txBox="1"/>
          <p:nvPr/>
        </p:nvSpPr>
        <p:spPr>
          <a:xfrm>
            <a:off x="3225229" y="2922272"/>
            <a:ext cx="937196" cy="315471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7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D7607ED-A854-429F-A3A2-7697A15CB50D}"/>
              </a:ext>
            </a:extLst>
          </p:cNvPr>
          <p:cNvSpPr txBox="1"/>
          <p:nvPr/>
        </p:nvSpPr>
        <p:spPr>
          <a:xfrm>
            <a:off x="5223043" y="2913656"/>
            <a:ext cx="937196" cy="315471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D7607ED-A854-429F-A3A2-7697A15CB50D}"/>
              </a:ext>
            </a:extLst>
          </p:cNvPr>
          <p:cNvSpPr txBox="1"/>
          <p:nvPr/>
        </p:nvSpPr>
        <p:spPr>
          <a:xfrm>
            <a:off x="7236284" y="2904904"/>
            <a:ext cx="937196" cy="315471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8%</a:t>
            </a:r>
          </a:p>
        </p:txBody>
      </p:sp>
      <p:sp>
        <p:nvSpPr>
          <p:cNvPr id="30" name="TextBox 77">
            <a:extLst>
              <a:ext uri="{FF2B5EF4-FFF2-40B4-BE49-F238E27FC236}">
                <a16:creationId xmlns:a16="http://schemas.microsoft.com/office/drawing/2014/main" id="{A186856B-9CF9-417D-920A-5309524DCB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464" y="4922044"/>
            <a:ext cx="426493" cy="253916"/>
          </a:xfrm>
          <a:prstGeom prst="rect">
            <a:avLst/>
          </a:prstGeom>
        </p:spPr>
        <p:txBody>
          <a:bodyPr vert="horz" lIns="91336" tIns="45666" rIns="91336" bIns="45666" rtlCol="0" anchor="ctr">
            <a:noAutofit/>
          </a:bodyPr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x-none" sz="1100" dirty="0"/>
              <a:t>1</a:t>
            </a:r>
            <a:r>
              <a:rPr lang="kk-KZ" altLang="x-none" sz="1100" dirty="0"/>
              <a:t>3</a:t>
            </a:r>
            <a:endParaRPr lang="x-none" altLang="x-none" sz="1100" dirty="0"/>
          </a:p>
        </p:txBody>
      </p:sp>
    </p:spTree>
    <p:extLst>
      <p:ext uri="{BB962C8B-B14F-4D97-AF65-F5344CB8AC3E}">
        <p14:creationId xmlns:p14="http://schemas.microsoft.com/office/powerpoint/2010/main" val="104302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9" name="Рисунок 298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183" y="446860"/>
            <a:ext cx="8504289" cy="4292595"/>
          </a:xfrm>
          <a:prstGeom prst="rect">
            <a:avLst/>
          </a:prstGeom>
          <a:noFill/>
          <a:ln w="9525">
            <a:noFill/>
            <a:prstDash val="dash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35056" y="446859"/>
            <a:ext cx="42840" cy="43421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69740" tIns="34884" rIns="69740" bIns="34884" anchor="ctr"/>
          <a:lstStyle/>
          <a:p>
            <a:pPr algn="ctr" defTabSz="697415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82" name="Прямая соединительная линия 281"/>
          <p:cNvCxnSpPr/>
          <p:nvPr/>
        </p:nvCxnSpPr>
        <p:spPr>
          <a:xfrm rot="10800000" flipH="1" flipV="1">
            <a:off x="5159571" y="4557631"/>
            <a:ext cx="560599" cy="251"/>
          </a:xfrm>
          <a:prstGeom prst="line">
            <a:avLst/>
          </a:prstGeom>
          <a:solidFill>
            <a:srgbClr val="00B050"/>
          </a:solidFill>
          <a:ln w="15875">
            <a:solidFill>
              <a:schemeClr val="bg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8" name="Google Shape;190;p5">
            <a:extLst>
              <a:ext uri="{FF2B5EF4-FFF2-40B4-BE49-F238E27FC236}">
                <a16:creationId xmlns:a16="http://schemas.microsoft.com/office/drawing/2014/main" id="{253C62D8-AA5F-4A6E-8F4B-F6B4BB75C576}"/>
              </a:ext>
            </a:extLst>
          </p:cNvPr>
          <p:cNvSpPr txBox="1"/>
          <p:nvPr/>
        </p:nvSpPr>
        <p:spPr>
          <a:xfrm>
            <a:off x="1391358" y="13561"/>
            <a:ext cx="5988954" cy="2767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45694" tIns="45694" rIns="45694" bIns="45694" anchor="t" anchorCtr="0">
            <a:noAutofit/>
          </a:bodyPr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ЫЛЫ ЖОЛ УЧАСКЕЛЕРІН ЕНГІЗУ ЖОСПАРЛАРЫ</a:t>
            </a:r>
          </a:p>
        </p:txBody>
      </p:sp>
      <p:sp>
        <p:nvSpPr>
          <p:cNvPr id="403" name="Полилиния 402"/>
          <p:cNvSpPr/>
          <p:nvPr/>
        </p:nvSpPr>
        <p:spPr bwMode="auto">
          <a:xfrm>
            <a:off x="6754835" y="3450048"/>
            <a:ext cx="747960" cy="359830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76200">
            <a:solidFill>
              <a:srgbClr val="00B05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4" name="Полилиния 403"/>
          <p:cNvSpPr/>
          <p:nvPr/>
        </p:nvSpPr>
        <p:spPr bwMode="auto">
          <a:xfrm>
            <a:off x="2353914" y="1863103"/>
            <a:ext cx="177148" cy="153390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solidFill>
            <a:srgbClr val="00B050"/>
          </a:solidFill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5" name="Полилиния 404"/>
          <p:cNvSpPr/>
          <p:nvPr/>
        </p:nvSpPr>
        <p:spPr bwMode="auto">
          <a:xfrm>
            <a:off x="2343502" y="1876444"/>
            <a:ext cx="173675" cy="153388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8" name="Полилиния 407"/>
          <p:cNvSpPr/>
          <p:nvPr/>
        </p:nvSpPr>
        <p:spPr bwMode="auto">
          <a:xfrm>
            <a:off x="5932773" y="1180347"/>
            <a:ext cx="407558" cy="34368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09" name="Полилиния 408"/>
          <p:cNvSpPr/>
          <p:nvPr/>
        </p:nvSpPr>
        <p:spPr bwMode="auto">
          <a:xfrm>
            <a:off x="5920275" y="1192837"/>
            <a:ext cx="407558" cy="343685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0" name="Полилиния 409"/>
          <p:cNvSpPr/>
          <p:nvPr/>
        </p:nvSpPr>
        <p:spPr bwMode="auto">
          <a:xfrm>
            <a:off x="4839778" y="973905"/>
            <a:ext cx="75260" cy="416343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2" name="Полилиния 411"/>
          <p:cNvSpPr/>
          <p:nvPr/>
        </p:nvSpPr>
        <p:spPr bwMode="auto">
          <a:xfrm>
            <a:off x="4826624" y="999424"/>
            <a:ext cx="75260" cy="386355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3" name="Блок-схема: узел 412"/>
          <p:cNvSpPr/>
          <p:nvPr/>
        </p:nvSpPr>
        <p:spPr bwMode="auto">
          <a:xfrm>
            <a:off x="3806992" y="1376409"/>
            <a:ext cx="83364" cy="66891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4" name="Полилиния 413"/>
          <p:cNvSpPr/>
          <p:nvPr/>
        </p:nvSpPr>
        <p:spPr bwMode="auto">
          <a:xfrm>
            <a:off x="1854191" y="3233112"/>
            <a:ext cx="147045" cy="152236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15" name="Полилиния 414"/>
          <p:cNvSpPr/>
          <p:nvPr/>
        </p:nvSpPr>
        <p:spPr bwMode="auto">
          <a:xfrm>
            <a:off x="1865124" y="3271832"/>
            <a:ext cx="148203" cy="152236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420" name="Блок-схема: узел 419"/>
          <p:cNvSpPr/>
          <p:nvPr/>
        </p:nvSpPr>
        <p:spPr bwMode="auto">
          <a:xfrm>
            <a:off x="1212286" y="2609287"/>
            <a:ext cx="85680" cy="65738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4" name="Блок-схема: узел 423"/>
          <p:cNvSpPr/>
          <p:nvPr/>
        </p:nvSpPr>
        <p:spPr bwMode="auto">
          <a:xfrm>
            <a:off x="2473170" y="1993426"/>
            <a:ext cx="84521" cy="65738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6" name="Полилиния 425"/>
          <p:cNvSpPr/>
          <p:nvPr/>
        </p:nvSpPr>
        <p:spPr bwMode="auto">
          <a:xfrm>
            <a:off x="7038508" y="1896546"/>
            <a:ext cx="389033" cy="243347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7" name="Полилиния 426"/>
          <p:cNvSpPr/>
          <p:nvPr/>
        </p:nvSpPr>
        <p:spPr bwMode="auto">
          <a:xfrm>
            <a:off x="7038288" y="1914654"/>
            <a:ext cx="364717" cy="231814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8" name="Полилиния 427"/>
          <p:cNvSpPr/>
          <p:nvPr/>
        </p:nvSpPr>
        <p:spPr bwMode="auto">
          <a:xfrm>
            <a:off x="6351909" y="1533256"/>
            <a:ext cx="67154" cy="66891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9" name="Полилиния 428"/>
          <p:cNvSpPr/>
          <p:nvPr/>
        </p:nvSpPr>
        <p:spPr bwMode="auto">
          <a:xfrm>
            <a:off x="6357698" y="1540176"/>
            <a:ext cx="67154" cy="68045"/>
          </a:xfrm>
          <a:custGeom>
            <a:avLst/>
            <a:gdLst>
              <a:gd name="connsiteX0" fmla="*/ 0 w 72362"/>
              <a:gd name="connsiteY0" fmla="*/ 0 h 88809"/>
              <a:gd name="connsiteX1" fmla="*/ 29603 w 72362"/>
              <a:gd name="connsiteY1" fmla="*/ 42760 h 88809"/>
              <a:gd name="connsiteX2" fmla="*/ 52627 w 72362"/>
              <a:gd name="connsiteY2" fmla="*/ 69074 h 88809"/>
              <a:gd name="connsiteX3" fmla="*/ 72362 w 72362"/>
              <a:gd name="connsiteY3" fmla="*/ 88809 h 88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2362" h="88809">
                <a:moveTo>
                  <a:pt x="0" y="0"/>
                </a:moveTo>
                <a:cubicBezTo>
                  <a:pt x="10416" y="15624"/>
                  <a:pt x="20832" y="31248"/>
                  <a:pt x="29603" y="42760"/>
                </a:cubicBezTo>
                <a:cubicBezTo>
                  <a:pt x="38374" y="54272"/>
                  <a:pt x="45500" y="61399"/>
                  <a:pt x="52627" y="69074"/>
                </a:cubicBezTo>
                <a:cubicBezTo>
                  <a:pt x="59754" y="76749"/>
                  <a:pt x="66058" y="82779"/>
                  <a:pt x="72362" y="88809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7" name="Полилиния 436"/>
          <p:cNvSpPr/>
          <p:nvPr/>
        </p:nvSpPr>
        <p:spPr bwMode="auto">
          <a:xfrm>
            <a:off x="6366431" y="1552459"/>
            <a:ext cx="397669" cy="193004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8" name="Полилиния 437"/>
          <p:cNvSpPr/>
          <p:nvPr/>
        </p:nvSpPr>
        <p:spPr bwMode="auto">
          <a:xfrm>
            <a:off x="6379719" y="1598382"/>
            <a:ext cx="348508" cy="149929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9" name="Полилиния 438"/>
          <p:cNvSpPr/>
          <p:nvPr/>
        </p:nvSpPr>
        <p:spPr bwMode="auto">
          <a:xfrm>
            <a:off x="6754836" y="1740851"/>
            <a:ext cx="283670" cy="155697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0" name="Полилиния 439"/>
          <p:cNvSpPr/>
          <p:nvPr/>
        </p:nvSpPr>
        <p:spPr bwMode="auto">
          <a:xfrm>
            <a:off x="6739794" y="1748953"/>
            <a:ext cx="283670" cy="159157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1" name="Полилиния 440"/>
          <p:cNvSpPr/>
          <p:nvPr/>
        </p:nvSpPr>
        <p:spPr bwMode="auto">
          <a:xfrm>
            <a:off x="6239603" y="1526336"/>
            <a:ext cx="77574" cy="70352"/>
          </a:xfrm>
          <a:custGeom>
            <a:avLst/>
            <a:gdLst>
              <a:gd name="connsiteX0" fmla="*/ 82550 w 82550"/>
              <a:gd name="connsiteY0" fmla="*/ 0 h 92075"/>
              <a:gd name="connsiteX1" fmla="*/ 22225 w 82550"/>
              <a:gd name="connsiteY1" fmla="*/ 73025 h 92075"/>
              <a:gd name="connsiteX2" fmla="*/ 6350 w 82550"/>
              <a:gd name="connsiteY2" fmla="*/ 82550 h 92075"/>
              <a:gd name="connsiteX3" fmla="*/ 0 w 82550"/>
              <a:gd name="connsiteY3" fmla="*/ 92075 h 92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550" h="92075">
                <a:moveTo>
                  <a:pt x="82550" y="0"/>
                </a:moveTo>
                <a:cubicBezTo>
                  <a:pt x="58737" y="29633"/>
                  <a:pt x="34925" y="59267"/>
                  <a:pt x="22225" y="73025"/>
                </a:cubicBezTo>
                <a:cubicBezTo>
                  <a:pt x="9525" y="86783"/>
                  <a:pt x="6350" y="82550"/>
                  <a:pt x="6350" y="82550"/>
                </a:cubicBezTo>
                <a:cubicBezTo>
                  <a:pt x="2646" y="85725"/>
                  <a:pt x="1323" y="88900"/>
                  <a:pt x="0" y="92075"/>
                </a:cubicBezTo>
              </a:path>
            </a:pathLst>
          </a:cu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2" name="Полилиния 441"/>
          <p:cNvSpPr/>
          <p:nvPr/>
        </p:nvSpPr>
        <p:spPr bwMode="auto">
          <a:xfrm>
            <a:off x="5791517" y="1589769"/>
            <a:ext cx="453871" cy="156849"/>
          </a:xfrm>
          <a:custGeom>
            <a:avLst/>
            <a:gdLst>
              <a:gd name="connsiteX0" fmla="*/ 488950 w 488950"/>
              <a:gd name="connsiteY0" fmla="*/ 0 h 206375"/>
              <a:gd name="connsiteX1" fmla="*/ 425450 w 488950"/>
              <a:gd name="connsiteY1" fmla="*/ 60325 h 206375"/>
              <a:gd name="connsiteX2" fmla="*/ 396875 w 488950"/>
              <a:gd name="connsiteY2" fmla="*/ 82550 h 206375"/>
              <a:gd name="connsiteX3" fmla="*/ 355600 w 488950"/>
              <a:gd name="connsiteY3" fmla="*/ 101600 h 206375"/>
              <a:gd name="connsiteX4" fmla="*/ 307975 w 488950"/>
              <a:gd name="connsiteY4" fmla="*/ 127000 h 206375"/>
              <a:gd name="connsiteX5" fmla="*/ 260350 w 488950"/>
              <a:gd name="connsiteY5" fmla="*/ 152400 h 206375"/>
              <a:gd name="connsiteX6" fmla="*/ 212725 w 488950"/>
              <a:gd name="connsiteY6" fmla="*/ 165100 h 206375"/>
              <a:gd name="connsiteX7" fmla="*/ 161925 w 488950"/>
              <a:gd name="connsiteY7" fmla="*/ 174625 h 206375"/>
              <a:gd name="connsiteX8" fmla="*/ 127000 w 488950"/>
              <a:gd name="connsiteY8" fmla="*/ 174625 h 206375"/>
              <a:gd name="connsiteX9" fmla="*/ 95250 w 488950"/>
              <a:gd name="connsiteY9" fmla="*/ 168275 h 206375"/>
              <a:gd name="connsiteX10" fmla="*/ 73025 w 488950"/>
              <a:gd name="connsiteY10" fmla="*/ 174625 h 206375"/>
              <a:gd name="connsiteX11" fmla="*/ 57150 w 488950"/>
              <a:gd name="connsiteY11" fmla="*/ 187325 h 206375"/>
              <a:gd name="connsiteX12" fmla="*/ 22225 w 488950"/>
              <a:gd name="connsiteY12" fmla="*/ 200025 h 206375"/>
              <a:gd name="connsiteX13" fmla="*/ 0 w 488950"/>
              <a:gd name="connsiteY13" fmla="*/ 206375 h 206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88950" h="206375">
                <a:moveTo>
                  <a:pt x="488950" y="0"/>
                </a:moveTo>
                <a:cubicBezTo>
                  <a:pt x="464873" y="23283"/>
                  <a:pt x="440796" y="46567"/>
                  <a:pt x="425450" y="60325"/>
                </a:cubicBezTo>
                <a:cubicBezTo>
                  <a:pt x="410104" y="74083"/>
                  <a:pt x="408517" y="75671"/>
                  <a:pt x="396875" y="82550"/>
                </a:cubicBezTo>
                <a:cubicBezTo>
                  <a:pt x="385233" y="89429"/>
                  <a:pt x="370417" y="94192"/>
                  <a:pt x="355600" y="101600"/>
                </a:cubicBezTo>
                <a:cubicBezTo>
                  <a:pt x="340783" y="109008"/>
                  <a:pt x="307975" y="127000"/>
                  <a:pt x="307975" y="127000"/>
                </a:cubicBezTo>
                <a:cubicBezTo>
                  <a:pt x="292100" y="135467"/>
                  <a:pt x="276225" y="146050"/>
                  <a:pt x="260350" y="152400"/>
                </a:cubicBezTo>
                <a:cubicBezTo>
                  <a:pt x="244475" y="158750"/>
                  <a:pt x="229129" y="161396"/>
                  <a:pt x="212725" y="165100"/>
                </a:cubicBezTo>
                <a:cubicBezTo>
                  <a:pt x="196321" y="168804"/>
                  <a:pt x="176212" y="173038"/>
                  <a:pt x="161925" y="174625"/>
                </a:cubicBezTo>
                <a:cubicBezTo>
                  <a:pt x="147638" y="176212"/>
                  <a:pt x="138112" y="175683"/>
                  <a:pt x="127000" y="174625"/>
                </a:cubicBezTo>
                <a:cubicBezTo>
                  <a:pt x="115888" y="173567"/>
                  <a:pt x="104246" y="168275"/>
                  <a:pt x="95250" y="168275"/>
                </a:cubicBezTo>
                <a:cubicBezTo>
                  <a:pt x="86254" y="168275"/>
                  <a:pt x="79375" y="171450"/>
                  <a:pt x="73025" y="174625"/>
                </a:cubicBezTo>
                <a:cubicBezTo>
                  <a:pt x="66675" y="177800"/>
                  <a:pt x="65617" y="183092"/>
                  <a:pt x="57150" y="187325"/>
                </a:cubicBezTo>
                <a:cubicBezTo>
                  <a:pt x="48683" y="191558"/>
                  <a:pt x="31750" y="196850"/>
                  <a:pt x="22225" y="200025"/>
                </a:cubicBezTo>
                <a:cubicBezTo>
                  <a:pt x="12700" y="203200"/>
                  <a:pt x="6350" y="204787"/>
                  <a:pt x="0" y="206375"/>
                </a:cubicBezTo>
              </a:path>
            </a:pathLst>
          </a:cu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3" name="Полилиния 442"/>
          <p:cNvSpPr/>
          <p:nvPr/>
        </p:nvSpPr>
        <p:spPr bwMode="auto">
          <a:xfrm>
            <a:off x="5327228" y="1746619"/>
            <a:ext cx="470081" cy="159157"/>
          </a:xfrm>
          <a:custGeom>
            <a:avLst/>
            <a:gdLst>
              <a:gd name="connsiteX0" fmla="*/ 504825 w 504825"/>
              <a:gd name="connsiteY0" fmla="*/ 0 h 209550"/>
              <a:gd name="connsiteX1" fmla="*/ 438150 w 504825"/>
              <a:gd name="connsiteY1" fmla="*/ 34925 h 209550"/>
              <a:gd name="connsiteX2" fmla="*/ 403225 w 504825"/>
              <a:gd name="connsiteY2" fmla="*/ 41275 h 209550"/>
              <a:gd name="connsiteX3" fmla="*/ 361950 w 504825"/>
              <a:gd name="connsiteY3" fmla="*/ 38100 h 209550"/>
              <a:gd name="connsiteX4" fmla="*/ 339725 w 504825"/>
              <a:gd name="connsiteY4" fmla="*/ 31750 h 209550"/>
              <a:gd name="connsiteX5" fmla="*/ 288925 w 504825"/>
              <a:gd name="connsiteY5" fmla="*/ 9525 h 209550"/>
              <a:gd name="connsiteX6" fmla="*/ 257175 w 504825"/>
              <a:gd name="connsiteY6" fmla="*/ 0 h 209550"/>
              <a:gd name="connsiteX7" fmla="*/ 238125 w 504825"/>
              <a:gd name="connsiteY7" fmla="*/ 9525 h 209550"/>
              <a:gd name="connsiteX8" fmla="*/ 184150 w 504825"/>
              <a:gd name="connsiteY8" fmla="*/ 19050 h 209550"/>
              <a:gd name="connsiteX9" fmla="*/ 155575 w 504825"/>
              <a:gd name="connsiteY9" fmla="*/ 41275 h 209550"/>
              <a:gd name="connsiteX10" fmla="*/ 111125 w 504825"/>
              <a:gd name="connsiteY10" fmla="*/ 76200 h 209550"/>
              <a:gd name="connsiteX11" fmla="*/ 92075 w 504825"/>
              <a:gd name="connsiteY11" fmla="*/ 107950 h 209550"/>
              <a:gd name="connsiteX12" fmla="*/ 69850 w 504825"/>
              <a:gd name="connsiteY12" fmla="*/ 139700 h 209550"/>
              <a:gd name="connsiteX13" fmla="*/ 47625 w 504825"/>
              <a:gd name="connsiteY13" fmla="*/ 171450 h 209550"/>
              <a:gd name="connsiteX14" fmla="*/ 19050 w 504825"/>
              <a:gd name="connsiteY14" fmla="*/ 190500 h 209550"/>
              <a:gd name="connsiteX15" fmla="*/ 0 w 504825"/>
              <a:gd name="connsiteY15" fmla="*/ 209550 h 20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4825" h="209550">
                <a:moveTo>
                  <a:pt x="504825" y="0"/>
                </a:moveTo>
                <a:cubicBezTo>
                  <a:pt x="479954" y="14023"/>
                  <a:pt x="455083" y="28046"/>
                  <a:pt x="438150" y="34925"/>
                </a:cubicBezTo>
                <a:cubicBezTo>
                  <a:pt x="421217" y="41804"/>
                  <a:pt x="415925" y="40746"/>
                  <a:pt x="403225" y="41275"/>
                </a:cubicBezTo>
                <a:cubicBezTo>
                  <a:pt x="390525" y="41804"/>
                  <a:pt x="372533" y="39688"/>
                  <a:pt x="361950" y="38100"/>
                </a:cubicBezTo>
                <a:cubicBezTo>
                  <a:pt x="351367" y="36513"/>
                  <a:pt x="351896" y="36512"/>
                  <a:pt x="339725" y="31750"/>
                </a:cubicBezTo>
                <a:cubicBezTo>
                  <a:pt x="327554" y="26988"/>
                  <a:pt x="302683" y="14817"/>
                  <a:pt x="288925" y="9525"/>
                </a:cubicBezTo>
                <a:cubicBezTo>
                  <a:pt x="275167" y="4233"/>
                  <a:pt x="265642" y="0"/>
                  <a:pt x="257175" y="0"/>
                </a:cubicBezTo>
                <a:cubicBezTo>
                  <a:pt x="248708" y="0"/>
                  <a:pt x="250296" y="6350"/>
                  <a:pt x="238125" y="9525"/>
                </a:cubicBezTo>
                <a:cubicBezTo>
                  <a:pt x="225954" y="12700"/>
                  <a:pt x="197908" y="13758"/>
                  <a:pt x="184150" y="19050"/>
                </a:cubicBezTo>
                <a:cubicBezTo>
                  <a:pt x="170392" y="24342"/>
                  <a:pt x="155575" y="41275"/>
                  <a:pt x="155575" y="41275"/>
                </a:cubicBezTo>
                <a:cubicBezTo>
                  <a:pt x="143404" y="50800"/>
                  <a:pt x="121708" y="65088"/>
                  <a:pt x="111125" y="76200"/>
                </a:cubicBezTo>
                <a:cubicBezTo>
                  <a:pt x="100542" y="87312"/>
                  <a:pt x="98954" y="97367"/>
                  <a:pt x="92075" y="107950"/>
                </a:cubicBezTo>
                <a:cubicBezTo>
                  <a:pt x="85196" y="118533"/>
                  <a:pt x="69850" y="139700"/>
                  <a:pt x="69850" y="139700"/>
                </a:cubicBezTo>
                <a:cubicBezTo>
                  <a:pt x="62442" y="150283"/>
                  <a:pt x="56092" y="162983"/>
                  <a:pt x="47625" y="171450"/>
                </a:cubicBezTo>
                <a:cubicBezTo>
                  <a:pt x="39158" y="179917"/>
                  <a:pt x="26987" y="184150"/>
                  <a:pt x="19050" y="190500"/>
                </a:cubicBezTo>
                <a:cubicBezTo>
                  <a:pt x="11113" y="196850"/>
                  <a:pt x="5556" y="203200"/>
                  <a:pt x="0" y="209550"/>
                </a:cubicBezTo>
              </a:path>
            </a:pathLst>
          </a:cu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4" name="Полилиния 443"/>
          <p:cNvSpPr/>
          <p:nvPr/>
        </p:nvSpPr>
        <p:spPr bwMode="auto">
          <a:xfrm>
            <a:off x="5330700" y="1913845"/>
            <a:ext cx="311457" cy="269873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1270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5" name="Полилиния 444"/>
          <p:cNvSpPr/>
          <p:nvPr/>
        </p:nvSpPr>
        <p:spPr bwMode="auto">
          <a:xfrm>
            <a:off x="5330700" y="1916152"/>
            <a:ext cx="311457" cy="269873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6" name="Полилиния 445"/>
          <p:cNvSpPr/>
          <p:nvPr/>
        </p:nvSpPr>
        <p:spPr bwMode="auto">
          <a:xfrm>
            <a:off x="5347830" y="1887671"/>
            <a:ext cx="329981" cy="297553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47" name="Полилиния 446"/>
          <p:cNvSpPr/>
          <p:nvPr/>
        </p:nvSpPr>
        <p:spPr bwMode="auto">
          <a:xfrm>
            <a:off x="5306627" y="1936564"/>
            <a:ext cx="311456" cy="271027"/>
          </a:xfrm>
          <a:custGeom>
            <a:avLst/>
            <a:gdLst>
              <a:gd name="connsiteX0" fmla="*/ 0 w 335021"/>
              <a:gd name="connsiteY0" fmla="*/ 0 h 355600"/>
              <a:gd name="connsiteX1" fmla="*/ 63500 w 335021"/>
              <a:gd name="connsiteY1" fmla="*/ 19050 h 355600"/>
              <a:gd name="connsiteX2" fmla="*/ 79375 w 335021"/>
              <a:gd name="connsiteY2" fmla="*/ 34925 h 355600"/>
              <a:gd name="connsiteX3" fmla="*/ 98425 w 335021"/>
              <a:gd name="connsiteY3" fmla="*/ 57150 h 355600"/>
              <a:gd name="connsiteX4" fmla="*/ 117475 w 335021"/>
              <a:gd name="connsiteY4" fmla="*/ 82550 h 355600"/>
              <a:gd name="connsiteX5" fmla="*/ 130175 w 335021"/>
              <a:gd name="connsiteY5" fmla="*/ 101600 h 355600"/>
              <a:gd name="connsiteX6" fmla="*/ 165100 w 335021"/>
              <a:gd name="connsiteY6" fmla="*/ 120650 h 355600"/>
              <a:gd name="connsiteX7" fmla="*/ 196850 w 335021"/>
              <a:gd name="connsiteY7" fmla="*/ 127000 h 355600"/>
              <a:gd name="connsiteX8" fmla="*/ 219075 w 335021"/>
              <a:gd name="connsiteY8" fmla="*/ 149225 h 355600"/>
              <a:gd name="connsiteX9" fmla="*/ 254000 w 335021"/>
              <a:gd name="connsiteY9" fmla="*/ 171450 h 355600"/>
              <a:gd name="connsiteX10" fmla="*/ 276225 w 335021"/>
              <a:gd name="connsiteY10" fmla="*/ 190500 h 355600"/>
              <a:gd name="connsiteX11" fmla="*/ 282575 w 335021"/>
              <a:gd name="connsiteY11" fmla="*/ 219075 h 355600"/>
              <a:gd name="connsiteX12" fmla="*/ 298450 w 335021"/>
              <a:gd name="connsiteY12" fmla="*/ 250825 h 355600"/>
              <a:gd name="connsiteX13" fmla="*/ 311150 w 335021"/>
              <a:gd name="connsiteY13" fmla="*/ 260350 h 355600"/>
              <a:gd name="connsiteX14" fmla="*/ 333375 w 335021"/>
              <a:gd name="connsiteY14" fmla="*/ 298450 h 355600"/>
              <a:gd name="connsiteX15" fmla="*/ 333375 w 335021"/>
              <a:gd name="connsiteY15" fmla="*/ 333375 h 355600"/>
              <a:gd name="connsiteX16" fmla="*/ 333375 w 335021"/>
              <a:gd name="connsiteY16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5021" h="355600">
                <a:moveTo>
                  <a:pt x="0" y="0"/>
                </a:moveTo>
                <a:cubicBezTo>
                  <a:pt x="25135" y="6614"/>
                  <a:pt x="50271" y="13229"/>
                  <a:pt x="63500" y="19050"/>
                </a:cubicBezTo>
                <a:cubicBezTo>
                  <a:pt x="76729" y="24871"/>
                  <a:pt x="73554" y="28575"/>
                  <a:pt x="79375" y="34925"/>
                </a:cubicBezTo>
                <a:cubicBezTo>
                  <a:pt x="85196" y="41275"/>
                  <a:pt x="92075" y="49213"/>
                  <a:pt x="98425" y="57150"/>
                </a:cubicBezTo>
                <a:cubicBezTo>
                  <a:pt x="104775" y="65087"/>
                  <a:pt x="112183" y="75142"/>
                  <a:pt x="117475" y="82550"/>
                </a:cubicBezTo>
                <a:cubicBezTo>
                  <a:pt x="122767" y="89958"/>
                  <a:pt x="122238" y="95250"/>
                  <a:pt x="130175" y="101600"/>
                </a:cubicBezTo>
                <a:cubicBezTo>
                  <a:pt x="138112" y="107950"/>
                  <a:pt x="153988" y="116417"/>
                  <a:pt x="165100" y="120650"/>
                </a:cubicBezTo>
                <a:cubicBezTo>
                  <a:pt x="176213" y="124883"/>
                  <a:pt x="187854" y="122238"/>
                  <a:pt x="196850" y="127000"/>
                </a:cubicBezTo>
                <a:cubicBezTo>
                  <a:pt x="205846" y="131762"/>
                  <a:pt x="209550" y="141817"/>
                  <a:pt x="219075" y="149225"/>
                </a:cubicBezTo>
                <a:cubicBezTo>
                  <a:pt x="228600" y="156633"/>
                  <a:pt x="244475" y="164571"/>
                  <a:pt x="254000" y="171450"/>
                </a:cubicBezTo>
                <a:cubicBezTo>
                  <a:pt x="263525" y="178329"/>
                  <a:pt x="271463" y="182563"/>
                  <a:pt x="276225" y="190500"/>
                </a:cubicBezTo>
                <a:cubicBezTo>
                  <a:pt x="280988" y="198438"/>
                  <a:pt x="278871" y="209021"/>
                  <a:pt x="282575" y="219075"/>
                </a:cubicBezTo>
                <a:cubicBezTo>
                  <a:pt x="286279" y="229129"/>
                  <a:pt x="298450" y="250825"/>
                  <a:pt x="298450" y="250825"/>
                </a:cubicBezTo>
                <a:cubicBezTo>
                  <a:pt x="303212" y="257704"/>
                  <a:pt x="305329" y="252413"/>
                  <a:pt x="311150" y="260350"/>
                </a:cubicBezTo>
                <a:cubicBezTo>
                  <a:pt x="316971" y="268287"/>
                  <a:pt x="329671" y="286279"/>
                  <a:pt x="333375" y="298450"/>
                </a:cubicBezTo>
                <a:cubicBezTo>
                  <a:pt x="337079" y="310621"/>
                  <a:pt x="333375" y="333375"/>
                  <a:pt x="333375" y="333375"/>
                </a:cubicBezTo>
                <a:lnTo>
                  <a:pt x="333375" y="355600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4" name="Полилиния 453"/>
          <p:cNvSpPr/>
          <p:nvPr/>
        </p:nvSpPr>
        <p:spPr bwMode="auto">
          <a:xfrm>
            <a:off x="5049409" y="1478072"/>
            <a:ext cx="273249" cy="405962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1270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5" name="Полилиния 454"/>
          <p:cNvSpPr/>
          <p:nvPr/>
        </p:nvSpPr>
        <p:spPr bwMode="auto">
          <a:xfrm>
            <a:off x="5012656" y="1490759"/>
            <a:ext cx="272091" cy="404809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6" name="Полилиния 455"/>
          <p:cNvSpPr/>
          <p:nvPr/>
        </p:nvSpPr>
        <p:spPr bwMode="auto">
          <a:xfrm>
            <a:off x="5080073" y="1453310"/>
            <a:ext cx="273249" cy="405962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7" name="Полилиния 456"/>
          <p:cNvSpPr/>
          <p:nvPr/>
        </p:nvSpPr>
        <p:spPr bwMode="auto">
          <a:xfrm>
            <a:off x="5048192" y="1481360"/>
            <a:ext cx="273249" cy="403656"/>
          </a:xfrm>
          <a:custGeom>
            <a:avLst/>
            <a:gdLst>
              <a:gd name="connsiteX0" fmla="*/ 0 w 293077"/>
              <a:gd name="connsiteY0" fmla="*/ 0 h 532630"/>
              <a:gd name="connsiteX1" fmla="*/ 33867 w 293077"/>
              <a:gd name="connsiteY1" fmla="*/ 52340 h 532630"/>
              <a:gd name="connsiteX2" fmla="*/ 58497 w 293077"/>
              <a:gd name="connsiteY2" fmla="*/ 73891 h 532630"/>
              <a:gd name="connsiteX3" fmla="*/ 83128 w 293077"/>
              <a:gd name="connsiteY3" fmla="*/ 92364 h 532630"/>
              <a:gd name="connsiteX4" fmla="*/ 104679 w 293077"/>
              <a:gd name="connsiteY4" fmla="*/ 120073 h 532630"/>
              <a:gd name="connsiteX5" fmla="*/ 116994 w 293077"/>
              <a:gd name="connsiteY5" fmla="*/ 166255 h 532630"/>
              <a:gd name="connsiteX6" fmla="*/ 147782 w 293077"/>
              <a:gd name="connsiteY6" fmla="*/ 172412 h 532630"/>
              <a:gd name="connsiteX7" fmla="*/ 175491 w 293077"/>
              <a:gd name="connsiteY7" fmla="*/ 190885 h 532630"/>
              <a:gd name="connsiteX8" fmla="*/ 184728 w 293077"/>
              <a:gd name="connsiteY8" fmla="*/ 221673 h 532630"/>
              <a:gd name="connsiteX9" fmla="*/ 178570 w 293077"/>
              <a:gd name="connsiteY9" fmla="*/ 280170 h 532630"/>
              <a:gd name="connsiteX10" fmla="*/ 181649 w 293077"/>
              <a:gd name="connsiteY10" fmla="*/ 301721 h 532630"/>
              <a:gd name="connsiteX11" fmla="*/ 206279 w 293077"/>
              <a:gd name="connsiteY11" fmla="*/ 335588 h 532630"/>
              <a:gd name="connsiteX12" fmla="*/ 221673 w 293077"/>
              <a:gd name="connsiteY12" fmla="*/ 366376 h 532630"/>
              <a:gd name="connsiteX13" fmla="*/ 227831 w 293077"/>
              <a:gd name="connsiteY13" fmla="*/ 412558 h 532630"/>
              <a:gd name="connsiteX14" fmla="*/ 240146 w 293077"/>
              <a:gd name="connsiteY14" fmla="*/ 437188 h 532630"/>
              <a:gd name="connsiteX15" fmla="*/ 258619 w 293077"/>
              <a:gd name="connsiteY15" fmla="*/ 461818 h 532630"/>
              <a:gd name="connsiteX16" fmla="*/ 277091 w 293077"/>
              <a:gd name="connsiteY16" fmla="*/ 474134 h 532630"/>
              <a:gd name="connsiteX17" fmla="*/ 286328 w 293077"/>
              <a:gd name="connsiteY17" fmla="*/ 495685 h 532630"/>
              <a:gd name="connsiteX18" fmla="*/ 292485 w 293077"/>
              <a:gd name="connsiteY18" fmla="*/ 520315 h 532630"/>
              <a:gd name="connsiteX19" fmla="*/ 292485 w 293077"/>
              <a:gd name="connsiteY19" fmla="*/ 532630 h 532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93077" h="532630">
                <a:moveTo>
                  <a:pt x="0" y="0"/>
                </a:moveTo>
                <a:cubicBezTo>
                  <a:pt x="12059" y="20012"/>
                  <a:pt x="24118" y="40025"/>
                  <a:pt x="33867" y="52340"/>
                </a:cubicBezTo>
                <a:cubicBezTo>
                  <a:pt x="43616" y="64655"/>
                  <a:pt x="50287" y="67220"/>
                  <a:pt x="58497" y="73891"/>
                </a:cubicBezTo>
                <a:cubicBezTo>
                  <a:pt x="66707" y="80562"/>
                  <a:pt x="75431" y="84667"/>
                  <a:pt x="83128" y="92364"/>
                </a:cubicBezTo>
                <a:cubicBezTo>
                  <a:pt x="90825" y="100061"/>
                  <a:pt x="99035" y="107758"/>
                  <a:pt x="104679" y="120073"/>
                </a:cubicBezTo>
                <a:cubicBezTo>
                  <a:pt x="110323" y="132388"/>
                  <a:pt x="109810" y="157532"/>
                  <a:pt x="116994" y="166255"/>
                </a:cubicBezTo>
                <a:cubicBezTo>
                  <a:pt x="124178" y="174978"/>
                  <a:pt x="138033" y="168307"/>
                  <a:pt x="147782" y="172412"/>
                </a:cubicBezTo>
                <a:cubicBezTo>
                  <a:pt x="157531" y="176517"/>
                  <a:pt x="169333" y="182675"/>
                  <a:pt x="175491" y="190885"/>
                </a:cubicBezTo>
                <a:cubicBezTo>
                  <a:pt x="181649" y="199095"/>
                  <a:pt x="184215" y="206792"/>
                  <a:pt x="184728" y="221673"/>
                </a:cubicBezTo>
                <a:cubicBezTo>
                  <a:pt x="185241" y="236554"/>
                  <a:pt x="179083" y="266829"/>
                  <a:pt x="178570" y="280170"/>
                </a:cubicBezTo>
                <a:cubicBezTo>
                  <a:pt x="178057" y="293511"/>
                  <a:pt x="177031" y="292485"/>
                  <a:pt x="181649" y="301721"/>
                </a:cubicBezTo>
                <a:cubicBezTo>
                  <a:pt x="186267" y="310957"/>
                  <a:pt x="199608" y="324812"/>
                  <a:pt x="206279" y="335588"/>
                </a:cubicBezTo>
                <a:cubicBezTo>
                  <a:pt x="212950" y="346364"/>
                  <a:pt x="218081" y="353548"/>
                  <a:pt x="221673" y="366376"/>
                </a:cubicBezTo>
                <a:cubicBezTo>
                  <a:pt x="225265" y="379204"/>
                  <a:pt x="224752" y="400756"/>
                  <a:pt x="227831" y="412558"/>
                </a:cubicBezTo>
                <a:cubicBezTo>
                  <a:pt x="230910" y="424360"/>
                  <a:pt x="235015" y="428978"/>
                  <a:pt x="240146" y="437188"/>
                </a:cubicBezTo>
                <a:cubicBezTo>
                  <a:pt x="245277" y="445398"/>
                  <a:pt x="252462" y="455660"/>
                  <a:pt x="258619" y="461818"/>
                </a:cubicBezTo>
                <a:cubicBezTo>
                  <a:pt x="264776" y="467976"/>
                  <a:pt x="272473" y="468490"/>
                  <a:pt x="277091" y="474134"/>
                </a:cubicBezTo>
                <a:cubicBezTo>
                  <a:pt x="281709" y="479778"/>
                  <a:pt x="283762" y="487988"/>
                  <a:pt x="286328" y="495685"/>
                </a:cubicBezTo>
                <a:cubicBezTo>
                  <a:pt x="288894" y="503382"/>
                  <a:pt x="292485" y="520315"/>
                  <a:pt x="292485" y="520315"/>
                </a:cubicBezTo>
                <a:cubicBezTo>
                  <a:pt x="293511" y="526472"/>
                  <a:pt x="292998" y="529551"/>
                  <a:pt x="292485" y="53263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8" name="Полилиния 457"/>
          <p:cNvSpPr/>
          <p:nvPr/>
        </p:nvSpPr>
        <p:spPr bwMode="auto">
          <a:xfrm>
            <a:off x="6966718" y="3210160"/>
            <a:ext cx="92627" cy="136090"/>
          </a:xfrm>
          <a:custGeom>
            <a:avLst/>
            <a:gdLst>
              <a:gd name="connsiteX0" fmla="*/ 100976 w 100976"/>
              <a:gd name="connsiteY0" fmla="*/ 0 h 179515"/>
              <a:gd name="connsiteX1" fmla="*/ 61708 w 100976"/>
              <a:gd name="connsiteY1" fmla="*/ 53294 h 179515"/>
              <a:gd name="connsiteX2" fmla="*/ 47683 w 100976"/>
              <a:gd name="connsiteY2" fmla="*/ 95367 h 179515"/>
              <a:gd name="connsiteX3" fmla="*/ 39268 w 100976"/>
              <a:gd name="connsiteY3" fmla="*/ 115002 h 179515"/>
              <a:gd name="connsiteX4" fmla="*/ 22439 w 100976"/>
              <a:gd name="connsiteY4" fmla="*/ 137441 h 179515"/>
              <a:gd name="connsiteX5" fmla="*/ 5609 w 100976"/>
              <a:gd name="connsiteY5" fmla="*/ 171100 h 179515"/>
              <a:gd name="connsiteX6" fmla="*/ 0 w 100976"/>
              <a:gd name="connsiteY6" fmla="*/ 179515 h 179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76" h="179515">
                <a:moveTo>
                  <a:pt x="100976" y="0"/>
                </a:moveTo>
                <a:cubicBezTo>
                  <a:pt x="85783" y="18699"/>
                  <a:pt x="70590" y="37399"/>
                  <a:pt x="61708" y="53294"/>
                </a:cubicBezTo>
                <a:cubicBezTo>
                  <a:pt x="52826" y="69189"/>
                  <a:pt x="51423" y="85082"/>
                  <a:pt x="47683" y="95367"/>
                </a:cubicBezTo>
                <a:cubicBezTo>
                  <a:pt x="43943" y="105652"/>
                  <a:pt x="43475" y="107990"/>
                  <a:pt x="39268" y="115002"/>
                </a:cubicBezTo>
                <a:cubicBezTo>
                  <a:pt x="35061" y="122014"/>
                  <a:pt x="28049" y="128091"/>
                  <a:pt x="22439" y="137441"/>
                </a:cubicBezTo>
                <a:cubicBezTo>
                  <a:pt x="16829" y="146791"/>
                  <a:pt x="5609" y="171100"/>
                  <a:pt x="5609" y="171100"/>
                </a:cubicBezTo>
                <a:cubicBezTo>
                  <a:pt x="1869" y="178112"/>
                  <a:pt x="934" y="178813"/>
                  <a:pt x="0" y="179515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9" name="Полилиния 458"/>
          <p:cNvSpPr/>
          <p:nvPr/>
        </p:nvSpPr>
        <p:spPr bwMode="auto">
          <a:xfrm>
            <a:off x="6130765" y="3823716"/>
            <a:ext cx="189885" cy="59971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0" name="Полилиния 459"/>
          <p:cNvSpPr/>
          <p:nvPr/>
        </p:nvSpPr>
        <p:spPr bwMode="auto">
          <a:xfrm>
            <a:off x="6127290" y="3800372"/>
            <a:ext cx="191044" cy="58818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1" name="Полилиния 460"/>
          <p:cNvSpPr/>
          <p:nvPr/>
        </p:nvSpPr>
        <p:spPr bwMode="auto">
          <a:xfrm>
            <a:off x="6135395" y="3848162"/>
            <a:ext cx="189885" cy="61125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2" name="Полилиния 461"/>
          <p:cNvSpPr/>
          <p:nvPr/>
        </p:nvSpPr>
        <p:spPr bwMode="auto">
          <a:xfrm>
            <a:off x="6126135" y="3827177"/>
            <a:ext cx="191043" cy="58818"/>
          </a:xfrm>
          <a:custGeom>
            <a:avLst/>
            <a:gdLst>
              <a:gd name="connsiteX0" fmla="*/ 204758 w 204758"/>
              <a:gd name="connsiteY0" fmla="*/ 0 h 78537"/>
              <a:gd name="connsiteX1" fmla="*/ 159880 w 204758"/>
              <a:gd name="connsiteY1" fmla="*/ 28049 h 78537"/>
              <a:gd name="connsiteX2" fmla="*/ 131831 w 204758"/>
              <a:gd name="connsiteY2" fmla="*/ 28049 h 78537"/>
              <a:gd name="connsiteX3" fmla="*/ 117806 w 204758"/>
              <a:gd name="connsiteY3" fmla="*/ 39269 h 78537"/>
              <a:gd name="connsiteX4" fmla="*/ 72928 w 204758"/>
              <a:gd name="connsiteY4" fmla="*/ 47683 h 78537"/>
              <a:gd name="connsiteX5" fmla="*/ 33659 w 204758"/>
              <a:gd name="connsiteY5" fmla="*/ 50488 h 78537"/>
              <a:gd name="connsiteX6" fmla="*/ 5610 w 204758"/>
              <a:gd name="connsiteY6" fmla="*/ 67318 h 78537"/>
              <a:gd name="connsiteX7" fmla="*/ 0 w 204758"/>
              <a:gd name="connsiteY7" fmla="*/ 78537 h 78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4758" h="78537">
                <a:moveTo>
                  <a:pt x="204758" y="0"/>
                </a:moveTo>
                <a:cubicBezTo>
                  <a:pt x="188396" y="11687"/>
                  <a:pt x="172034" y="23374"/>
                  <a:pt x="159880" y="28049"/>
                </a:cubicBezTo>
                <a:cubicBezTo>
                  <a:pt x="147726" y="32724"/>
                  <a:pt x="138843" y="26179"/>
                  <a:pt x="131831" y="28049"/>
                </a:cubicBezTo>
                <a:cubicBezTo>
                  <a:pt x="124819" y="29919"/>
                  <a:pt x="127623" y="35997"/>
                  <a:pt x="117806" y="39269"/>
                </a:cubicBezTo>
                <a:cubicBezTo>
                  <a:pt x="107989" y="42541"/>
                  <a:pt x="86952" y="45813"/>
                  <a:pt x="72928" y="47683"/>
                </a:cubicBezTo>
                <a:cubicBezTo>
                  <a:pt x="58903" y="49553"/>
                  <a:pt x="44879" y="47216"/>
                  <a:pt x="33659" y="50488"/>
                </a:cubicBezTo>
                <a:cubicBezTo>
                  <a:pt x="22439" y="53760"/>
                  <a:pt x="11220" y="62643"/>
                  <a:pt x="5610" y="67318"/>
                </a:cubicBezTo>
                <a:cubicBezTo>
                  <a:pt x="0" y="71993"/>
                  <a:pt x="0" y="75265"/>
                  <a:pt x="0" y="78537"/>
                </a:cubicBezTo>
              </a:path>
            </a:pathLst>
          </a:cu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3" name="Полилиния 462"/>
          <p:cNvSpPr/>
          <p:nvPr/>
        </p:nvSpPr>
        <p:spPr bwMode="auto">
          <a:xfrm>
            <a:off x="5082924" y="3868545"/>
            <a:ext cx="1069838" cy="317159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1270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5" name="Полилиния 464"/>
          <p:cNvSpPr/>
          <p:nvPr/>
        </p:nvSpPr>
        <p:spPr bwMode="auto">
          <a:xfrm>
            <a:off x="5085239" y="3866518"/>
            <a:ext cx="1070996" cy="318311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6" name="Полилиния 465"/>
          <p:cNvSpPr/>
          <p:nvPr/>
        </p:nvSpPr>
        <p:spPr bwMode="auto">
          <a:xfrm>
            <a:off x="5084081" y="3892443"/>
            <a:ext cx="1069838" cy="318311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68" name="Полилиния 467"/>
          <p:cNvSpPr/>
          <p:nvPr/>
        </p:nvSpPr>
        <p:spPr bwMode="auto">
          <a:xfrm>
            <a:off x="5078471" y="3841288"/>
            <a:ext cx="1070996" cy="316005"/>
          </a:xfrm>
          <a:custGeom>
            <a:avLst/>
            <a:gdLst>
              <a:gd name="connsiteX0" fmla="*/ 1150944 w 1150944"/>
              <a:gd name="connsiteY0" fmla="*/ 0 h 416600"/>
              <a:gd name="connsiteX1" fmla="*/ 1108578 w 1150944"/>
              <a:gd name="connsiteY1" fmla="*/ 31775 h 416600"/>
              <a:gd name="connsiteX2" fmla="*/ 1059151 w 1150944"/>
              <a:gd name="connsiteY2" fmla="*/ 70610 h 416600"/>
              <a:gd name="connsiteX3" fmla="*/ 1002663 w 1150944"/>
              <a:gd name="connsiteY3" fmla="*/ 102385 h 416600"/>
              <a:gd name="connsiteX4" fmla="*/ 956766 w 1150944"/>
              <a:gd name="connsiteY4" fmla="*/ 141220 h 416600"/>
              <a:gd name="connsiteX5" fmla="*/ 886156 w 1150944"/>
              <a:gd name="connsiteY5" fmla="*/ 180056 h 416600"/>
              <a:gd name="connsiteX6" fmla="*/ 833199 w 1150944"/>
              <a:gd name="connsiteY6" fmla="*/ 187117 h 416600"/>
              <a:gd name="connsiteX7" fmla="*/ 794363 w 1150944"/>
              <a:gd name="connsiteY7" fmla="*/ 172995 h 416600"/>
              <a:gd name="connsiteX8" fmla="*/ 741406 w 1150944"/>
              <a:gd name="connsiteY8" fmla="*/ 176525 h 416600"/>
              <a:gd name="connsiteX9" fmla="*/ 684918 w 1150944"/>
              <a:gd name="connsiteY9" fmla="*/ 151812 h 416600"/>
              <a:gd name="connsiteX10" fmla="*/ 635491 w 1150944"/>
              <a:gd name="connsiteY10" fmla="*/ 144751 h 416600"/>
              <a:gd name="connsiteX11" fmla="*/ 547228 w 1150944"/>
              <a:gd name="connsiteY11" fmla="*/ 155342 h 416600"/>
              <a:gd name="connsiteX12" fmla="*/ 480149 w 1150944"/>
              <a:gd name="connsiteY12" fmla="*/ 180056 h 416600"/>
              <a:gd name="connsiteX13" fmla="*/ 437783 w 1150944"/>
              <a:gd name="connsiteY13" fmla="*/ 204769 h 416600"/>
              <a:gd name="connsiteX14" fmla="*/ 388356 w 1150944"/>
              <a:gd name="connsiteY14" fmla="*/ 229483 h 416600"/>
              <a:gd name="connsiteX15" fmla="*/ 324807 w 1150944"/>
              <a:gd name="connsiteY15" fmla="*/ 264788 h 416600"/>
              <a:gd name="connsiteX16" fmla="*/ 282441 w 1150944"/>
              <a:gd name="connsiteY16" fmla="*/ 303623 h 416600"/>
              <a:gd name="connsiteX17" fmla="*/ 236544 w 1150944"/>
              <a:gd name="connsiteY17" fmla="*/ 338928 h 416600"/>
              <a:gd name="connsiteX18" fmla="*/ 187117 w 1150944"/>
              <a:gd name="connsiteY18" fmla="*/ 335398 h 416600"/>
              <a:gd name="connsiteX19" fmla="*/ 137690 w 1150944"/>
              <a:gd name="connsiteY19" fmla="*/ 331867 h 416600"/>
              <a:gd name="connsiteX20" fmla="*/ 105915 w 1150944"/>
              <a:gd name="connsiteY20" fmla="*/ 353050 h 416600"/>
              <a:gd name="connsiteX21" fmla="*/ 52958 w 1150944"/>
              <a:gd name="connsiteY21" fmla="*/ 384825 h 416600"/>
              <a:gd name="connsiteX22" fmla="*/ 28244 w 1150944"/>
              <a:gd name="connsiteY22" fmla="*/ 398947 h 416600"/>
              <a:gd name="connsiteX23" fmla="*/ 0 w 1150944"/>
              <a:gd name="connsiteY23" fmla="*/ 416600 h 416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50944" h="416600">
                <a:moveTo>
                  <a:pt x="1150944" y="0"/>
                </a:moveTo>
                <a:cubicBezTo>
                  <a:pt x="1137410" y="10003"/>
                  <a:pt x="1123877" y="20007"/>
                  <a:pt x="1108578" y="31775"/>
                </a:cubicBezTo>
                <a:cubicBezTo>
                  <a:pt x="1093279" y="43543"/>
                  <a:pt x="1076803" y="58842"/>
                  <a:pt x="1059151" y="70610"/>
                </a:cubicBezTo>
                <a:cubicBezTo>
                  <a:pt x="1041499" y="82378"/>
                  <a:pt x="1019727" y="90617"/>
                  <a:pt x="1002663" y="102385"/>
                </a:cubicBezTo>
                <a:cubicBezTo>
                  <a:pt x="985599" y="114153"/>
                  <a:pt x="976184" y="128275"/>
                  <a:pt x="956766" y="141220"/>
                </a:cubicBezTo>
                <a:cubicBezTo>
                  <a:pt x="937348" y="154165"/>
                  <a:pt x="906751" y="172406"/>
                  <a:pt x="886156" y="180056"/>
                </a:cubicBezTo>
                <a:cubicBezTo>
                  <a:pt x="865561" y="187706"/>
                  <a:pt x="848498" y="188294"/>
                  <a:pt x="833199" y="187117"/>
                </a:cubicBezTo>
                <a:cubicBezTo>
                  <a:pt x="817900" y="185940"/>
                  <a:pt x="809662" y="174760"/>
                  <a:pt x="794363" y="172995"/>
                </a:cubicBezTo>
                <a:cubicBezTo>
                  <a:pt x="779064" y="171230"/>
                  <a:pt x="759647" y="180056"/>
                  <a:pt x="741406" y="176525"/>
                </a:cubicBezTo>
                <a:cubicBezTo>
                  <a:pt x="723165" y="172994"/>
                  <a:pt x="702570" y="157108"/>
                  <a:pt x="684918" y="151812"/>
                </a:cubicBezTo>
                <a:cubicBezTo>
                  <a:pt x="667265" y="146516"/>
                  <a:pt x="658439" y="144163"/>
                  <a:pt x="635491" y="144751"/>
                </a:cubicBezTo>
                <a:cubicBezTo>
                  <a:pt x="612543" y="145339"/>
                  <a:pt x="573118" y="149458"/>
                  <a:pt x="547228" y="155342"/>
                </a:cubicBezTo>
                <a:cubicBezTo>
                  <a:pt x="521338" y="161226"/>
                  <a:pt x="498390" y="171818"/>
                  <a:pt x="480149" y="180056"/>
                </a:cubicBezTo>
                <a:cubicBezTo>
                  <a:pt x="461908" y="188294"/>
                  <a:pt x="453082" y="196531"/>
                  <a:pt x="437783" y="204769"/>
                </a:cubicBezTo>
                <a:cubicBezTo>
                  <a:pt x="422484" y="213007"/>
                  <a:pt x="407185" y="219480"/>
                  <a:pt x="388356" y="229483"/>
                </a:cubicBezTo>
                <a:cubicBezTo>
                  <a:pt x="369527" y="239486"/>
                  <a:pt x="342459" y="252431"/>
                  <a:pt x="324807" y="264788"/>
                </a:cubicBezTo>
                <a:cubicBezTo>
                  <a:pt x="307155" y="277145"/>
                  <a:pt x="297151" y="291266"/>
                  <a:pt x="282441" y="303623"/>
                </a:cubicBezTo>
                <a:cubicBezTo>
                  <a:pt x="267730" y="315980"/>
                  <a:pt x="252431" y="333632"/>
                  <a:pt x="236544" y="338928"/>
                </a:cubicBezTo>
                <a:cubicBezTo>
                  <a:pt x="220657" y="344224"/>
                  <a:pt x="187117" y="335398"/>
                  <a:pt x="187117" y="335398"/>
                </a:cubicBezTo>
                <a:cubicBezTo>
                  <a:pt x="170641" y="334221"/>
                  <a:pt x="151224" y="328925"/>
                  <a:pt x="137690" y="331867"/>
                </a:cubicBezTo>
                <a:cubicBezTo>
                  <a:pt x="124156" y="334809"/>
                  <a:pt x="120037" y="344224"/>
                  <a:pt x="105915" y="353050"/>
                </a:cubicBezTo>
                <a:cubicBezTo>
                  <a:pt x="91793" y="361876"/>
                  <a:pt x="65903" y="377176"/>
                  <a:pt x="52958" y="384825"/>
                </a:cubicBezTo>
                <a:cubicBezTo>
                  <a:pt x="40013" y="392474"/>
                  <a:pt x="37070" y="393651"/>
                  <a:pt x="28244" y="398947"/>
                </a:cubicBezTo>
                <a:cubicBezTo>
                  <a:pt x="19418" y="404243"/>
                  <a:pt x="9709" y="410421"/>
                  <a:pt x="0" y="4166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70" name="AutoShape 19"/>
          <p:cNvSpPr>
            <a:spLocks noChangeArrowheads="1"/>
          </p:cNvSpPr>
          <p:nvPr/>
        </p:nvSpPr>
        <p:spPr bwMode="auto">
          <a:xfrm>
            <a:off x="2600530" y="1925379"/>
            <a:ext cx="361245" cy="8303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қтөбе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2" name="AutoShape 19"/>
          <p:cNvSpPr>
            <a:spLocks noChangeArrowheads="1"/>
          </p:cNvSpPr>
          <p:nvPr/>
        </p:nvSpPr>
        <p:spPr bwMode="auto">
          <a:xfrm>
            <a:off x="1577791" y="1667172"/>
            <a:ext cx="398643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Орал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5" name="AutoShape 19"/>
          <p:cNvSpPr>
            <a:spLocks noChangeArrowheads="1"/>
          </p:cNvSpPr>
          <p:nvPr/>
        </p:nvSpPr>
        <p:spPr bwMode="auto">
          <a:xfrm>
            <a:off x="678942" y="1634186"/>
            <a:ext cx="385619" cy="8742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асқала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7" name="AutoShape 19"/>
          <p:cNvSpPr>
            <a:spLocks noChangeArrowheads="1"/>
          </p:cNvSpPr>
          <p:nvPr/>
        </p:nvSpPr>
        <p:spPr bwMode="auto">
          <a:xfrm>
            <a:off x="1034149" y="2727975"/>
            <a:ext cx="361245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тырау</a:t>
            </a:r>
          </a:p>
        </p:txBody>
      </p:sp>
      <p:sp>
        <p:nvSpPr>
          <p:cNvPr id="480" name="AutoShape 19"/>
          <p:cNvSpPr>
            <a:spLocks noChangeArrowheads="1"/>
          </p:cNvSpPr>
          <p:nvPr/>
        </p:nvSpPr>
        <p:spPr bwMode="auto">
          <a:xfrm>
            <a:off x="1904674" y="3132888"/>
            <a:ext cx="363560" cy="8303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Бейнеу</a:t>
            </a:r>
          </a:p>
        </p:txBody>
      </p:sp>
      <p:sp>
        <p:nvSpPr>
          <p:cNvPr id="481" name="AutoShape 19"/>
          <p:cNvSpPr>
            <a:spLocks noChangeArrowheads="1"/>
          </p:cNvSpPr>
          <p:nvPr/>
        </p:nvSpPr>
        <p:spPr bwMode="auto">
          <a:xfrm>
            <a:off x="463250" y="3438517"/>
            <a:ext cx="309969" cy="9044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қтау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7" name="AutoShape 19"/>
          <p:cNvSpPr>
            <a:spLocks noChangeArrowheads="1"/>
          </p:cNvSpPr>
          <p:nvPr/>
        </p:nvSpPr>
        <p:spPr bwMode="auto">
          <a:xfrm>
            <a:off x="675155" y="3653029"/>
            <a:ext cx="452517" cy="8303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Жетібай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8" name="AutoShape 19"/>
          <p:cNvSpPr>
            <a:spLocks noChangeArrowheads="1"/>
          </p:cNvSpPr>
          <p:nvPr/>
        </p:nvSpPr>
        <p:spPr bwMode="auto">
          <a:xfrm>
            <a:off x="1641844" y="3464658"/>
            <a:ext cx="363560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кжигит</a:t>
            </a:r>
          </a:p>
        </p:txBody>
      </p:sp>
      <p:sp>
        <p:nvSpPr>
          <p:cNvPr id="491" name="AutoShape 19"/>
          <p:cNvSpPr>
            <a:spLocks noChangeArrowheads="1"/>
          </p:cNvSpPr>
          <p:nvPr/>
        </p:nvSpPr>
        <p:spPr bwMode="auto">
          <a:xfrm>
            <a:off x="3990778" y="3396900"/>
            <a:ext cx="563612" cy="8880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ызылорда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2" name="AutoShape 19"/>
          <p:cNvSpPr>
            <a:spLocks noChangeArrowheads="1"/>
          </p:cNvSpPr>
          <p:nvPr/>
        </p:nvSpPr>
        <p:spPr bwMode="auto">
          <a:xfrm>
            <a:off x="4485179" y="4182554"/>
            <a:ext cx="484713" cy="88965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Шымкент</a:t>
            </a:r>
          </a:p>
        </p:txBody>
      </p:sp>
      <p:sp>
        <p:nvSpPr>
          <p:cNvPr id="493" name="AutoShape 19"/>
          <p:cNvSpPr>
            <a:spLocks noChangeArrowheads="1"/>
          </p:cNvSpPr>
          <p:nvPr/>
        </p:nvSpPr>
        <p:spPr bwMode="auto">
          <a:xfrm>
            <a:off x="5274727" y="3852358"/>
            <a:ext cx="304396" cy="8303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араз</a:t>
            </a:r>
          </a:p>
        </p:txBody>
      </p:sp>
      <p:sp>
        <p:nvSpPr>
          <p:cNvPr id="494" name="AutoShape 19"/>
          <p:cNvSpPr>
            <a:spLocks noChangeArrowheads="1"/>
          </p:cNvSpPr>
          <p:nvPr/>
        </p:nvSpPr>
        <p:spPr bwMode="auto">
          <a:xfrm>
            <a:off x="6858042" y="3847481"/>
            <a:ext cx="483975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лматы</a:t>
            </a:r>
          </a:p>
        </p:txBody>
      </p:sp>
      <p:sp>
        <p:nvSpPr>
          <p:cNvPr id="495" name="AutoShape 19"/>
          <p:cNvSpPr>
            <a:spLocks noChangeArrowheads="1"/>
          </p:cNvSpPr>
          <p:nvPr/>
        </p:nvSpPr>
        <p:spPr bwMode="auto">
          <a:xfrm>
            <a:off x="7399048" y="3245080"/>
            <a:ext cx="342202" cy="9134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оғас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9" name="AutoShape 19"/>
          <p:cNvSpPr>
            <a:spLocks noChangeArrowheads="1"/>
          </p:cNvSpPr>
          <p:nvPr/>
        </p:nvSpPr>
        <p:spPr bwMode="auto">
          <a:xfrm>
            <a:off x="6687735" y="1949600"/>
            <a:ext cx="325247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Семей</a:t>
            </a:r>
          </a:p>
        </p:txBody>
      </p:sp>
      <p:sp>
        <p:nvSpPr>
          <p:cNvPr id="510" name="AutoShape 19"/>
          <p:cNvSpPr>
            <a:spLocks noChangeArrowheads="1"/>
          </p:cNvSpPr>
          <p:nvPr/>
        </p:nvSpPr>
        <p:spPr bwMode="auto">
          <a:xfrm>
            <a:off x="5086202" y="2225689"/>
            <a:ext cx="492560" cy="9594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еміртау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1" name="AutoShape 19"/>
          <p:cNvSpPr>
            <a:spLocks noChangeArrowheads="1"/>
          </p:cNvSpPr>
          <p:nvPr/>
        </p:nvSpPr>
        <p:spPr bwMode="auto">
          <a:xfrm>
            <a:off x="5546354" y="1842335"/>
            <a:ext cx="534283" cy="10555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стана</a:t>
            </a:r>
          </a:p>
        </p:txBody>
      </p:sp>
      <p:sp>
        <p:nvSpPr>
          <p:cNvPr id="512" name="AutoShape 19"/>
          <p:cNvSpPr>
            <a:spLocks noChangeArrowheads="1"/>
          </p:cNvSpPr>
          <p:nvPr/>
        </p:nvSpPr>
        <p:spPr bwMode="auto">
          <a:xfrm>
            <a:off x="5098558" y="1338464"/>
            <a:ext cx="492434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Щучинск</a:t>
            </a:r>
          </a:p>
        </p:txBody>
      </p:sp>
      <p:sp>
        <p:nvSpPr>
          <p:cNvPr id="513" name="AutoShape 19"/>
          <p:cNvSpPr>
            <a:spLocks noChangeArrowheads="1"/>
          </p:cNvSpPr>
          <p:nvPr/>
        </p:nvSpPr>
        <p:spPr bwMode="auto">
          <a:xfrm>
            <a:off x="4380653" y="1287756"/>
            <a:ext cx="446924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Кокшетау</a:t>
            </a:r>
          </a:p>
        </p:txBody>
      </p:sp>
      <p:sp>
        <p:nvSpPr>
          <p:cNvPr id="514" name="AutoShape 19"/>
          <p:cNvSpPr>
            <a:spLocks noChangeArrowheads="1"/>
          </p:cNvSpPr>
          <p:nvPr/>
        </p:nvSpPr>
        <p:spPr bwMode="auto">
          <a:xfrm>
            <a:off x="4035380" y="925924"/>
            <a:ext cx="690547" cy="10932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Петропавл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6" name="AutoShape 19"/>
          <p:cNvSpPr>
            <a:spLocks noChangeArrowheads="1"/>
          </p:cNvSpPr>
          <p:nvPr/>
        </p:nvSpPr>
        <p:spPr bwMode="auto">
          <a:xfrm>
            <a:off x="3617879" y="1244405"/>
            <a:ext cx="544953" cy="10005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останай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7" name="AutoShape 19"/>
          <p:cNvSpPr>
            <a:spLocks noChangeArrowheads="1"/>
          </p:cNvSpPr>
          <p:nvPr/>
        </p:nvSpPr>
        <p:spPr bwMode="auto">
          <a:xfrm>
            <a:off x="6432958" y="1415812"/>
            <a:ext cx="463712" cy="9125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Павлодар</a:t>
            </a:r>
          </a:p>
        </p:txBody>
      </p:sp>
      <p:sp>
        <p:nvSpPr>
          <p:cNvPr id="520" name="Полилиния 519"/>
          <p:cNvSpPr/>
          <p:nvPr/>
        </p:nvSpPr>
        <p:spPr bwMode="auto">
          <a:xfrm>
            <a:off x="6749046" y="3365853"/>
            <a:ext cx="208410" cy="279099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1270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21" name="Полилиния 520"/>
          <p:cNvSpPr/>
          <p:nvPr/>
        </p:nvSpPr>
        <p:spPr bwMode="auto">
          <a:xfrm>
            <a:off x="6744880" y="3370832"/>
            <a:ext cx="208410" cy="279099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22" name="Полилиния 521"/>
          <p:cNvSpPr/>
          <p:nvPr/>
        </p:nvSpPr>
        <p:spPr bwMode="auto">
          <a:xfrm>
            <a:off x="6719759" y="3352987"/>
            <a:ext cx="196832" cy="280254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2" name="Полилиния 531"/>
          <p:cNvSpPr/>
          <p:nvPr/>
        </p:nvSpPr>
        <p:spPr bwMode="auto">
          <a:xfrm>
            <a:off x="6780663" y="3389807"/>
            <a:ext cx="195675" cy="280254"/>
          </a:xfrm>
          <a:custGeom>
            <a:avLst/>
            <a:gdLst>
              <a:gd name="connsiteX0" fmla="*/ 223837 w 223837"/>
              <a:gd name="connsiteY0" fmla="*/ 0 h 367567"/>
              <a:gd name="connsiteX1" fmla="*/ 214312 w 223837"/>
              <a:gd name="connsiteY1" fmla="*/ 66675 h 367567"/>
              <a:gd name="connsiteX2" fmla="*/ 214312 w 223837"/>
              <a:gd name="connsiteY2" fmla="*/ 95250 h 367567"/>
              <a:gd name="connsiteX3" fmla="*/ 197643 w 223837"/>
              <a:gd name="connsiteY3" fmla="*/ 123825 h 367567"/>
              <a:gd name="connsiteX4" fmla="*/ 197643 w 223837"/>
              <a:gd name="connsiteY4" fmla="*/ 152400 h 367567"/>
              <a:gd name="connsiteX5" fmla="*/ 209550 w 223837"/>
              <a:gd name="connsiteY5" fmla="*/ 176213 h 367567"/>
              <a:gd name="connsiteX6" fmla="*/ 209550 w 223837"/>
              <a:gd name="connsiteY6" fmla="*/ 195263 h 367567"/>
              <a:gd name="connsiteX7" fmla="*/ 166687 w 223837"/>
              <a:gd name="connsiteY7" fmla="*/ 223838 h 367567"/>
              <a:gd name="connsiteX8" fmla="*/ 142875 w 223837"/>
              <a:gd name="connsiteY8" fmla="*/ 254794 h 367567"/>
              <a:gd name="connsiteX9" fmla="*/ 128587 w 223837"/>
              <a:gd name="connsiteY9" fmla="*/ 285750 h 367567"/>
              <a:gd name="connsiteX10" fmla="*/ 121443 w 223837"/>
              <a:gd name="connsiteY10" fmla="*/ 309563 h 367567"/>
              <a:gd name="connsiteX11" fmla="*/ 107156 w 223837"/>
              <a:gd name="connsiteY11" fmla="*/ 330994 h 367567"/>
              <a:gd name="connsiteX12" fmla="*/ 38100 w 223837"/>
              <a:gd name="connsiteY12" fmla="*/ 340519 h 367567"/>
              <a:gd name="connsiteX13" fmla="*/ 11906 w 223837"/>
              <a:gd name="connsiteY13" fmla="*/ 364332 h 367567"/>
              <a:gd name="connsiteX14" fmla="*/ 0 w 223837"/>
              <a:gd name="connsiteY14" fmla="*/ 366713 h 367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3837" h="367567">
                <a:moveTo>
                  <a:pt x="223837" y="0"/>
                </a:moveTo>
                <a:cubicBezTo>
                  <a:pt x="219868" y="25400"/>
                  <a:pt x="215899" y="50800"/>
                  <a:pt x="214312" y="66675"/>
                </a:cubicBezTo>
                <a:cubicBezTo>
                  <a:pt x="212724" y="82550"/>
                  <a:pt x="217090" y="85725"/>
                  <a:pt x="214312" y="95250"/>
                </a:cubicBezTo>
                <a:cubicBezTo>
                  <a:pt x="211534" y="104775"/>
                  <a:pt x="200421" y="114300"/>
                  <a:pt x="197643" y="123825"/>
                </a:cubicBezTo>
                <a:cubicBezTo>
                  <a:pt x="194865" y="133350"/>
                  <a:pt x="195659" y="143669"/>
                  <a:pt x="197643" y="152400"/>
                </a:cubicBezTo>
                <a:cubicBezTo>
                  <a:pt x="199627" y="161131"/>
                  <a:pt x="207566" y="169069"/>
                  <a:pt x="209550" y="176213"/>
                </a:cubicBezTo>
                <a:cubicBezTo>
                  <a:pt x="211534" y="183357"/>
                  <a:pt x="216694" y="187326"/>
                  <a:pt x="209550" y="195263"/>
                </a:cubicBezTo>
                <a:cubicBezTo>
                  <a:pt x="202406" y="203201"/>
                  <a:pt x="177799" y="213916"/>
                  <a:pt x="166687" y="223838"/>
                </a:cubicBezTo>
                <a:cubicBezTo>
                  <a:pt x="155574" y="233760"/>
                  <a:pt x="149225" y="244475"/>
                  <a:pt x="142875" y="254794"/>
                </a:cubicBezTo>
                <a:cubicBezTo>
                  <a:pt x="136525" y="265113"/>
                  <a:pt x="132159" y="276622"/>
                  <a:pt x="128587" y="285750"/>
                </a:cubicBezTo>
                <a:cubicBezTo>
                  <a:pt x="125015" y="294878"/>
                  <a:pt x="125015" y="302022"/>
                  <a:pt x="121443" y="309563"/>
                </a:cubicBezTo>
                <a:cubicBezTo>
                  <a:pt x="117871" y="317104"/>
                  <a:pt x="121046" y="325835"/>
                  <a:pt x="107156" y="330994"/>
                </a:cubicBezTo>
                <a:cubicBezTo>
                  <a:pt x="93266" y="336153"/>
                  <a:pt x="53975" y="334963"/>
                  <a:pt x="38100" y="340519"/>
                </a:cubicBezTo>
                <a:cubicBezTo>
                  <a:pt x="22225" y="346075"/>
                  <a:pt x="18256" y="359966"/>
                  <a:pt x="11906" y="364332"/>
                </a:cubicBezTo>
                <a:cubicBezTo>
                  <a:pt x="5556" y="368698"/>
                  <a:pt x="2778" y="367705"/>
                  <a:pt x="0" y="366713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3" name="Полилиния 532"/>
          <p:cNvSpPr/>
          <p:nvPr/>
        </p:nvSpPr>
        <p:spPr bwMode="auto">
          <a:xfrm>
            <a:off x="6754835" y="3465741"/>
            <a:ext cx="747960" cy="359830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noFill/>
          <a:ln w="1270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34" name="Полилиния 533"/>
          <p:cNvSpPr/>
          <p:nvPr/>
        </p:nvSpPr>
        <p:spPr bwMode="auto">
          <a:xfrm>
            <a:off x="6750205" y="3462394"/>
            <a:ext cx="747960" cy="359830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5" name="Полилиния 534"/>
          <p:cNvSpPr/>
          <p:nvPr/>
        </p:nvSpPr>
        <p:spPr bwMode="auto">
          <a:xfrm>
            <a:off x="6746730" y="3642650"/>
            <a:ext cx="17368" cy="162614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1270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6" name="Полилиния 535"/>
          <p:cNvSpPr/>
          <p:nvPr/>
        </p:nvSpPr>
        <p:spPr bwMode="auto">
          <a:xfrm>
            <a:off x="6747891" y="3644956"/>
            <a:ext cx="16209" cy="162614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12700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7" name="Полилиния 536"/>
          <p:cNvSpPr/>
          <p:nvPr/>
        </p:nvSpPr>
        <p:spPr bwMode="auto">
          <a:xfrm>
            <a:off x="6716988" y="3648416"/>
            <a:ext cx="16209" cy="162616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8" name="Полилиния 537"/>
          <p:cNvSpPr/>
          <p:nvPr/>
        </p:nvSpPr>
        <p:spPr bwMode="auto">
          <a:xfrm>
            <a:off x="6781111" y="3646109"/>
            <a:ext cx="16209" cy="162616"/>
          </a:xfrm>
          <a:custGeom>
            <a:avLst/>
            <a:gdLst>
              <a:gd name="connsiteX0" fmla="*/ 0 w 17586"/>
              <a:gd name="connsiteY0" fmla="*/ 0 h 214312"/>
              <a:gd name="connsiteX1" fmla="*/ 16669 w 17586"/>
              <a:gd name="connsiteY1" fmla="*/ 76200 h 214312"/>
              <a:gd name="connsiteX2" fmla="*/ 14288 w 17586"/>
              <a:gd name="connsiteY2" fmla="*/ 114300 h 214312"/>
              <a:gd name="connsiteX3" fmla="*/ 4763 w 17586"/>
              <a:gd name="connsiteY3" fmla="*/ 154781 h 214312"/>
              <a:gd name="connsiteX4" fmla="*/ 4763 w 17586"/>
              <a:gd name="connsiteY4" fmla="*/ 192881 h 214312"/>
              <a:gd name="connsiteX5" fmla="*/ 9525 w 17586"/>
              <a:gd name="connsiteY5" fmla="*/ 214312 h 214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586" h="214312">
                <a:moveTo>
                  <a:pt x="0" y="0"/>
                </a:moveTo>
                <a:cubicBezTo>
                  <a:pt x="7144" y="28575"/>
                  <a:pt x="14288" y="57150"/>
                  <a:pt x="16669" y="76200"/>
                </a:cubicBezTo>
                <a:cubicBezTo>
                  <a:pt x="19050" y="95250"/>
                  <a:pt x="16272" y="101203"/>
                  <a:pt x="14288" y="114300"/>
                </a:cubicBezTo>
                <a:cubicBezTo>
                  <a:pt x="12304" y="127397"/>
                  <a:pt x="6350" y="141684"/>
                  <a:pt x="4763" y="154781"/>
                </a:cubicBezTo>
                <a:cubicBezTo>
                  <a:pt x="3176" y="167878"/>
                  <a:pt x="3969" y="182959"/>
                  <a:pt x="4763" y="192881"/>
                </a:cubicBezTo>
                <a:cubicBezTo>
                  <a:pt x="5557" y="202803"/>
                  <a:pt x="7541" y="208557"/>
                  <a:pt x="9525" y="214312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39" name="Блок-схема: узел 538"/>
          <p:cNvSpPr/>
          <p:nvPr/>
        </p:nvSpPr>
        <p:spPr bwMode="auto">
          <a:xfrm>
            <a:off x="2314544" y="1829658"/>
            <a:ext cx="85680" cy="66891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44" name="Блок-схема: узел 543"/>
          <p:cNvSpPr/>
          <p:nvPr/>
        </p:nvSpPr>
        <p:spPr bwMode="auto">
          <a:xfrm>
            <a:off x="1388275" y="1594382"/>
            <a:ext cx="85680" cy="66891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45" name="Полилиния 544"/>
          <p:cNvSpPr/>
          <p:nvPr/>
        </p:nvSpPr>
        <p:spPr>
          <a:xfrm>
            <a:off x="4192162" y="3584169"/>
            <a:ext cx="848691" cy="573808"/>
          </a:xfrm>
          <a:custGeom>
            <a:avLst/>
            <a:gdLst>
              <a:gd name="connsiteX0" fmla="*/ 0 w 895350"/>
              <a:gd name="connsiteY0" fmla="*/ 0 h 815975"/>
              <a:gd name="connsiteX1" fmla="*/ 95250 w 895350"/>
              <a:gd name="connsiteY1" fmla="*/ 47625 h 815975"/>
              <a:gd name="connsiteX2" fmla="*/ 139700 w 895350"/>
              <a:gd name="connsiteY2" fmla="*/ 104775 h 815975"/>
              <a:gd name="connsiteX3" fmla="*/ 196850 w 895350"/>
              <a:gd name="connsiteY3" fmla="*/ 165100 h 815975"/>
              <a:gd name="connsiteX4" fmla="*/ 254000 w 895350"/>
              <a:gd name="connsiteY4" fmla="*/ 206375 h 815975"/>
              <a:gd name="connsiteX5" fmla="*/ 304800 w 895350"/>
              <a:gd name="connsiteY5" fmla="*/ 222250 h 815975"/>
              <a:gd name="connsiteX6" fmla="*/ 333375 w 895350"/>
              <a:gd name="connsiteY6" fmla="*/ 263525 h 815975"/>
              <a:gd name="connsiteX7" fmla="*/ 377825 w 895350"/>
              <a:gd name="connsiteY7" fmla="*/ 330200 h 815975"/>
              <a:gd name="connsiteX8" fmla="*/ 450850 w 895350"/>
              <a:gd name="connsiteY8" fmla="*/ 400050 h 815975"/>
              <a:gd name="connsiteX9" fmla="*/ 498475 w 895350"/>
              <a:gd name="connsiteY9" fmla="*/ 447675 h 815975"/>
              <a:gd name="connsiteX10" fmla="*/ 577850 w 895350"/>
              <a:gd name="connsiteY10" fmla="*/ 504825 h 815975"/>
              <a:gd name="connsiteX11" fmla="*/ 654050 w 895350"/>
              <a:gd name="connsiteY11" fmla="*/ 558800 h 815975"/>
              <a:gd name="connsiteX12" fmla="*/ 733425 w 895350"/>
              <a:gd name="connsiteY12" fmla="*/ 619125 h 815975"/>
              <a:gd name="connsiteX13" fmla="*/ 781050 w 895350"/>
              <a:gd name="connsiteY13" fmla="*/ 650875 h 815975"/>
              <a:gd name="connsiteX14" fmla="*/ 825500 w 895350"/>
              <a:gd name="connsiteY14" fmla="*/ 685800 h 815975"/>
              <a:gd name="connsiteX15" fmla="*/ 860425 w 895350"/>
              <a:gd name="connsiteY15" fmla="*/ 720725 h 815975"/>
              <a:gd name="connsiteX16" fmla="*/ 885825 w 895350"/>
              <a:gd name="connsiteY16" fmla="*/ 787400 h 815975"/>
              <a:gd name="connsiteX17" fmla="*/ 895350 w 895350"/>
              <a:gd name="connsiteY17" fmla="*/ 815975 h 81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5350" h="815975">
                <a:moveTo>
                  <a:pt x="0" y="0"/>
                </a:moveTo>
                <a:cubicBezTo>
                  <a:pt x="35983" y="15081"/>
                  <a:pt x="71967" y="30163"/>
                  <a:pt x="95250" y="47625"/>
                </a:cubicBezTo>
                <a:cubicBezTo>
                  <a:pt x="118533" y="65088"/>
                  <a:pt x="122767" y="85196"/>
                  <a:pt x="139700" y="104775"/>
                </a:cubicBezTo>
                <a:cubicBezTo>
                  <a:pt x="156633" y="124354"/>
                  <a:pt x="177800" y="148167"/>
                  <a:pt x="196850" y="165100"/>
                </a:cubicBezTo>
                <a:cubicBezTo>
                  <a:pt x="215900" y="182033"/>
                  <a:pt x="236008" y="196850"/>
                  <a:pt x="254000" y="206375"/>
                </a:cubicBezTo>
                <a:cubicBezTo>
                  <a:pt x="271992" y="215900"/>
                  <a:pt x="291571" y="212725"/>
                  <a:pt x="304800" y="222250"/>
                </a:cubicBezTo>
                <a:cubicBezTo>
                  <a:pt x="318029" y="231775"/>
                  <a:pt x="321204" y="245533"/>
                  <a:pt x="333375" y="263525"/>
                </a:cubicBezTo>
                <a:cubicBezTo>
                  <a:pt x="345546" y="281517"/>
                  <a:pt x="358246" y="307446"/>
                  <a:pt x="377825" y="330200"/>
                </a:cubicBezTo>
                <a:cubicBezTo>
                  <a:pt x="397404" y="352954"/>
                  <a:pt x="430742" y="380471"/>
                  <a:pt x="450850" y="400050"/>
                </a:cubicBezTo>
                <a:cubicBezTo>
                  <a:pt x="470958" y="419629"/>
                  <a:pt x="477308" y="430213"/>
                  <a:pt x="498475" y="447675"/>
                </a:cubicBezTo>
                <a:cubicBezTo>
                  <a:pt x="519642" y="465137"/>
                  <a:pt x="577850" y="504825"/>
                  <a:pt x="577850" y="504825"/>
                </a:cubicBezTo>
                <a:cubicBezTo>
                  <a:pt x="603779" y="523346"/>
                  <a:pt x="628121" y="539750"/>
                  <a:pt x="654050" y="558800"/>
                </a:cubicBezTo>
                <a:cubicBezTo>
                  <a:pt x="679979" y="577850"/>
                  <a:pt x="712258" y="603779"/>
                  <a:pt x="733425" y="619125"/>
                </a:cubicBezTo>
                <a:cubicBezTo>
                  <a:pt x="754592" y="634471"/>
                  <a:pt x="765704" y="639763"/>
                  <a:pt x="781050" y="650875"/>
                </a:cubicBezTo>
                <a:cubicBezTo>
                  <a:pt x="796396" y="661987"/>
                  <a:pt x="812271" y="674158"/>
                  <a:pt x="825500" y="685800"/>
                </a:cubicBezTo>
                <a:cubicBezTo>
                  <a:pt x="838729" y="697442"/>
                  <a:pt x="850371" y="703792"/>
                  <a:pt x="860425" y="720725"/>
                </a:cubicBezTo>
                <a:cubicBezTo>
                  <a:pt x="870479" y="737658"/>
                  <a:pt x="880004" y="771525"/>
                  <a:pt x="885825" y="787400"/>
                </a:cubicBezTo>
                <a:cubicBezTo>
                  <a:pt x="891646" y="803275"/>
                  <a:pt x="893498" y="809625"/>
                  <a:pt x="895350" y="815975"/>
                </a:cubicBezTo>
              </a:path>
            </a:pathLst>
          </a:custGeom>
          <a:ln w="1270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770" tIns="34886" rIns="69770" bIns="34886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46" name="Полилиния 545"/>
          <p:cNvSpPr/>
          <p:nvPr/>
        </p:nvSpPr>
        <p:spPr>
          <a:xfrm>
            <a:off x="4193702" y="3585288"/>
            <a:ext cx="847534" cy="573807"/>
          </a:xfrm>
          <a:custGeom>
            <a:avLst/>
            <a:gdLst>
              <a:gd name="connsiteX0" fmla="*/ 0 w 895350"/>
              <a:gd name="connsiteY0" fmla="*/ 0 h 815975"/>
              <a:gd name="connsiteX1" fmla="*/ 95250 w 895350"/>
              <a:gd name="connsiteY1" fmla="*/ 47625 h 815975"/>
              <a:gd name="connsiteX2" fmla="*/ 139700 w 895350"/>
              <a:gd name="connsiteY2" fmla="*/ 104775 h 815975"/>
              <a:gd name="connsiteX3" fmla="*/ 196850 w 895350"/>
              <a:gd name="connsiteY3" fmla="*/ 165100 h 815975"/>
              <a:gd name="connsiteX4" fmla="*/ 254000 w 895350"/>
              <a:gd name="connsiteY4" fmla="*/ 206375 h 815975"/>
              <a:gd name="connsiteX5" fmla="*/ 304800 w 895350"/>
              <a:gd name="connsiteY5" fmla="*/ 222250 h 815975"/>
              <a:gd name="connsiteX6" fmla="*/ 333375 w 895350"/>
              <a:gd name="connsiteY6" fmla="*/ 263525 h 815975"/>
              <a:gd name="connsiteX7" fmla="*/ 377825 w 895350"/>
              <a:gd name="connsiteY7" fmla="*/ 330200 h 815975"/>
              <a:gd name="connsiteX8" fmla="*/ 450850 w 895350"/>
              <a:gd name="connsiteY8" fmla="*/ 400050 h 815975"/>
              <a:gd name="connsiteX9" fmla="*/ 498475 w 895350"/>
              <a:gd name="connsiteY9" fmla="*/ 447675 h 815975"/>
              <a:gd name="connsiteX10" fmla="*/ 577850 w 895350"/>
              <a:gd name="connsiteY10" fmla="*/ 504825 h 815975"/>
              <a:gd name="connsiteX11" fmla="*/ 654050 w 895350"/>
              <a:gd name="connsiteY11" fmla="*/ 558800 h 815975"/>
              <a:gd name="connsiteX12" fmla="*/ 733425 w 895350"/>
              <a:gd name="connsiteY12" fmla="*/ 619125 h 815975"/>
              <a:gd name="connsiteX13" fmla="*/ 781050 w 895350"/>
              <a:gd name="connsiteY13" fmla="*/ 650875 h 815975"/>
              <a:gd name="connsiteX14" fmla="*/ 825500 w 895350"/>
              <a:gd name="connsiteY14" fmla="*/ 685800 h 815975"/>
              <a:gd name="connsiteX15" fmla="*/ 860425 w 895350"/>
              <a:gd name="connsiteY15" fmla="*/ 720725 h 815975"/>
              <a:gd name="connsiteX16" fmla="*/ 885825 w 895350"/>
              <a:gd name="connsiteY16" fmla="*/ 787400 h 815975"/>
              <a:gd name="connsiteX17" fmla="*/ 895350 w 895350"/>
              <a:gd name="connsiteY17" fmla="*/ 815975 h 81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5350" h="815975">
                <a:moveTo>
                  <a:pt x="0" y="0"/>
                </a:moveTo>
                <a:cubicBezTo>
                  <a:pt x="35983" y="15081"/>
                  <a:pt x="71967" y="30163"/>
                  <a:pt x="95250" y="47625"/>
                </a:cubicBezTo>
                <a:cubicBezTo>
                  <a:pt x="118533" y="65088"/>
                  <a:pt x="122767" y="85196"/>
                  <a:pt x="139700" y="104775"/>
                </a:cubicBezTo>
                <a:cubicBezTo>
                  <a:pt x="156633" y="124354"/>
                  <a:pt x="177800" y="148167"/>
                  <a:pt x="196850" y="165100"/>
                </a:cubicBezTo>
                <a:cubicBezTo>
                  <a:pt x="215900" y="182033"/>
                  <a:pt x="236008" y="196850"/>
                  <a:pt x="254000" y="206375"/>
                </a:cubicBezTo>
                <a:cubicBezTo>
                  <a:pt x="271992" y="215900"/>
                  <a:pt x="291571" y="212725"/>
                  <a:pt x="304800" y="222250"/>
                </a:cubicBezTo>
                <a:cubicBezTo>
                  <a:pt x="318029" y="231775"/>
                  <a:pt x="321204" y="245533"/>
                  <a:pt x="333375" y="263525"/>
                </a:cubicBezTo>
                <a:cubicBezTo>
                  <a:pt x="345546" y="281517"/>
                  <a:pt x="358246" y="307446"/>
                  <a:pt x="377825" y="330200"/>
                </a:cubicBezTo>
                <a:cubicBezTo>
                  <a:pt x="397404" y="352954"/>
                  <a:pt x="430742" y="380471"/>
                  <a:pt x="450850" y="400050"/>
                </a:cubicBezTo>
                <a:cubicBezTo>
                  <a:pt x="470958" y="419629"/>
                  <a:pt x="477308" y="430213"/>
                  <a:pt x="498475" y="447675"/>
                </a:cubicBezTo>
                <a:cubicBezTo>
                  <a:pt x="519642" y="465137"/>
                  <a:pt x="577850" y="504825"/>
                  <a:pt x="577850" y="504825"/>
                </a:cubicBezTo>
                <a:cubicBezTo>
                  <a:pt x="603779" y="523346"/>
                  <a:pt x="628121" y="539750"/>
                  <a:pt x="654050" y="558800"/>
                </a:cubicBezTo>
                <a:cubicBezTo>
                  <a:pt x="679979" y="577850"/>
                  <a:pt x="712258" y="603779"/>
                  <a:pt x="733425" y="619125"/>
                </a:cubicBezTo>
                <a:cubicBezTo>
                  <a:pt x="754592" y="634471"/>
                  <a:pt x="765704" y="639763"/>
                  <a:pt x="781050" y="650875"/>
                </a:cubicBezTo>
                <a:cubicBezTo>
                  <a:pt x="796396" y="661987"/>
                  <a:pt x="812271" y="674158"/>
                  <a:pt x="825500" y="685800"/>
                </a:cubicBezTo>
                <a:cubicBezTo>
                  <a:pt x="838729" y="697442"/>
                  <a:pt x="850371" y="703792"/>
                  <a:pt x="860425" y="720725"/>
                </a:cubicBezTo>
                <a:cubicBezTo>
                  <a:pt x="870479" y="737658"/>
                  <a:pt x="880004" y="771525"/>
                  <a:pt x="885825" y="787400"/>
                </a:cubicBezTo>
                <a:cubicBezTo>
                  <a:pt x="891646" y="803275"/>
                  <a:pt x="893498" y="809625"/>
                  <a:pt x="895350" y="815975"/>
                </a:cubicBez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770" tIns="34886" rIns="69770" bIns="34886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47" name="Полилиния 546"/>
          <p:cNvSpPr/>
          <p:nvPr/>
        </p:nvSpPr>
        <p:spPr>
          <a:xfrm>
            <a:off x="4210444" y="3561834"/>
            <a:ext cx="847534" cy="573808"/>
          </a:xfrm>
          <a:custGeom>
            <a:avLst/>
            <a:gdLst>
              <a:gd name="connsiteX0" fmla="*/ 0 w 895350"/>
              <a:gd name="connsiteY0" fmla="*/ 0 h 815975"/>
              <a:gd name="connsiteX1" fmla="*/ 95250 w 895350"/>
              <a:gd name="connsiteY1" fmla="*/ 47625 h 815975"/>
              <a:gd name="connsiteX2" fmla="*/ 139700 w 895350"/>
              <a:gd name="connsiteY2" fmla="*/ 104775 h 815975"/>
              <a:gd name="connsiteX3" fmla="*/ 196850 w 895350"/>
              <a:gd name="connsiteY3" fmla="*/ 165100 h 815975"/>
              <a:gd name="connsiteX4" fmla="*/ 254000 w 895350"/>
              <a:gd name="connsiteY4" fmla="*/ 206375 h 815975"/>
              <a:gd name="connsiteX5" fmla="*/ 304800 w 895350"/>
              <a:gd name="connsiteY5" fmla="*/ 222250 h 815975"/>
              <a:gd name="connsiteX6" fmla="*/ 333375 w 895350"/>
              <a:gd name="connsiteY6" fmla="*/ 263525 h 815975"/>
              <a:gd name="connsiteX7" fmla="*/ 377825 w 895350"/>
              <a:gd name="connsiteY7" fmla="*/ 330200 h 815975"/>
              <a:gd name="connsiteX8" fmla="*/ 450850 w 895350"/>
              <a:gd name="connsiteY8" fmla="*/ 400050 h 815975"/>
              <a:gd name="connsiteX9" fmla="*/ 498475 w 895350"/>
              <a:gd name="connsiteY9" fmla="*/ 447675 h 815975"/>
              <a:gd name="connsiteX10" fmla="*/ 577850 w 895350"/>
              <a:gd name="connsiteY10" fmla="*/ 504825 h 815975"/>
              <a:gd name="connsiteX11" fmla="*/ 654050 w 895350"/>
              <a:gd name="connsiteY11" fmla="*/ 558800 h 815975"/>
              <a:gd name="connsiteX12" fmla="*/ 733425 w 895350"/>
              <a:gd name="connsiteY12" fmla="*/ 619125 h 815975"/>
              <a:gd name="connsiteX13" fmla="*/ 781050 w 895350"/>
              <a:gd name="connsiteY13" fmla="*/ 650875 h 815975"/>
              <a:gd name="connsiteX14" fmla="*/ 825500 w 895350"/>
              <a:gd name="connsiteY14" fmla="*/ 685800 h 815975"/>
              <a:gd name="connsiteX15" fmla="*/ 860425 w 895350"/>
              <a:gd name="connsiteY15" fmla="*/ 720725 h 815975"/>
              <a:gd name="connsiteX16" fmla="*/ 885825 w 895350"/>
              <a:gd name="connsiteY16" fmla="*/ 787400 h 815975"/>
              <a:gd name="connsiteX17" fmla="*/ 895350 w 895350"/>
              <a:gd name="connsiteY17" fmla="*/ 815975 h 81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5350" h="815975">
                <a:moveTo>
                  <a:pt x="0" y="0"/>
                </a:moveTo>
                <a:cubicBezTo>
                  <a:pt x="35983" y="15081"/>
                  <a:pt x="71967" y="30163"/>
                  <a:pt x="95250" y="47625"/>
                </a:cubicBezTo>
                <a:cubicBezTo>
                  <a:pt x="118533" y="65088"/>
                  <a:pt x="122767" y="85196"/>
                  <a:pt x="139700" y="104775"/>
                </a:cubicBezTo>
                <a:cubicBezTo>
                  <a:pt x="156633" y="124354"/>
                  <a:pt x="177800" y="148167"/>
                  <a:pt x="196850" y="165100"/>
                </a:cubicBezTo>
                <a:cubicBezTo>
                  <a:pt x="215900" y="182033"/>
                  <a:pt x="236008" y="196850"/>
                  <a:pt x="254000" y="206375"/>
                </a:cubicBezTo>
                <a:cubicBezTo>
                  <a:pt x="271992" y="215900"/>
                  <a:pt x="291571" y="212725"/>
                  <a:pt x="304800" y="222250"/>
                </a:cubicBezTo>
                <a:cubicBezTo>
                  <a:pt x="318029" y="231775"/>
                  <a:pt x="321204" y="245533"/>
                  <a:pt x="333375" y="263525"/>
                </a:cubicBezTo>
                <a:cubicBezTo>
                  <a:pt x="345546" y="281517"/>
                  <a:pt x="358246" y="307446"/>
                  <a:pt x="377825" y="330200"/>
                </a:cubicBezTo>
                <a:cubicBezTo>
                  <a:pt x="397404" y="352954"/>
                  <a:pt x="430742" y="380471"/>
                  <a:pt x="450850" y="400050"/>
                </a:cubicBezTo>
                <a:cubicBezTo>
                  <a:pt x="470958" y="419629"/>
                  <a:pt x="477308" y="430213"/>
                  <a:pt x="498475" y="447675"/>
                </a:cubicBezTo>
                <a:cubicBezTo>
                  <a:pt x="519642" y="465137"/>
                  <a:pt x="577850" y="504825"/>
                  <a:pt x="577850" y="504825"/>
                </a:cubicBezTo>
                <a:cubicBezTo>
                  <a:pt x="603779" y="523346"/>
                  <a:pt x="628121" y="539750"/>
                  <a:pt x="654050" y="558800"/>
                </a:cubicBezTo>
                <a:cubicBezTo>
                  <a:pt x="679979" y="577850"/>
                  <a:pt x="712258" y="603779"/>
                  <a:pt x="733425" y="619125"/>
                </a:cubicBezTo>
                <a:cubicBezTo>
                  <a:pt x="754592" y="634471"/>
                  <a:pt x="765704" y="639763"/>
                  <a:pt x="781050" y="650875"/>
                </a:cubicBezTo>
                <a:cubicBezTo>
                  <a:pt x="796396" y="661987"/>
                  <a:pt x="812271" y="674158"/>
                  <a:pt x="825500" y="685800"/>
                </a:cubicBezTo>
                <a:cubicBezTo>
                  <a:pt x="838729" y="697442"/>
                  <a:pt x="850371" y="703792"/>
                  <a:pt x="860425" y="720725"/>
                </a:cubicBezTo>
                <a:cubicBezTo>
                  <a:pt x="870479" y="737658"/>
                  <a:pt x="880004" y="771525"/>
                  <a:pt x="885825" y="787400"/>
                </a:cubicBezTo>
                <a:cubicBezTo>
                  <a:pt x="891646" y="803275"/>
                  <a:pt x="893498" y="809625"/>
                  <a:pt x="895350" y="8159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48" name="Полилиния 547"/>
          <p:cNvSpPr/>
          <p:nvPr/>
        </p:nvSpPr>
        <p:spPr>
          <a:xfrm>
            <a:off x="4168081" y="3609865"/>
            <a:ext cx="848692" cy="572689"/>
          </a:xfrm>
          <a:custGeom>
            <a:avLst/>
            <a:gdLst>
              <a:gd name="connsiteX0" fmla="*/ 0 w 895350"/>
              <a:gd name="connsiteY0" fmla="*/ 0 h 815975"/>
              <a:gd name="connsiteX1" fmla="*/ 95250 w 895350"/>
              <a:gd name="connsiteY1" fmla="*/ 47625 h 815975"/>
              <a:gd name="connsiteX2" fmla="*/ 139700 w 895350"/>
              <a:gd name="connsiteY2" fmla="*/ 104775 h 815975"/>
              <a:gd name="connsiteX3" fmla="*/ 196850 w 895350"/>
              <a:gd name="connsiteY3" fmla="*/ 165100 h 815975"/>
              <a:gd name="connsiteX4" fmla="*/ 254000 w 895350"/>
              <a:gd name="connsiteY4" fmla="*/ 206375 h 815975"/>
              <a:gd name="connsiteX5" fmla="*/ 304800 w 895350"/>
              <a:gd name="connsiteY5" fmla="*/ 222250 h 815975"/>
              <a:gd name="connsiteX6" fmla="*/ 333375 w 895350"/>
              <a:gd name="connsiteY6" fmla="*/ 263525 h 815975"/>
              <a:gd name="connsiteX7" fmla="*/ 377825 w 895350"/>
              <a:gd name="connsiteY7" fmla="*/ 330200 h 815975"/>
              <a:gd name="connsiteX8" fmla="*/ 450850 w 895350"/>
              <a:gd name="connsiteY8" fmla="*/ 400050 h 815975"/>
              <a:gd name="connsiteX9" fmla="*/ 498475 w 895350"/>
              <a:gd name="connsiteY9" fmla="*/ 447675 h 815975"/>
              <a:gd name="connsiteX10" fmla="*/ 577850 w 895350"/>
              <a:gd name="connsiteY10" fmla="*/ 504825 h 815975"/>
              <a:gd name="connsiteX11" fmla="*/ 654050 w 895350"/>
              <a:gd name="connsiteY11" fmla="*/ 558800 h 815975"/>
              <a:gd name="connsiteX12" fmla="*/ 733425 w 895350"/>
              <a:gd name="connsiteY12" fmla="*/ 619125 h 815975"/>
              <a:gd name="connsiteX13" fmla="*/ 781050 w 895350"/>
              <a:gd name="connsiteY13" fmla="*/ 650875 h 815975"/>
              <a:gd name="connsiteX14" fmla="*/ 825500 w 895350"/>
              <a:gd name="connsiteY14" fmla="*/ 685800 h 815975"/>
              <a:gd name="connsiteX15" fmla="*/ 860425 w 895350"/>
              <a:gd name="connsiteY15" fmla="*/ 720725 h 815975"/>
              <a:gd name="connsiteX16" fmla="*/ 885825 w 895350"/>
              <a:gd name="connsiteY16" fmla="*/ 787400 h 815975"/>
              <a:gd name="connsiteX17" fmla="*/ 895350 w 895350"/>
              <a:gd name="connsiteY17" fmla="*/ 815975 h 81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95350" h="815975">
                <a:moveTo>
                  <a:pt x="0" y="0"/>
                </a:moveTo>
                <a:cubicBezTo>
                  <a:pt x="35983" y="15081"/>
                  <a:pt x="71967" y="30163"/>
                  <a:pt x="95250" y="47625"/>
                </a:cubicBezTo>
                <a:cubicBezTo>
                  <a:pt x="118533" y="65088"/>
                  <a:pt x="122767" y="85196"/>
                  <a:pt x="139700" y="104775"/>
                </a:cubicBezTo>
                <a:cubicBezTo>
                  <a:pt x="156633" y="124354"/>
                  <a:pt x="177800" y="148167"/>
                  <a:pt x="196850" y="165100"/>
                </a:cubicBezTo>
                <a:cubicBezTo>
                  <a:pt x="215900" y="182033"/>
                  <a:pt x="236008" y="196850"/>
                  <a:pt x="254000" y="206375"/>
                </a:cubicBezTo>
                <a:cubicBezTo>
                  <a:pt x="271992" y="215900"/>
                  <a:pt x="291571" y="212725"/>
                  <a:pt x="304800" y="222250"/>
                </a:cubicBezTo>
                <a:cubicBezTo>
                  <a:pt x="318029" y="231775"/>
                  <a:pt x="321204" y="245533"/>
                  <a:pt x="333375" y="263525"/>
                </a:cubicBezTo>
                <a:cubicBezTo>
                  <a:pt x="345546" y="281517"/>
                  <a:pt x="358246" y="307446"/>
                  <a:pt x="377825" y="330200"/>
                </a:cubicBezTo>
                <a:cubicBezTo>
                  <a:pt x="397404" y="352954"/>
                  <a:pt x="430742" y="380471"/>
                  <a:pt x="450850" y="400050"/>
                </a:cubicBezTo>
                <a:cubicBezTo>
                  <a:pt x="470958" y="419629"/>
                  <a:pt x="477308" y="430213"/>
                  <a:pt x="498475" y="447675"/>
                </a:cubicBezTo>
                <a:cubicBezTo>
                  <a:pt x="519642" y="465137"/>
                  <a:pt x="577850" y="504825"/>
                  <a:pt x="577850" y="504825"/>
                </a:cubicBezTo>
                <a:cubicBezTo>
                  <a:pt x="603779" y="523346"/>
                  <a:pt x="628121" y="539750"/>
                  <a:pt x="654050" y="558800"/>
                </a:cubicBezTo>
                <a:cubicBezTo>
                  <a:pt x="679979" y="577850"/>
                  <a:pt x="712258" y="603779"/>
                  <a:pt x="733425" y="619125"/>
                </a:cubicBezTo>
                <a:cubicBezTo>
                  <a:pt x="754592" y="634471"/>
                  <a:pt x="765704" y="639763"/>
                  <a:pt x="781050" y="650875"/>
                </a:cubicBezTo>
                <a:cubicBezTo>
                  <a:pt x="796396" y="661987"/>
                  <a:pt x="812271" y="674158"/>
                  <a:pt x="825500" y="685800"/>
                </a:cubicBezTo>
                <a:cubicBezTo>
                  <a:pt x="838729" y="697442"/>
                  <a:pt x="850371" y="703792"/>
                  <a:pt x="860425" y="720725"/>
                </a:cubicBezTo>
                <a:cubicBezTo>
                  <a:pt x="870479" y="737658"/>
                  <a:pt x="880004" y="771525"/>
                  <a:pt x="885825" y="787400"/>
                </a:cubicBezTo>
                <a:cubicBezTo>
                  <a:pt x="891646" y="803275"/>
                  <a:pt x="893498" y="809625"/>
                  <a:pt x="895350" y="8159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49" name="Полилиния 548"/>
          <p:cNvSpPr/>
          <p:nvPr/>
        </p:nvSpPr>
        <p:spPr>
          <a:xfrm>
            <a:off x="5026962" y="4240749"/>
            <a:ext cx="38209" cy="126394"/>
          </a:xfrm>
          <a:custGeom>
            <a:avLst/>
            <a:gdLst>
              <a:gd name="connsiteX0" fmla="*/ 39253 w 39253"/>
              <a:gd name="connsiteY0" fmla="*/ 0 h 180975"/>
              <a:gd name="connsiteX1" fmla="*/ 24966 w 39253"/>
              <a:gd name="connsiteY1" fmla="*/ 95250 h 180975"/>
              <a:gd name="connsiteX2" fmla="*/ 1153 w 39253"/>
              <a:gd name="connsiteY2" fmla="*/ 123825 h 180975"/>
              <a:gd name="connsiteX3" fmla="*/ 5916 w 39253"/>
              <a:gd name="connsiteY3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253" h="180975">
                <a:moveTo>
                  <a:pt x="39253" y="0"/>
                </a:moveTo>
                <a:cubicBezTo>
                  <a:pt x="35284" y="37306"/>
                  <a:pt x="31316" y="74613"/>
                  <a:pt x="24966" y="95250"/>
                </a:cubicBezTo>
                <a:cubicBezTo>
                  <a:pt x="18616" y="115887"/>
                  <a:pt x="4328" y="109538"/>
                  <a:pt x="1153" y="123825"/>
                </a:cubicBezTo>
                <a:cubicBezTo>
                  <a:pt x="-2022" y="138112"/>
                  <a:pt x="1947" y="159543"/>
                  <a:pt x="5916" y="180975"/>
                </a:cubicBezTo>
              </a:path>
            </a:pathLst>
          </a:custGeom>
          <a:ln w="1270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770" tIns="34886" rIns="69770" bIns="34886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50" name="Полилиния 549"/>
          <p:cNvSpPr/>
          <p:nvPr/>
        </p:nvSpPr>
        <p:spPr>
          <a:xfrm>
            <a:off x="5036450" y="4240749"/>
            <a:ext cx="37051" cy="126394"/>
          </a:xfrm>
          <a:custGeom>
            <a:avLst/>
            <a:gdLst>
              <a:gd name="connsiteX0" fmla="*/ 39253 w 39253"/>
              <a:gd name="connsiteY0" fmla="*/ 0 h 180975"/>
              <a:gd name="connsiteX1" fmla="*/ 24966 w 39253"/>
              <a:gd name="connsiteY1" fmla="*/ 95250 h 180975"/>
              <a:gd name="connsiteX2" fmla="*/ 1153 w 39253"/>
              <a:gd name="connsiteY2" fmla="*/ 123825 h 180975"/>
              <a:gd name="connsiteX3" fmla="*/ 5916 w 39253"/>
              <a:gd name="connsiteY3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253" h="180975">
                <a:moveTo>
                  <a:pt x="39253" y="0"/>
                </a:moveTo>
                <a:cubicBezTo>
                  <a:pt x="35284" y="37306"/>
                  <a:pt x="31316" y="74613"/>
                  <a:pt x="24966" y="95250"/>
                </a:cubicBezTo>
                <a:cubicBezTo>
                  <a:pt x="18616" y="115887"/>
                  <a:pt x="4328" y="109538"/>
                  <a:pt x="1153" y="123825"/>
                </a:cubicBezTo>
                <a:cubicBezTo>
                  <a:pt x="-2022" y="138112"/>
                  <a:pt x="1947" y="159543"/>
                  <a:pt x="5916" y="180975"/>
                </a:cubicBez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770" tIns="34886" rIns="69770" bIns="34886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56" name="AutoShape 19"/>
          <p:cNvSpPr>
            <a:spLocks noChangeArrowheads="1"/>
          </p:cNvSpPr>
          <p:nvPr/>
        </p:nvSpPr>
        <p:spPr bwMode="auto">
          <a:xfrm>
            <a:off x="4723225" y="3768271"/>
            <a:ext cx="478107" cy="9290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8" tIns="35995" rIns="17998" bIns="35995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үркістан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3" name="Полилиния 562"/>
          <p:cNvSpPr/>
          <p:nvPr/>
        </p:nvSpPr>
        <p:spPr>
          <a:xfrm>
            <a:off x="4998250" y="4232035"/>
            <a:ext cx="37051" cy="126394"/>
          </a:xfrm>
          <a:custGeom>
            <a:avLst/>
            <a:gdLst>
              <a:gd name="connsiteX0" fmla="*/ 39253 w 39253"/>
              <a:gd name="connsiteY0" fmla="*/ 0 h 180975"/>
              <a:gd name="connsiteX1" fmla="*/ 24966 w 39253"/>
              <a:gd name="connsiteY1" fmla="*/ 95250 h 180975"/>
              <a:gd name="connsiteX2" fmla="*/ 1153 w 39253"/>
              <a:gd name="connsiteY2" fmla="*/ 123825 h 180975"/>
              <a:gd name="connsiteX3" fmla="*/ 5916 w 39253"/>
              <a:gd name="connsiteY3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253" h="180975">
                <a:moveTo>
                  <a:pt x="39253" y="0"/>
                </a:moveTo>
                <a:cubicBezTo>
                  <a:pt x="35284" y="37306"/>
                  <a:pt x="31316" y="74613"/>
                  <a:pt x="24966" y="95250"/>
                </a:cubicBezTo>
                <a:cubicBezTo>
                  <a:pt x="18616" y="115887"/>
                  <a:pt x="4328" y="109538"/>
                  <a:pt x="1153" y="123825"/>
                </a:cubicBezTo>
                <a:cubicBezTo>
                  <a:pt x="-2022" y="138112"/>
                  <a:pt x="1947" y="159543"/>
                  <a:pt x="5916" y="1809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4" name="Полилиния 563"/>
          <p:cNvSpPr/>
          <p:nvPr/>
        </p:nvSpPr>
        <p:spPr>
          <a:xfrm>
            <a:off x="5066948" y="4249672"/>
            <a:ext cx="37051" cy="126394"/>
          </a:xfrm>
          <a:custGeom>
            <a:avLst/>
            <a:gdLst>
              <a:gd name="connsiteX0" fmla="*/ 39253 w 39253"/>
              <a:gd name="connsiteY0" fmla="*/ 0 h 180975"/>
              <a:gd name="connsiteX1" fmla="*/ 24966 w 39253"/>
              <a:gd name="connsiteY1" fmla="*/ 95250 h 180975"/>
              <a:gd name="connsiteX2" fmla="*/ 1153 w 39253"/>
              <a:gd name="connsiteY2" fmla="*/ 123825 h 180975"/>
              <a:gd name="connsiteX3" fmla="*/ 5916 w 39253"/>
              <a:gd name="connsiteY3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253" h="180975">
                <a:moveTo>
                  <a:pt x="39253" y="0"/>
                </a:moveTo>
                <a:cubicBezTo>
                  <a:pt x="35284" y="37306"/>
                  <a:pt x="31316" y="74613"/>
                  <a:pt x="24966" y="95250"/>
                </a:cubicBezTo>
                <a:cubicBezTo>
                  <a:pt x="18616" y="115887"/>
                  <a:pt x="4328" y="109538"/>
                  <a:pt x="1153" y="123825"/>
                </a:cubicBezTo>
                <a:cubicBezTo>
                  <a:pt x="-2022" y="138112"/>
                  <a:pt x="1947" y="159543"/>
                  <a:pt x="5916" y="1809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5" name="Полилиния 564"/>
          <p:cNvSpPr/>
          <p:nvPr/>
        </p:nvSpPr>
        <p:spPr>
          <a:xfrm>
            <a:off x="5368533" y="1513899"/>
            <a:ext cx="929583" cy="343632"/>
          </a:xfrm>
          <a:custGeom>
            <a:avLst/>
            <a:gdLst>
              <a:gd name="connsiteX0" fmla="*/ 0 w 981075"/>
              <a:gd name="connsiteY0" fmla="*/ 366713 h 366713"/>
              <a:gd name="connsiteX1" fmla="*/ 14287 w 981075"/>
              <a:gd name="connsiteY1" fmla="*/ 345282 h 366713"/>
              <a:gd name="connsiteX2" fmla="*/ 16668 w 981075"/>
              <a:gd name="connsiteY2" fmla="*/ 338138 h 366713"/>
              <a:gd name="connsiteX3" fmla="*/ 23812 w 981075"/>
              <a:gd name="connsiteY3" fmla="*/ 330994 h 366713"/>
              <a:gd name="connsiteX4" fmla="*/ 33337 w 981075"/>
              <a:gd name="connsiteY4" fmla="*/ 319088 h 366713"/>
              <a:gd name="connsiteX5" fmla="*/ 42862 w 981075"/>
              <a:gd name="connsiteY5" fmla="*/ 304800 h 366713"/>
              <a:gd name="connsiteX6" fmla="*/ 52387 w 981075"/>
              <a:gd name="connsiteY6" fmla="*/ 290513 h 366713"/>
              <a:gd name="connsiteX7" fmla="*/ 59531 w 981075"/>
              <a:gd name="connsiteY7" fmla="*/ 288132 h 366713"/>
              <a:gd name="connsiteX8" fmla="*/ 73818 w 981075"/>
              <a:gd name="connsiteY8" fmla="*/ 276225 h 366713"/>
              <a:gd name="connsiteX9" fmla="*/ 80962 w 981075"/>
              <a:gd name="connsiteY9" fmla="*/ 273844 h 366713"/>
              <a:gd name="connsiteX10" fmla="*/ 88106 w 981075"/>
              <a:gd name="connsiteY10" fmla="*/ 269082 h 366713"/>
              <a:gd name="connsiteX11" fmla="*/ 95250 w 981075"/>
              <a:gd name="connsiteY11" fmla="*/ 266700 h 366713"/>
              <a:gd name="connsiteX12" fmla="*/ 109537 w 981075"/>
              <a:gd name="connsiteY12" fmla="*/ 254794 h 366713"/>
              <a:gd name="connsiteX13" fmla="*/ 116681 w 981075"/>
              <a:gd name="connsiteY13" fmla="*/ 250032 h 366713"/>
              <a:gd name="connsiteX14" fmla="*/ 123825 w 981075"/>
              <a:gd name="connsiteY14" fmla="*/ 247650 h 366713"/>
              <a:gd name="connsiteX15" fmla="*/ 152400 w 981075"/>
              <a:gd name="connsiteY15" fmla="*/ 233363 h 366713"/>
              <a:gd name="connsiteX16" fmla="*/ 185737 w 981075"/>
              <a:gd name="connsiteY16" fmla="*/ 230982 h 366713"/>
              <a:gd name="connsiteX17" fmla="*/ 200025 w 981075"/>
              <a:gd name="connsiteY17" fmla="*/ 223838 h 366713"/>
              <a:gd name="connsiteX18" fmla="*/ 207168 w 981075"/>
              <a:gd name="connsiteY18" fmla="*/ 221457 h 366713"/>
              <a:gd name="connsiteX19" fmla="*/ 245268 w 981075"/>
              <a:gd name="connsiteY19" fmla="*/ 228600 h 366713"/>
              <a:gd name="connsiteX20" fmla="*/ 259556 w 981075"/>
              <a:gd name="connsiteY20" fmla="*/ 233363 h 366713"/>
              <a:gd name="connsiteX21" fmla="*/ 266700 w 981075"/>
              <a:gd name="connsiteY21" fmla="*/ 238125 h 366713"/>
              <a:gd name="connsiteX22" fmla="*/ 273843 w 981075"/>
              <a:gd name="connsiteY22" fmla="*/ 240507 h 366713"/>
              <a:gd name="connsiteX23" fmla="*/ 283368 w 981075"/>
              <a:gd name="connsiteY23" fmla="*/ 245269 h 366713"/>
              <a:gd name="connsiteX24" fmla="*/ 304800 w 981075"/>
              <a:gd name="connsiteY24" fmla="*/ 252413 h 366713"/>
              <a:gd name="connsiteX25" fmla="*/ 316706 w 981075"/>
              <a:gd name="connsiteY25" fmla="*/ 254794 h 366713"/>
              <a:gd name="connsiteX26" fmla="*/ 395287 w 981075"/>
              <a:gd name="connsiteY26" fmla="*/ 252413 h 366713"/>
              <a:gd name="connsiteX27" fmla="*/ 402431 w 981075"/>
              <a:gd name="connsiteY27" fmla="*/ 250032 h 366713"/>
              <a:gd name="connsiteX28" fmla="*/ 419100 w 981075"/>
              <a:gd name="connsiteY28" fmla="*/ 240507 h 366713"/>
              <a:gd name="connsiteX29" fmla="*/ 435768 w 981075"/>
              <a:gd name="connsiteY29" fmla="*/ 226219 h 366713"/>
              <a:gd name="connsiteX30" fmla="*/ 452437 w 981075"/>
              <a:gd name="connsiteY30" fmla="*/ 221457 h 366713"/>
              <a:gd name="connsiteX31" fmla="*/ 461962 w 981075"/>
              <a:gd name="connsiteY31" fmla="*/ 216694 h 366713"/>
              <a:gd name="connsiteX32" fmla="*/ 469106 w 981075"/>
              <a:gd name="connsiteY32" fmla="*/ 211932 h 366713"/>
              <a:gd name="connsiteX33" fmla="*/ 485775 w 981075"/>
              <a:gd name="connsiteY33" fmla="*/ 207169 h 366713"/>
              <a:gd name="connsiteX34" fmla="*/ 492918 w 981075"/>
              <a:gd name="connsiteY34" fmla="*/ 204788 h 366713"/>
              <a:gd name="connsiteX35" fmla="*/ 500062 w 981075"/>
              <a:gd name="connsiteY35" fmla="*/ 200025 h 366713"/>
              <a:gd name="connsiteX36" fmla="*/ 514350 w 981075"/>
              <a:gd name="connsiteY36" fmla="*/ 195263 h 366713"/>
              <a:gd name="connsiteX37" fmla="*/ 645318 w 981075"/>
              <a:gd name="connsiteY37" fmla="*/ 190500 h 366713"/>
              <a:gd name="connsiteX38" fmla="*/ 659606 w 981075"/>
              <a:gd name="connsiteY38" fmla="*/ 185738 h 366713"/>
              <a:gd name="connsiteX39" fmla="*/ 683418 w 981075"/>
              <a:gd name="connsiteY39" fmla="*/ 178594 h 366713"/>
              <a:gd name="connsiteX40" fmla="*/ 707231 w 981075"/>
              <a:gd name="connsiteY40" fmla="*/ 171450 h 366713"/>
              <a:gd name="connsiteX41" fmla="*/ 738187 w 981075"/>
              <a:gd name="connsiteY41" fmla="*/ 161925 h 366713"/>
              <a:gd name="connsiteX42" fmla="*/ 747712 w 981075"/>
              <a:gd name="connsiteY42" fmla="*/ 159544 h 366713"/>
              <a:gd name="connsiteX43" fmla="*/ 764381 w 981075"/>
              <a:gd name="connsiteY43" fmla="*/ 150019 h 366713"/>
              <a:gd name="connsiteX44" fmla="*/ 771525 w 981075"/>
              <a:gd name="connsiteY44" fmla="*/ 145257 h 366713"/>
              <a:gd name="connsiteX45" fmla="*/ 778668 w 981075"/>
              <a:gd name="connsiteY45" fmla="*/ 142875 h 366713"/>
              <a:gd name="connsiteX46" fmla="*/ 795337 w 981075"/>
              <a:gd name="connsiteY46" fmla="*/ 135732 h 366713"/>
              <a:gd name="connsiteX47" fmla="*/ 814387 w 981075"/>
              <a:gd name="connsiteY47" fmla="*/ 133350 h 366713"/>
              <a:gd name="connsiteX48" fmla="*/ 831056 w 981075"/>
              <a:gd name="connsiteY48" fmla="*/ 123825 h 366713"/>
              <a:gd name="connsiteX49" fmla="*/ 838200 w 981075"/>
              <a:gd name="connsiteY49" fmla="*/ 121444 h 366713"/>
              <a:gd name="connsiteX50" fmla="*/ 854868 w 981075"/>
              <a:gd name="connsiteY50" fmla="*/ 109538 h 366713"/>
              <a:gd name="connsiteX51" fmla="*/ 862012 w 981075"/>
              <a:gd name="connsiteY51" fmla="*/ 102394 h 366713"/>
              <a:gd name="connsiteX52" fmla="*/ 864393 w 981075"/>
              <a:gd name="connsiteY52" fmla="*/ 95250 h 366713"/>
              <a:gd name="connsiteX53" fmla="*/ 871537 w 981075"/>
              <a:gd name="connsiteY53" fmla="*/ 90488 h 366713"/>
              <a:gd name="connsiteX54" fmla="*/ 878681 w 981075"/>
              <a:gd name="connsiteY54" fmla="*/ 83344 h 366713"/>
              <a:gd name="connsiteX55" fmla="*/ 892968 w 981075"/>
              <a:gd name="connsiteY55" fmla="*/ 73819 h 366713"/>
              <a:gd name="connsiteX56" fmla="*/ 904875 w 981075"/>
              <a:gd name="connsiteY56" fmla="*/ 59532 h 366713"/>
              <a:gd name="connsiteX57" fmla="*/ 914400 w 981075"/>
              <a:gd name="connsiteY57" fmla="*/ 54769 h 366713"/>
              <a:gd name="connsiteX58" fmla="*/ 926306 w 981075"/>
              <a:gd name="connsiteY58" fmla="*/ 42863 h 366713"/>
              <a:gd name="connsiteX59" fmla="*/ 933450 w 981075"/>
              <a:gd name="connsiteY59" fmla="*/ 35719 h 366713"/>
              <a:gd name="connsiteX60" fmla="*/ 954881 w 981075"/>
              <a:gd name="connsiteY60" fmla="*/ 21432 h 366713"/>
              <a:gd name="connsiteX61" fmla="*/ 962025 w 981075"/>
              <a:gd name="connsiteY61" fmla="*/ 19050 h 366713"/>
              <a:gd name="connsiteX62" fmla="*/ 969168 w 981075"/>
              <a:gd name="connsiteY62" fmla="*/ 14288 h 366713"/>
              <a:gd name="connsiteX63" fmla="*/ 973931 w 981075"/>
              <a:gd name="connsiteY63" fmla="*/ 7144 h 366713"/>
              <a:gd name="connsiteX64" fmla="*/ 981075 w 981075"/>
              <a:gd name="connsiteY64" fmla="*/ 0 h 36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981075" h="366713">
                <a:moveTo>
                  <a:pt x="0" y="366713"/>
                </a:moveTo>
                <a:cubicBezTo>
                  <a:pt x="4762" y="359569"/>
                  <a:pt x="11572" y="353427"/>
                  <a:pt x="14287" y="345282"/>
                </a:cubicBezTo>
                <a:cubicBezTo>
                  <a:pt x="15081" y="342901"/>
                  <a:pt x="15276" y="340227"/>
                  <a:pt x="16668" y="338138"/>
                </a:cubicBezTo>
                <a:cubicBezTo>
                  <a:pt x="18536" y="335336"/>
                  <a:pt x="21431" y="333375"/>
                  <a:pt x="23812" y="330994"/>
                </a:cubicBezTo>
                <a:cubicBezTo>
                  <a:pt x="29174" y="314905"/>
                  <a:pt x="21737" y="332345"/>
                  <a:pt x="33337" y="319088"/>
                </a:cubicBezTo>
                <a:cubicBezTo>
                  <a:pt x="37106" y="314780"/>
                  <a:pt x="39687" y="309563"/>
                  <a:pt x="42862" y="304800"/>
                </a:cubicBezTo>
                <a:lnTo>
                  <a:pt x="52387" y="290513"/>
                </a:lnTo>
                <a:cubicBezTo>
                  <a:pt x="53779" y="288424"/>
                  <a:pt x="57150" y="288926"/>
                  <a:pt x="59531" y="288132"/>
                </a:cubicBezTo>
                <a:cubicBezTo>
                  <a:pt x="64795" y="282868"/>
                  <a:pt x="67190" y="279539"/>
                  <a:pt x="73818" y="276225"/>
                </a:cubicBezTo>
                <a:cubicBezTo>
                  <a:pt x="76063" y="275102"/>
                  <a:pt x="78717" y="274966"/>
                  <a:pt x="80962" y="273844"/>
                </a:cubicBezTo>
                <a:cubicBezTo>
                  <a:pt x="83522" y="272564"/>
                  <a:pt x="85546" y="270362"/>
                  <a:pt x="88106" y="269082"/>
                </a:cubicBezTo>
                <a:cubicBezTo>
                  <a:pt x="90351" y="267959"/>
                  <a:pt x="93005" y="267823"/>
                  <a:pt x="95250" y="266700"/>
                </a:cubicBezTo>
                <a:cubicBezTo>
                  <a:pt x="104119" y="262265"/>
                  <a:pt x="101636" y="261378"/>
                  <a:pt x="109537" y="254794"/>
                </a:cubicBezTo>
                <a:cubicBezTo>
                  <a:pt x="111736" y="252962"/>
                  <a:pt x="114121" y="251312"/>
                  <a:pt x="116681" y="250032"/>
                </a:cubicBezTo>
                <a:cubicBezTo>
                  <a:pt x="118926" y="248909"/>
                  <a:pt x="121631" y="248869"/>
                  <a:pt x="123825" y="247650"/>
                </a:cubicBezTo>
                <a:cubicBezTo>
                  <a:pt x="151516" y="232265"/>
                  <a:pt x="124589" y="242632"/>
                  <a:pt x="152400" y="233363"/>
                </a:cubicBezTo>
                <a:cubicBezTo>
                  <a:pt x="162969" y="229840"/>
                  <a:pt x="174625" y="231776"/>
                  <a:pt x="185737" y="230982"/>
                </a:cubicBezTo>
                <a:cubicBezTo>
                  <a:pt x="203698" y="224993"/>
                  <a:pt x="181556" y="233072"/>
                  <a:pt x="200025" y="223838"/>
                </a:cubicBezTo>
                <a:cubicBezTo>
                  <a:pt x="202270" y="222716"/>
                  <a:pt x="204787" y="222251"/>
                  <a:pt x="207168" y="221457"/>
                </a:cubicBezTo>
                <a:cubicBezTo>
                  <a:pt x="218057" y="223272"/>
                  <a:pt x="233463" y="225058"/>
                  <a:pt x="245268" y="228600"/>
                </a:cubicBezTo>
                <a:cubicBezTo>
                  <a:pt x="250077" y="230043"/>
                  <a:pt x="254793" y="231775"/>
                  <a:pt x="259556" y="233363"/>
                </a:cubicBezTo>
                <a:cubicBezTo>
                  <a:pt x="262271" y="234268"/>
                  <a:pt x="264140" y="236845"/>
                  <a:pt x="266700" y="238125"/>
                </a:cubicBezTo>
                <a:cubicBezTo>
                  <a:pt x="268945" y="239248"/>
                  <a:pt x="271536" y="239518"/>
                  <a:pt x="273843" y="240507"/>
                </a:cubicBezTo>
                <a:cubicBezTo>
                  <a:pt x="277106" y="241905"/>
                  <a:pt x="280072" y="243951"/>
                  <a:pt x="283368" y="245269"/>
                </a:cubicBezTo>
                <a:cubicBezTo>
                  <a:pt x="283385" y="245276"/>
                  <a:pt x="301219" y="251219"/>
                  <a:pt x="304800" y="252413"/>
                </a:cubicBezTo>
                <a:cubicBezTo>
                  <a:pt x="308640" y="253693"/>
                  <a:pt x="312737" y="254000"/>
                  <a:pt x="316706" y="254794"/>
                </a:cubicBezTo>
                <a:cubicBezTo>
                  <a:pt x="342900" y="254000"/>
                  <a:pt x="369122" y="253866"/>
                  <a:pt x="395287" y="252413"/>
                </a:cubicBezTo>
                <a:cubicBezTo>
                  <a:pt x="397793" y="252274"/>
                  <a:pt x="400124" y="251021"/>
                  <a:pt x="402431" y="250032"/>
                </a:cubicBezTo>
                <a:cubicBezTo>
                  <a:pt x="407221" y="247979"/>
                  <a:pt x="414883" y="244021"/>
                  <a:pt x="419100" y="240507"/>
                </a:cubicBezTo>
                <a:cubicBezTo>
                  <a:pt x="428315" y="232828"/>
                  <a:pt x="424414" y="232707"/>
                  <a:pt x="435768" y="226219"/>
                </a:cubicBezTo>
                <a:cubicBezTo>
                  <a:pt x="438424" y="224701"/>
                  <a:pt x="450376" y="221972"/>
                  <a:pt x="452437" y="221457"/>
                </a:cubicBezTo>
                <a:cubicBezTo>
                  <a:pt x="455612" y="219869"/>
                  <a:pt x="458880" y="218455"/>
                  <a:pt x="461962" y="216694"/>
                </a:cubicBezTo>
                <a:cubicBezTo>
                  <a:pt x="464447" y="215274"/>
                  <a:pt x="466546" y="213212"/>
                  <a:pt x="469106" y="211932"/>
                </a:cubicBezTo>
                <a:cubicBezTo>
                  <a:pt x="472918" y="210026"/>
                  <a:pt x="482207" y="208188"/>
                  <a:pt x="485775" y="207169"/>
                </a:cubicBezTo>
                <a:cubicBezTo>
                  <a:pt x="488188" y="206480"/>
                  <a:pt x="490537" y="205582"/>
                  <a:pt x="492918" y="204788"/>
                </a:cubicBezTo>
                <a:cubicBezTo>
                  <a:pt x="495299" y="203200"/>
                  <a:pt x="497447" y="201187"/>
                  <a:pt x="500062" y="200025"/>
                </a:cubicBezTo>
                <a:cubicBezTo>
                  <a:pt x="504650" y="197986"/>
                  <a:pt x="509587" y="196850"/>
                  <a:pt x="514350" y="195263"/>
                </a:cubicBezTo>
                <a:cubicBezTo>
                  <a:pt x="560662" y="179827"/>
                  <a:pt x="518908" y="192932"/>
                  <a:pt x="645318" y="190500"/>
                </a:cubicBezTo>
                <a:lnTo>
                  <a:pt x="659606" y="185738"/>
                </a:lnTo>
                <a:cubicBezTo>
                  <a:pt x="669865" y="182319"/>
                  <a:pt x="672370" y="184117"/>
                  <a:pt x="683418" y="178594"/>
                </a:cubicBezTo>
                <a:cubicBezTo>
                  <a:pt x="697262" y="171673"/>
                  <a:pt x="689442" y="174416"/>
                  <a:pt x="707231" y="171450"/>
                </a:cubicBezTo>
                <a:cubicBezTo>
                  <a:pt x="725213" y="164258"/>
                  <a:pt x="714993" y="167724"/>
                  <a:pt x="738187" y="161925"/>
                </a:cubicBezTo>
                <a:lnTo>
                  <a:pt x="747712" y="159544"/>
                </a:lnTo>
                <a:cubicBezTo>
                  <a:pt x="765117" y="147942"/>
                  <a:pt x="743232" y="162104"/>
                  <a:pt x="764381" y="150019"/>
                </a:cubicBezTo>
                <a:cubicBezTo>
                  <a:pt x="766866" y="148599"/>
                  <a:pt x="768965" y="146537"/>
                  <a:pt x="771525" y="145257"/>
                </a:cubicBezTo>
                <a:cubicBezTo>
                  <a:pt x="773770" y="144134"/>
                  <a:pt x="776361" y="143864"/>
                  <a:pt x="778668" y="142875"/>
                </a:cubicBezTo>
                <a:cubicBezTo>
                  <a:pt x="784718" y="140282"/>
                  <a:pt x="788871" y="136908"/>
                  <a:pt x="795337" y="135732"/>
                </a:cubicBezTo>
                <a:cubicBezTo>
                  <a:pt x="801633" y="134587"/>
                  <a:pt x="808037" y="134144"/>
                  <a:pt x="814387" y="133350"/>
                </a:cubicBezTo>
                <a:cubicBezTo>
                  <a:pt x="821559" y="128569"/>
                  <a:pt x="822600" y="127449"/>
                  <a:pt x="831056" y="123825"/>
                </a:cubicBezTo>
                <a:cubicBezTo>
                  <a:pt x="833363" y="122836"/>
                  <a:pt x="835819" y="122238"/>
                  <a:pt x="838200" y="121444"/>
                </a:cubicBezTo>
                <a:cubicBezTo>
                  <a:pt x="843854" y="117674"/>
                  <a:pt x="849698" y="113969"/>
                  <a:pt x="854868" y="109538"/>
                </a:cubicBezTo>
                <a:cubicBezTo>
                  <a:pt x="857425" y="107346"/>
                  <a:pt x="859631" y="104775"/>
                  <a:pt x="862012" y="102394"/>
                </a:cubicBezTo>
                <a:cubicBezTo>
                  <a:pt x="862806" y="100013"/>
                  <a:pt x="862825" y="97210"/>
                  <a:pt x="864393" y="95250"/>
                </a:cubicBezTo>
                <a:cubicBezTo>
                  <a:pt x="866181" y="93015"/>
                  <a:pt x="869338" y="92320"/>
                  <a:pt x="871537" y="90488"/>
                </a:cubicBezTo>
                <a:cubicBezTo>
                  <a:pt x="874124" y="88332"/>
                  <a:pt x="876023" y="85412"/>
                  <a:pt x="878681" y="83344"/>
                </a:cubicBezTo>
                <a:cubicBezTo>
                  <a:pt x="883199" y="79830"/>
                  <a:pt x="892968" y="73819"/>
                  <a:pt x="892968" y="73819"/>
                </a:cubicBezTo>
                <a:cubicBezTo>
                  <a:pt x="896766" y="68122"/>
                  <a:pt x="899040" y="63700"/>
                  <a:pt x="904875" y="59532"/>
                </a:cubicBezTo>
                <a:cubicBezTo>
                  <a:pt x="907764" y="57469"/>
                  <a:pt x="911225" y="56357"/>
                  <a:pt x="914400" y="54769"/>
                </a:cubicBezTo>
                <a:cubicBezTo>
                  <a:pt x="923130" y="41672"/>
                  <a:pt x="914400" y="52784"/>
                  <a:pt x="926306" y="42863"/>
                </a:cubicBezTo>
                <a:cubicBezTo>
                  <a:pt x="928893" y="40707"/>
                  <a:pt x="930792" y="37787"/>
                  <a:pt x="933450" y="35719"/>
                </a:cubicBezTo>
                <a:cubicBezTo>
                  <a:pt x="933467" y="35705"/>
                  <a:pt x="951300" y="23819"/>
                  <a:pt x="954881" y="21432"/>
                </a:cubicBezTo>
                <a:cubicBezTo>
                  <a:pt x="956970" y="20040"/>
                  <a:pt x="959780" y="20173"/>
                  <a:pt x="962025" y="19050"/>
                </a:cubicBezTo>
                <a:cubicBezTo>
                  <a:pt x="964584" y="17770"/>
                  <a:pt x="966787" y="15875"/>
                  <a:pt x="969168" y="14288"/>
                </a:cubicBezTo>
                <a:cubicBezTo>
                  <a:pt x="970756" y="11907"/>
                  <a:pt x="972099" y="9343"/>
                  <a:pt x="973931" y="7144"/>
                </a:cubicBezTo>
                <a:cubicBezTo>
                  <a:pt x="976087" y="4557"/>
                  <a:pt x="981075" y="0"/>
                  <a:pt x="981075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66" name="Полилиния 565"/>
          <p:cNvSpPr/>
          <p:nvPr/>
        </p:nvSpPr>
        <p:spPr>
          <a:xfrm>
            <a:off x="5377581" y="1569407"/>
            <a:ext cx="929583" cy="343632"/>
          </a:xfrm>
          <a:custGeom>
            <a:avLst/>
            <a:gdLst>
              <a:gd name="connsiteX0" fmla="*/ 0 w 981075"/>
              <a:gd name="connsiteY0" fmla="*/ 366713 h 366713"/>
              <a:gd name="connsiteX1" fmla="*/ 14287 w 981075"/>
              <a:gd name="connsiteY1" fmla="*/ 345282 h 366713"/>
              <a:gd name="connsiteX2" fmla="*/ 16668 w 981075"/>
              <a:gd name="connsiteY2" fmla="*/ 338138 h 366713"/>
              <a:gd name="connsiteX3" fmla="*/ 23812 w 981075"/>
              <a:gd name="connsiteY3" fmla="*/ 330994 h 366713"/>
              <a:gd name="connsiteX4" fmla="*/ 33337 w 981075"/>
              <a:gd name="connsiteY4" fmla="*/ 319088 h 366713"/>
              <a:gd name="connsiteX5" fmla="*/ 42862 w 981075"/>
              <a:gd name="connsiteY5" fmla="*/ 304800 h 366713"/>
              <a:gd name="connsiteX6" fmla="*/ 52387 w 981075"/>
              <a:gd name="connsiteY6" fmla="*/ 290513 h 366713"/>
              <a:gd name="connsiteX7" fmla="*/ 59531 w 981075"/>
              <a:gd name="connsiteY7" fmla="*/ 288132 h 366713"/>
              <a:gd name="connsiteX8" fmla="*/ 73818 w 981075"/>
              <a:gd name="connsiteY8" fmla="*/ 276225 h 366713"/>
              <a:gd name="connsiteX9" fmla="*/ 80962 w 981075"/>
              <a:gd name="connsiteY9" fmla="*/ 273844 h 366713"/>
              <a:gd name="connsiteX10" fmla="*/ 88106 w 981075"/>
              <a:gd name="connsiteY10" fmla="*/ 269082 h 366713"/>
              <a:gd name="connsiteX11" fmla="*/ 95250 w 981075"/>
              <a:gd name="connsiteY11" fmla="*/ 266700 h 366713"/>
              <a:gd name="connsiteX12" fmla="*/ 109537 w 981075"/>
              <a:gd name="connsiteY12" fmla="*/ 254794 h 366713"/>
              <a:gd name="connsiteX13" fmla="*/ 116681 w 981075"/>
              <a:gd name="connsiteY13" fmla="*/ 250032 h 366713"/>
              <a:gd name="connsiteX14" fmla="*/ 123825 w 981075"/>
              <a:gd name="connsiteY14" fmla="*/ 247650 h 366713"/>
              <a:gd name="connsiteX15" fmla="*/ 152400 w 981075"/>
              <a:gd name="connsiteY15" fmla="*/ 233363 h 366713"/>
              <a:gd name="connsiteX16" fmla="*/ 185737 w 981075"/>
              <a:gd name="connsiteY16" fmla="*/ 230982 h 366713"/>
              <a:gd name="connsiteX17" fmla="*/ 200025 w 981075"/>
              <a:gd name="connsiteY17" fmla="*/ 223838 h 366713"/>
              <a:gd name="connsiteX18" fmla="*/ 207168 w 981075"/>
              <a:gd name="connsiteY18" fmla="*/ 221457 h 366713"/>
              <a:gd name="connsiteX19" fmla="*/ 245268 w 981075"/>
              <a:gd name="connsiteY19" fmla="*/ 228600 h 366713"/>
              <a:gd name="connsiteX20" fmla="*/ 259556 w 981075"/>
              <a:gd name="connsiteY20" fmla="*/ 233363 h 366713"/>
              <a:gd name="connsiteX21" fmla="*/ 266700 w 981075"/>
              <a:gd name="connsiteY21" fmla="*/ 238125 h 366713"/>
              <a:gd name="connsiteX22" fmla="*/ 273843 w 981075"/>
              <a:gd name="connsiteY22" fmla="*/ 240507 h 366713"/>
              <a:gd name="connsiteX23" fmla="*/ 283368 w 981075"/>
              <a:gd name="connsiteY23" fmla="*/ 245269 h 366713"/>
              <a:gd name="connsiteX24" fmla="*/ 304800 w 981075"/>
              <a:gd name="connsiteY24" fmla="*/ 252413 h 366713"/>
              <a:gd name="connsiteX25" fmla="*/ 316706 w 981075"/>
              <a:gd name="connsiteY25" fmla="*/ 254794 h 366713"/>
              <a:gd name="connsiteX26" fmla="*/ 395287 w 981075"/>
              <a:gd name="connsiteY26" fmla="*/ 252413 h 366713"/>
              <a:gd name="connsiteX27" fmla="*/ 402431 w 981075"/>
              <a:gd name="connsiteY27" fmla="*/ 250032 h 366713"/>
              <a:gd name="connsiteX28" fmla="*/ 419100 w 981075"/>
              <a:gd name="connsiteY28" fmla="*/ 240507 h 366713"/>
              <a:gd name="connsiteX29" fmla="*/ 435768 w 981075"/>
              <a:gd name="connsiteY29" fmla="*/ 226219 h 366713"/>
              <a:gd name="connsiteX30" fmla="*/ 452437 w 981075"/>
              <a:gd name="connsiteY30" fmla="*/ 221457 h 366713"/>
              <a:gd name="connsiteX31" fmla="*/ 461962 w 981075"/>
              <a:gd name="connsiteY31" fmla="*/ 216694 h 366713"/>
              <a:gd name="connsiteX32" fmla="*/ 469106 w 981075"/>
              <a:gd name="connsiteY32" fmla="*/ 211932 h 366713"/>
              <a:gd name="connsiteX33" fmla="*/ 485775 w 981075"/>
              <a:gd name="connsiteY33" fmla="*/ 207169 h 366713"/>
              <a:gd name="connsiteX34" fmla="*/ 492918 w 981075"/>
              <a:gd name="connsiteY34" fmla="*/ 204788 h 366713"/>
              <a:gd name="connsiteX35" fmla="*/ 500062 w 981075"/>
              <a:gd name="connsiteY35" fmla="*/ 200025 h 366713"/>
              <a:gd name="connsiteX36" fmla="*/ 514350 w 981075"/>
              <a:gd name="connsiteY36" fmla="*/ 195263 h 366713"/>
              <a:gd name="connsiteX37" fmla="*/ 645318 w 981075"/>
              <a:gd name="connsiteY37" fmla="*/ 190500 h 366713"/>
              <a:gd name="connsiteX38" fmla="*/ 659606 w 981075"/>
              <a:gd name="connsiteY38" fmla="*/ 185738 h 366713"/>
              <a:gd name="connsiteX39" fmla="*/ 683418 w 981075"/>
              <a:gd name="connsiteY39" fmla="*/ 178594 h 366713"/>
              <a:gd name="connsiteX40" fmla="*/ 707231 w 981075"/>
              <a:gd name="connsiteY40" fmla="*/ 171450 h 366713"/>
              <a:gd name="connsiteX41" fmla="*/ 738187 w 981075"/>
              <a:gd name="connsiteY41" fmla="*/ 161925 h 366713"/>
              <a:gd name="connsiteX42" fmla="*/ 747712 w 981075"/>
              <a:gd name="connsiteY42" fmla="*/ 159544 h 366713"/>
              <a:gd name="connsiteX43" fmla="*/ 764381 w 981075"/>
              <a:gd name="connsiteY43" fmla="*/ 150019 h 366713"/>
              <a:gd name="connsiteX44" fmla="*/ 771525 w 981075"/>
              <a:gd name="connsiteY44" fmla="*/ 145257 h 366713"/>
              <a:gd name="connsiteX45" fmla="*/ 778668 w 981075"/>
              <a:gd name="connsiteY45" fmla="*/ 142875 h 366713"/>
              <a:gd name="connsiteX46" fmla="*/ 795337 w 981075"/>
              <a:gd name="connsiteY46" fmla="*/ 135732 h 366713"/>
              <a:gd name="connsiteX47" fmla="*/ 814387 w 981075"/>
              <a:gd name="connsiteY47" fmla="*/ 133350 h 366713"/>
              <a:gd name="connsiteX48" fmla="*/ 831056 w 981075"/>
              <a:gd name="connsiteY48" fmla="*/ 123825 h 366713"/>
              <a:gd name="connsiteX49" fmla="*/ 838200 w 981075"/>
              <a:gd name="connsiteY49" fmla="*/ 121444 h 366713"/>
              <a:gd name="connsiteX50" fmla="*/ 854868 w 981075"/>
              <a:gd name="connsiteY50" fmla="*/ 109538 h 366713"/>
              <a:gd name="connsiteX51" fmla="*/ 862012 w 981075"/>
              <a:gd name="connsiteY51" fmla="*/ 102394 h 366713"/>
              <a:gd name="connsiteX52" fmla="*/ 864393 w 981075"/>
              <a:gd name="connsiteY52" fmla="*/ 95250 h 366713"/>
              <a:gd name="connsiteX53" fmla="*/ 871537 w 981075"/>
              <a:gd name="connsiteY53" fmla="*/ 90488 h 366713"/>
              <a:gd name="connsiteX54" fmla="*/ 878681 w 981075"/>
              <a:gd name="connsiteY54" fmla="*/ 83344 h 366713"/>
              <a:gd name="connsiteX55" fmla="*/ 892968 w 981075"/>
              <a:gd name="connsiteY55" fmla="*/ 73819 h 366713"/>
              <a:gd name="connsiteX56" fmla="*/ 904875 w 981075"/>
              <a:gd name="connsiteY56" fmla="*/ 59532 h 366713"/>
              <a:gd name="connsiteX57" fmla="*/ 914400 w 981075"/>
              <a:gd name="connsiteY57" fmla="*/ 54769 h 366713"/>
              <a:gd name="connsiteX58" fmla="*/ 926306 w 981075"/>
              <a:gd name="connsiteY58" fmla="*/ 42863 h 366713"/>
              <a:gd name="connsiteX59" fmla="*/ 933450 w 981075"/>
              <a:gd name="connsiteY59" fmla="*/ 35719 h 366713"/>
              <a:gd name="connsiteX60" fmla="*/ 954881 w 981075"/>
              <a:gd name="connsiteY60" fmla="*/ 21432 h 366713"/>
              <a:gd name="connsiteX61" fmla="*/ 962025 w 981075"/>
              <a:gd name="connsiteY61" fmla="*/ 19050 h 366713"/>
              <a:gd name="connsiteX62" fmla="*/ 969168 w 981075"/>
              <a:gd name="connsiteY62" fmla="*/ 14288 h 366713"/>
              <a:gd name="connsiteX63" fmla="*/ 973931 w 981075"/>
              <a:gd name="connsiteY63" fmla="*/ 7144 h 366713"/>
              <a:gd name="connsiteX64" fmla="*/ 981075 w 981075"/>
              <a:gd name="connsiteY64" fmla="*/ 0 h 36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981075" h="366713">
                <a:moveTo>
                  <a:pt x="0" y="366713"/>
                </a:moveTo>
                <a:cubicBezTo>
                  <a:pt x="4762" y="359569"/>
                  <a:pt x="11572" y="353427"/>
                  <a:pt x="14287" y="345282"/>
                </a:cubicBezTo>
                <a:cubicBezTo>
                  <a:pt x="15081" y="342901"/>
                  <a:pt x="15276" y="340227"/>
                  <a:pt x="16668" y="338138"/>
                </a:cubicBezTo>
                <a:cubicBezTo>
                  <a:pt x="18536" y="335336"/>
                  <a:pt x="21431" y="333375"/>
                  <a:pt x="23812" y="330994"/>
                </a:cubicBezTo>
                <a:cubicBezTo>
                  <a:pt x="29174" y="314905"/>
                  <a:pt x="21737" y="332345"/>
                  <a:pt x="33337" y="319088"/>
                </a:cubicBezTo>
                <a:cubicBezTo>
                  <a:pt x="37106" y="314780"/>
                  <a:pt x="39687" y="309563"/>
                  <a:pt x="42862" y="304800"/>
                </a:cubicBezTo>
                <a:lnTo>
                  <a:pt x="52387" y="290513"/>
                </a:lnTo>
                <a:cubicBezTo>
                  <a:pt x="53779" y="288424"/>
                  <a:pt x="57150" y="288926"/>
                  <a:pt x="59531" y="288132"/>
                </a:cubicBezTo>
                <a:cubicBezTo>
                  <a:pt x="64795" y="282868"/>
                  <a:pt x="67190" y="279539"/>
                  <a:pt x="73818" y="276225"/>
                </a:cubicBezTo>
                <a:cubicBezTo>
                  <a:pt x="76063" y="275102"/>
                  <a:pt x="78717" y="274966"/>
                  <a:pt x="80962" y="273844"/>
                </a:cubicBezTo>
                <a:cubicBezTo>
                  <a:pt x="83522" y="272564"/>
                  <a:pt x="85546" y="270362"/>
                  <a:pt x="88106" y="269082"/>
                </a:cubicBezTo>
                <a:cubicBezTo>
                  <a:pt x="90351" y="267959"/>
                  <a:pt x="93005" y="267823"/>
                  <a:pt x="95250" y="266700"/>
                </a:cubicBezTo>
                <a:cubicBezTo>
                  <a:pt x="104119" y="262265"/>
                  <a:pt x="101636" y="261378"/>
                  <a:pt x="109537" y="254794"/>
                </a:cubicBezTo>
                <a:cubicBezTo>
                  <a:pt x="111736" y="252962"/>
                  <a:pt x="114121" y="251312"/>
                  <a:pt x="116681" y="250032"/>
                </a:cubicBezTo>
                <a:cubicBezTo>
                  <a:pt x="118926" y="248909"/>
                  <a:pt x="121631" y="248869"/>
                  <a:pt x="123825" y="247650"/>
                </a:cubicBezTo>
                <a:cubicBezTo>
                  <a:pt x="151516" y="232265"/>
                  <a:pt x="124589" y="242632"/>
                  <a:pt x="152400" y="233363"/>
                </a:cubicBezTo>
                <a:cubicBezTo>
                  <a:pt x="162969" y="229840"/>
                  <a:pt x="174625" y="231776"/>
                  <a:pt x="185737" y="230982"/>
                </a:cubicBezTo>
                <a:cubicBezTo>
                  <a:pt x="203698" y="224993"/>
                  <a:pt x="181556" y="233072"/>
                  <a:pt x="200025" y="223838"/>
                </a:cubicBezTo>
                <a:cubicBezTo>
                  <a:pt x="202270" y="222716"/>
                  <a:pt x="204787" y="222251"/>
                  <a:pt x="207168" y="221457"/>
                </a:cubicBezTo>
                <a:cubicBezTo>
                  <a:pt x="218057" y="223272"/>
                  <a:pt x="233463" y="225058"/>
                  <a:pt x="245268" y="228600"/>
                </a:cubicBezTo>
                <a:cubicBezTo>
                  <a:pt x="250077" y="230043"/>
                  <a:pt x="254793" y="231775"/>
                  <a:pt x="259556" y="233363"/>
                </a:cubicBezTo>
                <a:cubicBezTo>
                  <a:pt x="262271" y="234268"/>
                  <a:pt x="264140" y="236845"/>
                  <a:pt x="266700" y="238125"/>
                </a:cubicBezTo>
                <a:cubicBezTo>
                  <a:pt x="268945" y="239248"/>
                  <a:pt x="271536" y="239518"/>
                  <a:pt x="273843" y="240507"/>
                </a:cubicBezTo>
                <a:cubicBezTo>
                  <a:pt x="277106" y="241905"/>
                  <a:pt x="280072" y="243951"/>
                  <a:pt x="283368" y="245269"/>
                </a:cubicBezTo>
                <a:cubicBezTo>
                  <a:pt x="283385" y="245276"/>
                  <a:pt x="301219" y="251219"/>
                  <a:pt x="304800" y="252413"/>
                </a:cubicBezTo>
                <a:cubicBezTo>
                  <a:pt x="308640" y="253693"/>
                  <a:pt x="312737" y="254000"/>
                  <a:pt x="316706" y="254794"/>
                </a:cubicBezTo>
                <a:cubicBezTo>
                  <a:pt x="342900" y="254000"/>
                  <a:pt x="369122" y="253866"/>
                  <a:pt x="395287" y="252413"/>
                </a:cubicBezTo>
                <a:cubicBezTo>
                  <a:pt x="397793" y="252274"/>
                  <a:pt x="400124" y="251021"/>
                  <a:pt x="402431" y="250032"/>
                </a:cubicBezTo>
                <a:cubicBezTo>
                  <a:pt x="407221" y="247979"/>
                  <a:pt x="414883" y="244021"/>
                  <a:pt x="419100" y="240507"/>
                </a:cubicBezTo>
                <a:cubicBezTo>
                  <a:pt x="428315" y="232828"/>
                  <a:pt x="424414" y="232707"/>
                  <a:pt x="435768" y="226219"/>
                </a:cubicBezTo>
                <a:cubicBezTo>
                  <a:pt x="438424" y="224701"/>
                  <a:pt x="450376" y="221972"/>
                  <a:pt x="452437" y="221457"/>
                </a:cubicBezTo>
                <a:cubicBezTo>
                  <a:pt x="455612" y="219869"/>
                  <a:pt x="458880" y="218455"/>
                  <a:pt x="461962" y="216694"/>
                </a:cubicBezTo>
                <a:cubicBezTo>
                  <a:pt x="464447" y="215274"/>
                  <a:pt x="466546" y="213212"/>
                  <a:pt x="469106" y="211932"/>
                </a:cubicBezTo>
                <a:cubicBezTo>
                  <a:pt x="472918" y="210026"/>
                  <a:pt x="482207" y="208188"/>
                  <a:pt x="485775" y="207169"/>
                </a:cubicBezTo>
                <a:cubicBezTo>
                  <a:pt x="488188" y="206480"/>
                  <a:pt x="490537" y="205582"/>
                  <a:pt x="492918" y="204788"/>
                </a:cubicBezTo>
                <a:cubicBezTo>
                  <a:pt x="495299" y="203200"/>
                  <a:pt x="497447" y="201187"/>
                  <a:pt x="500062" y="200025"/>
                </a:cubicBezTo>
                <a:cubicBezTo>
                  <a:pt x="504650" y="197986"/>
                  <a:pt x="509587" y="196850"/>
                  <a:pt x="514350" y="195263"/>
                </a:cubicBezTo>
                <a:cubicBezTo>
                  <a:pt x="560662" y="179827"/>
                  <a:pt x="518908" y="192932"/>
                  <a:pt x="645318" y="190500"/>
                </a:cubicBezTo>
                <a:lnTo>
                  <a:pt x="659606" y="185738"/>
                </a:lnTo>
                <a:cubicBezTo>
                  <a:pt x="669865" y="182319"/>
                  <a:pt x="672370" y="184117"/>
                  <a:pt x="683418" y="178594"/>
                </a:cubicBezTo>
                <a:cubicBezTo>
                  <a:pt x="697262" y="171673"/>
                  <a:pt x="689442" y="174416"/>
                  <a:pt x="707231" y="171450"/>
                </a:cubicBezTo>
                <a:cubicBezTo>
                  <a:pt x="725213" y="164258"/>
                  <a:pt x="714993" y="167724"/>
                  <a:pt x="738187" y="161925"/>
                </a:cubicBezTo>
                <a:lnTo>
                  <a:pt x="747712" y="159544"/>
                </a:lnTo>
                <a:cubicBezTo>
                  <a:pt x="765117" y="147942"/>
                  <a:pt x="743232" y="162104"/>
                  <a:pt x="764381" y="150019"/>
                </a:cubicBezTo>
                <a:cubicBezTo>
                  <a:pt x="766866" y="148599"/>
                  <a:pt x="768965" y="146537"/>
                  <a:pt x="771525" y="145257"/>
                </a:cubicBezTo>
                <a:cubicBezTo>
                  <a:pt x="773770" y="144134"/>
                  <a:pt x="776361" y="143864"/>
                  <a:pt x="778668" y="142875"/>
                </a:cubicBezTo>
                <a:cubicBezTo>
                  <a:pt x="784718" y="140282"/>
                  <a:pt x="788871" y="136908"/>
                  <a:pt x="795337" y="135732"/>
                </a:cubicBezTo>
                <a:cubicBezTo>
                  <a:pt x="801633" y="134587"/>
                  <a:pt x="808037" y="134144"/>
                  <a:pt x="814387" y="133350"/>
                </a:cubicBezTo>
                <a:cubicBezTo>
                  <a:pt x="821559" y="128569"/>
                  <a:pt x="822600" y="127449"/>
                  <a:pt x="831056" y="123825"/>
                </a:cubicBezTo>
                <a:cubicBezTo>
                  <a:pt x="833363" y="122836"/>
                  <a:pt x="835819" y="122238"/>
                  <a:pt x="838200" y="121444"/>
                </a:cubicBezTo>
                <a:cubicBezTo>
                  <a:pt x="843854" y="117674"/>
                  <a:pt x="849698" y="113969"/>
                  <a:pt x="854868" y="109538"/>
                </a:cubicBezTo>
                <a:cubicBezTo>
                  <a:pt x="857425" y="107346"/>
                  <a:pt x="859631" y="104775"/>
                  <a:pt x="862012" y="102394"/>
                </a:cubicBezTo>
                <a:cubicBezTo>
                  <a:pt x="862806" y="100013"/>
                  <a:pt x="862825" y="97210"/>
                  <a:pt x="864393" y="95250"/>
                </a:cubicBezTo>
                <a:cubicBezTo>
                  <a:pt x="866181" y="93015"/>
                  <a:pt x="869338" y="92320"/>
                  <a:pt x="871537" y="90488"/>
                </a:cubicBezTo>
                <a:cubicBezTo>
                  <a:pt x="874124" y="88332"/>
                  <a:pt x="876023" y="85412"/>
                  <a:pt x="878681" y="83344"/>
                </a:cubicBezTo>
                <a:cubicBezTo>
                  <a:pt x="883199" y="79830"/>
                  <a:pt x="892968" y="73819"/>
                  <a:pt x="892968" y="73819"/>
                </a:cubicBezTo>
                <a:cubicBezTo>
                  <a:pt x="896766" y="68122"/>
                  <a:pt x="899040" y="63700"/>
                  <a:pt x="904875" y="59532"/>
                </a:cubicBezTo>
                <a:cubicBezTo>
                  <a:pt x="907764" y="57469"/>
                  <a:pt x="911225" y="56357"/>
                  <a:pt x="914400" y="54769"/>
                </a:cubicBezTo>
                <a:cubicBezTo>
                  <a:pt x="923130" y="41672"/>
                  <a:pt x="914400" y="52784"/>
                  <a:pt x="926306" y="42863"/>
                </a:cubicBezTo>
                <a:cubicBezTo>
                  <a:pt x="928893" y="40707"/>
                  <a:pt x="930792" y="37787"/>
                  <a:pt x="933450" y="35719"/>
                </a:cubicBezTo>
                <a:cubicBezTo>
                  <a:pt x="933467" y="35705"/>
                  <a:pt x="951300" y="23819"/>
                  <a:pt x="954881" y="21432"/>
                </a:cubicBezTo>
                <a:cubicBezTo>
                  <a:pt x="956970" y="20040"/>
                  <a:pt x="959780" y="20173"/>
                  <a:pt x="962025" y="19050"/>
                </a:cubicBezTo>
                <a:cubicBezTo>
                  <a:pt x="964584" y="17770"/>
                  <a:pt x="966787" y="15875"/>
                  <a:pt x="969168" y="14288"/>
                </a:cubicBezTo>
                <a:cubicBezTo>
                  <a:pt x="970756" y="11907"/>
                  <a:pt x="972099" y="9343"/>
                  <a:pt x="973931" y="7144"/>
                </a:cubicBezTo>
                <a:cubicBezTo>
                  <a:pt x="976087" y="4557"/>
                  <a:pt x="981075" y="0"/>
                  <a:pt x="981075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573" name="Прямая соединительная линия 572"/>
          <p:cNvCxnSpPr>
            <a:endCxn id="544" idx="0"/>
          </p:cNvCxnSpPr>
          <p:nvPr/>
        </p:nvCxnSpPr>
        <p:spPr>
          <a:xfrm>
            <a:off x="1397660" y="1510537"/>
            <a:ext cx="33459" cy="83843"/>
          </a:xfrm>
          <a:prstGeom prst="line">
            <a:avLst/>
          </a:pr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74" name="Блок-схема: узел 573"/>
          <p:cNvSpPr/>
          <p:nvPr/>
        </p:nvSpPr>
        <p:spPr bwMode="auto">
          <a:xfrm>
            <a:off x="1388274" y="1600561"/>
            <a:ext cx="85680" cy="67245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5" name="Блок-схема: узел 574"/>
          <p:cNvSpPr/>
          <p:nvPr/>
        </p:nvSpPr>
        <p:spPr bwMode="auto">
          <a:xfrm>
            <a:off x="4697366" y="1727834"/>
            <a:ext cx="69470" cy="5565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6" name="AutoShape 19"/>
          <p:cNvSpPr>
            <a:spLocks noChangeArrowheads="1"/>
          </p:cNvSpPr>
          <p:nvPr/>
        </p:nvSpPr>
        <p:spPr bwMode="auto">
          <a:xfrm>
            <a:off x="4452163" y="1819435"/>
            <a:ext cx="376295" cy="8463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8" tIns="35995" rIns="17998" bIns="35995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тбасар</a:t>
            </a:r>
          </a:p>
        </p:txBody>
      </p:sp>
      <p:sp>
        <p:nvSpPr>
          <p:cNvPr id="582" name="Полилиния 581"/>
          <p:cNvSpPr/>
          <p:nvPr/>
        </p:nvSpPr>
        <p:spPr>
          <a:xfrm>
            <a:off x="5365740" y="1545121"/>
            <a:ext cx="929583" cy="343632"/>
          </a:xfrm>
          <a:custGeom>
            <a:avLst/>
            <a:gdLst>
              <a:gd name="connsiteX0" fmla="*/ 0 w 981075"/>
              <a:gd name="connsiteY0" fmla="*/ 366713 h 366713"/>
              <a:gd name="connsiteX1" fmla="*/ 14287 w 981075"/>
              <a:gd name="connsiteY1" fmla="*/ 345282 h 366713"/>
              <a:gd name="connsiteX2" fmla="*/ 16668 w 981075"/>
              <a:gd name="connsiteY2" fmla="*/ 338138 h 366713"/>
              <a:gd name="connsiteX3" fmla="*/ 23812 w 981075"/>
              <a:gd name="connsiteY3" fmla="*/ 330994 h 366713"/>
              <a:gd name="connsiteX4" fmla="*/ 33337 w 981075"/>
              <a:gd name="connsiteY4" fmla="*/ 319088 h 366713"/>
              <a:gd name="connsiteX5" fmla="*/ 42862 w 981075"/>
              <a:gd name="connsiteY5" fmla="*/ 304800 h 366713"/>
              <a:gd name="connsiteX6" fmla="*/ 52387 w 981075"/>
              <a:gd name="connsiteY6" fmla="*/ 290513 h 366713"/>
              <a:gd name="connsiteX7" fmla="*/ 59531 w 981075"/>
              <a:gd name="connsiteY7" fmla="*/ 288132 h 366713"/>
              <a:gd name="connsiteX8" fmla="*/ 73818 w 981075"/>
              <a:gd name="connsiteY8" fmla="*/ 276225 h 366713"/>
              <a:gd name="connsiteX9" fmla="*/ 80962 w 981075"/>
              <a:gd name="connsiteY9" fmla="*/ 273844 h 366713"/>
              <a:gd name="connsiteX10" fmla="*/ 88106 w 981075"/>
              <a:gd name="connsiteY10" fmla="*/ 269082 h 366713"/>
              <a:gd name="connsiteX11" fmla="*/ 95250 w 981075"/>
              <a:gd name="connsiteY11" fmla="*/ 266700 h 366713"/>
              <a:gd name="connsiteX12" fmla="*/ 109537 w 981075"/>
              <a:gd name="connsiteY12" fmla="*/ 254794 h 366713"/>
              <a:gd name="connsiteX13" fmla="*/ 116681 w 981075"/>
              <a:gd name="connsiteY13" fmla="*/ 250032 h 366713"/>
              <a:gd name="connsiteX14" fmla="*/ 123825 w 981075"/>
              <a:gd name="connsiteY14" fmla="*/ 247650 h 366713"/>
              <a:gd name="connsiteX15" fmla="*/ 152400 w 981075"/>
              <a:gd name="connsiteY15" fmla="*/ 233363 h 366713"/>
              <a:gd name="connsiteX16" fmla="*/ 185737 w 981075"/>
              <a:gd name="connsiteY16" fmla="*/ 230982 h 366713"/>
              <a:gd name="connsiteX17" fmla="*/ 200025 w 981075"/>
              <a:gd name="connsiteY17" fmla="*/ 223838 h 366713"/>
              <a:gd name="connsiteX18" fmla="*/ 207168 w 981075"/>
              <a:gd name="connsiteY18" fmla="*/ 221457 h 366713"/>
              <a:gd name="connsiteX19" fmla="*/ 245268 w 981075"/>
              <a:gd name="connsiteY19" fmla="*/ 228600 h 366713"/>
              <a:gd name="connsiteX20" fmla="*/ 259556 w 981075"/>
              <a:gd name="connsiteY20" fmla="*/ 233363 h 366713"/>
              <a:gd name="connsiteX21" fmla="*/ 266700 w 981075"/>
              <a:gd name="connsiteY21" fmla="*/ 238125 h 366713"/>
              <a:gd name="connsiteX22" fmla="*/ 273843 w 981075"/>
              <a:gd name="connsiteY22" fmla="*/ 240507 h 366713"/>
              <a:gd name="connsiteX23" fmla="*/ 283368 w 981075"/>
              <a:gd name="connsiteY23" fmla="*/ 245269 h 366713"/>
              <a:gd name="connsiteX24" fmla="*/ 304800 w 981075"/>
              <a:gd name="connsiteY24" fmla="*/ 252413 h 366713"/>
              <a:gd name="connsiteX25" fmla="*/ 316706 w 981075"/>
              <a:gd name="connsiteY25" fmla="*/ 254794 h 366713"/>
              <a:gd name="connsiteX26" fmla="*/ 395287 w 981075"/>
              <a:gd name="connsiteY26" fmla="*/ 252413 h 366713"/>
              <a:gd name="connsiteX27" fmla="*/ 402431 w 981075"/>
              <a:gd name="connsiteY27" fmla="*/ 250032 h 366713"/>
              <a:gd name="connsiteX28" fmla="*/ 419100 w 981075"/>
              <a:gd name="connsiteY28" fmla="*/ 240507 h 366713"/>
              <a:gd name="connsiteX29" fmla="*/ 435768 w 981075"/>
              <a:gd name="connsiteY29" fmla="*/ 226219 h 366713"/>
              <a:gd name="connsiteX30" fmla="*/ 452437 w 981075"/>
              <a:gd name="connsiteY30" fmla="*/ 221457 h 366713"/>
              <a:gd name="connsiteX31" fmla="*/ 461962 w 981075"/>
              <a:gd name="connsiteY31" fmla="*/ 216694 h 366713"/>
              <a:gd name="connsiteX32" fmla="*/ 469106 w 981075"/>
              <a:gd name="connsiteY32" fmla="*/ 211932 h 366713"/>
              <a:gd name="connsiteX33" fmla="*/ 485775 w 981075"/>
              <a:gd name="connsiteY33" fmla="*/ 207169 h 366713"/>
              <a:gd name="connsiteX34" fmla="*/ 492918 w 981075"/>
              <a:gd name="connsiteY34" fmla="*/ 204788 h 366713"/>
              <a:gd name="connsiteX35" fmla="*/ 500062 w 981075"/>
              <a:gd name="connsiteY35" fmla="*/ 200025 h 366713"/>
              <a:gd name="connsiteX36" fmla="*/ 514350 w 981075"/>
              <a:gd name="connsiteY36" fmla="*/ 195263 h 366713"/>
              <a:gd name="connsiteX37" fmla="*/ 645318 w 981075"/>
              <a:gd name="connsiteY37" fmla="*/ 190500 h 366713"/>
              <a:gd name="connsiteX38" fmla="*/ 659606 w 981075"/>
              <a:gd name="connsiteY38" fmla="*/ 185738 h 366713"/>
              <a:gd name="connsiteX39" fmla="*/ 683418 w 981075"/>
              <a:gd name="connsiteY39" fmla="*/ 178594 h 366713"/>
              <a:gd name="connsiteX40" fmla="*/ 707231 w 981075"/>
              <a:gd name="connsiteY40" fmla="*/ 171450 h 366713"/>
              <a:gd name="connsiteX41" fmla="*/ 738187 w 981075"/>
              <a:gd name="connsiteY41" fmla="*/ 161925 h 366713"/>
              <a:gd name="connsiteX42" fmla="*/ 747712 w 981075"/>
              <a:gd name="connsiteY42" fmla="*/ 159544 h 366713"/>
              <a:gd name="connsiteX43" fmla="*/ 764381 w 981075"/>
              <a:gd name="connsiteY43" fmla="*/ 150019 h 366713"/>
              <a:gd name="connsiteX44" fmla="*/ 771525 w 981075"/>
              <a:gd name="connsiteY44" fmla="*/ 145257 h 366713"/>
              <a:gd name="connsiteX45" fmla="*/ 778668 w 981075"/>
              <a:gd name="connsiteY45" fmla="*/ 142875 h 366713"/>
              <a:gd name="connsiteX46" fmla="*/ 795337 w 981075"/>
              <a:gd name="connsiteY46" fmla="*/ 135732 h 366713"/>
              <a:gd name="connsiteX47" fmla="*/ 814387 w 981075"/>
              <a:gd name="connsiteY47" fmla="*/ 133350 h 366713"/>
              <a:gd name="connsiteX48" fmla="*/ 831056 w 981075"/>
              <a:gd name="connsiteY48" fmla="*/ 123825 h 366713"/>
              <a:gd name="connsiteX49" fmla="*/ 838200 w 981075"/>
              <a:gd name="connsiteY49" fmla="*/ 121444 h 366713"/>
              <a:gd name="connsiteX50" fmla="*/ 854868 w 981075"/>
              <a:gd name="connsiteY50" fmla="*/ 109538 h 366713"/>
              <a:gd name="connsiteX51" fmla="*/ 862012 w 981075"/>
              <a:gd name="connsiteY51" fmla="*/ 102394 h 366713"/>
              <a:gd name="connsiteX52" fmla="*/ 864393 w 981075"/>
              <a:gd name="connsiteY52" fmla="*/ 95250 h 366713"/>
              <a:gd name="connsiteX53" fmla="*/ 871537 w 981075"/>
              <a:gd name="connsiteY53" fmla="*/ 90488 h 366713"/>
              <a:gd name="connsiteX54" fmla="*/ 878681 w 981075"/>
              <a:gd name="connsiteY54" fmla="*/ 83344 h 366713"/>
              <a:gd name="connsiteX55" fmla="*/ 892968 w 981075"/>
              <a:gd name="connsiteY55" fmla="*/ 73819 h 366713"/>
              <a:gd name="connsiteX56" fmla="*/ 904875 w 981075"/>
              <a:gd name="connsiteY56" fmla="*/ 59532 h 366713"/>
              <a:gd name="connsiteX57" fmla="*/ 914400 w 981075"/>
              <a:gd name="connsiteY57" fmla="*/ 54769 h 366713"/>
              <a:gd name="connsiteX58" fmla="*/ 926306 w 981075"/>
              <a:gd name="connsiteY58" fmla="*/ 42863 h 366713"/>
              <a:gd name="connsiteX59" fmla="*/ 933450 w 981075"/>
              <a:gd name="connsiteY59" fmla="*/ 35719 h 366713"/>
              <a:gd name="connsiteX60" fmla="*/ 954881 w 981075"/>
              <a:gd name="connsiteY60" fmla="*/ 21432 h 366713"/>
              <a:gd name="connsiteX61" fmla="*/ 962025 w 981075"/>
              <a:gd name="connsiteY61" fmla="*/ 19050 h 366713"/>
              <a:gd name="connsiteX62" fmla="*/ 969168 w 981075"/>
              <a:gd name="connsiteY62" fmla="*/ 14288 h 366713"/>
              <a:gd name="connsiteX63" fmla="*/ 973931 w 981075"/>
              <a:gd name="connsiteY63" fmla="*/ 7144 h 366713"/>
              <a:gd name="connsiteX64" fmla="*/ 981075 w 981075"/>
              <a:gd name="connsiteY64" fmla="*/ 0 h 366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</a:cxnLst>
            <a:rect l="l" t="t" r="r" b="b"/>
            <a:pathLst>
              <a:path w="981075" h="366713">
                <a:moveTo>
                  <a:pt x="0" y="366713"/>
                </a:moveTo>
                <a:cubicBezTo>
                  <a:pt x="4762" y="359569"/>
                  <a:pt x="11572" y="353427"/>
                  <a:pt x="14287" y="345282"/>
                </a:cubicBezTo>
                <a:cubicBezTo>
                  <a:pt x="15081" y="342901"/>
                  <a:pt x="15276" y="340227"/>
                  <a:pt x="16668" y="338138"/>
                </a:cubicBezTo>
                <a:cubicBezTo>
                  <a:pt x="18536" y="335336"/>
                  <a:pt x="21431" y="333375"/>
                  <a:pt x="23812" y="330994"/>
                </a:cubicBezTo>
                <a:cubicBezTo>
                  <a:pt x="29174" y="314905"/>
                  <a:pt x="21737" y="332345"/>
                  <a:pt x="33337" y="319088"/>
                </a:cubicBezTo>
                <a:cubicBezTo>
                  <a:pt x="37106" y="314780"/>
                  <a:pt x="39687" y="309563"/>
                  <a:pt x="42862" y="304800"/>
                </a:cubicBezTo>
                <a:lnTo>
                  <a:pt x="52387" y="290513"/>
                </a:lnTo>
                <a:cubicBezTo>
                  <a:pt x="53779" y="288424"/>
                  <a:pt x="57150" y="288926"/>
                  <a:pt x="59531" y="288132"/>
                </a:cubicBezTo>
                <a:cubicBezTo>
                  <a:pt x="64795" y="282868"/>
                  <a:pt x="67190" y="279539"/>
                  <a:pt x="73818" y="276225"/>
                </a:cubicBezTo>
                <a:cubicBezTo>
                  <a:pt x="76063" y="275102"/>
                  <a:pt x="78717" y="274966"/>
                  <a:pt x="80962" y="273844"/>
                </a:cubicBezTo>
                <a:cubicBezTo>
                  <a:pt x="83522" y="272564"/>
                  <a:pt x="85546" y="270362"/>
                  <a:pt x="88106" y="269082"/>
                </a:cubicBezTo>
                <a:cubicBezTo>
                  <a:pt x="90351" y="267959"/>
                  <a:pt x="93005" y="267823"/>
                  <a:pt x="95250" y="266700"/>
                </a:cubicBezTo>
                <a:cubicBezTo>
                  <a:pt x="104119" y="262265"/>
                  <a:pt x="101636" y="261378"/>
                  <a:pt x="109537" y="254794"/>
                </a:cubicBezTo>
                <a:cubicBezTo>
                  <a:pt x="111736" y="252962"/>
                  <a:pt x="114121" y="251312"/>
                  <a:pt x="116681" y="250032"/>
                </a:cubicBezTo>
                <a:cubicBezTo>
                  <a:pt x="118926" y="248909"/>
                  <a:pt x="121631" y="248869"/>
                  <a:pt x="123825" y="247650"/>
                </a:cubicBezTo>
                <a:cubicBezTo>
                  <a:pt x="151516" y="232265"/>
                  <a:pt x="124589" y="242632"/>
                  <a:pt x="152400" y="233363"/>
                </a:cubicBezTo>
                <a:cubicBezTo>
                  <a:pt x="162969" y="229840"/>
                  <a:pt x="174625" y="231776"/>
                  <a:pt x="185737" y="230982"/>
                </a:cubicBezTo>
                <a:cubicBezTo>
                  <a:pt x="203698" y="224993"/>
                  <a:pt x="181556" y="233072"/>
                  <a:pt x="200025" y="223838"/>
                </a:cubicBezTo>
                <a:cubicBezTo>
                  <a:pt x="202270" y="222716"/>
                  <a:pt x="204787" y="222251"/>
                  <a:pt x="207168" y="221457"/>
                </a:cubicBezTo>
                <a:cubicBezTo>
                  <a:pt x="218057" y="223272"/>
                  <a:pt x="233463" y="225058"/>
                  <a:pt x="245268" y="228600"/>
                </a:cubicBezTo>
                <a:cubicBezTo>
                  <a:pt x="250077" y="230043"/>
                  <a:pt x="254793" y="231775"/>
                  <a:pt x="259556" y="233363"/>
                </a:cubicBezTo>
                <a:cubicBezTo>
                  <a:pt x="262271" y="234268"/>
                  <a:pt x="264140" y="236845"/>
                  <a:pt x="266700" y="238125"/>
                </a:cubicBezTo>
                <a:cubicBezTo>
                  <a:pt x="268945" y="239248"/>
                  <a:pt x="271536" y="239518"/>
                  <a:pt x="273843" y="240507"/>
                </a:cubicBezTo>
                <a:cubicBezTo>
                  <a:pt x="277106" y="241905"/>
                  <a:pt x="280072" y="243951"/>
                  <a:pt x="283368" y="245269"/>
                </a:cubicBezTo>
                <a:cubicBezTo>
                  <a:pt x="283385" y="245276"/>
                  <a:pt x="301219" y="251219"/>
                  <a:pt x="304800" y="252413"/>
                </a:cubicBezTo>
                <a:cubicBezTo>
                  <a:pt x="308640" y="253693"/>
                  <a:pt x="312737" y="254000"/>
                  <a:pt x="316706" y="254794"/>
                </a:cubicBezTo>
                <a:cubicBezTo>
                  <a:pt x="342900" y="254000"/>
                  <a:pt x="369122" y="253866"/>
                  <a:pt x="395287" y="252413"/>
                </a:cubicBezTo>
                <a:cubicBezTo>
                  <a:pt x="397793" y="252274"/>
                  <a:pt x="400124" y="251021"/>
                  <a:pt x="402431" y="250032"/>
                </a:cubicBezTo>
                <a:cubicBezTo>
                  <a:pt x="407221" y="247979"/>
                  <a:pt x="414883" y="244021"/>
                  <a:pt x="419100" y="240507"/>
                </a:cubicBezTo>
                <a:cubicBezTo>
                  <a:pt x="428315" y="232828"/>
                  <a:pt x="424414" y="232707"/>
                  <a:pt x="435768" y="226219"/>
                </a:cubicBezTo>
                <a:cubicBezTo>
                  <a:pt x="438424" y="224701"/>
                  <a:pt x="450376" y="221972"/>
                  <a:pt x="452437" y="221457"/>
                </a:cubicBezTo>
                <a:cubicBezTo>
                  <a:pt x="455612" y="219869"/>
                  <a:pt x="458880" y="218455"/>
                  <a:pt x="461962" y="216694"/>
                </a:cubicBezTo>
                <a:cubicBezTo>
                  <a:pt x="464447" y="215274"/>
                  <a:pt x="466546" y="213212"/>
                  <a:pt x="469106" y="211932"/>
                </a:cubicBezTo>
                <a:cubicBezTo>
                  <a:pt x="472918" y="210026"/>
                  <a:pt x="482207" y="208188"/>
                  <a:pt x="485775" y="207169"/>
                </a:cubicBezTo>
                <a:cubicBezTo>
                  <a:pt x="488188" y="206480"/>
                  <a:pt x="490537" y="205582"/>
                  <a:pt x="492918" y="204788"/>
                </a:cubicBezTo>
                <a:cubicBezTo>
                  <a:pt x="495299" y="203200"/>
                  <a:pt x="497447" y="201187"/>
                  <a:pt x="500062" y="200025"/>
                </a:cubicBezTo>
                <a:cubicBezTo>
                  <a:pt x="504650" y="197986"/>
                  <a:pt x="509587" y="196850"/>
                  <a:pt x="514350" y="195263"/>
                </a:cubicBezTo>
                <a:cubicBezTo>
                  <a:pt x="560662" y="179827"/>
                  <a:pt x="518908" y="192932"/>
                  <a:pt x="645318" y="190500"/>
                </a:cubicBezTo>
                <a:lnTo>
                  <a:pt x="659606" y="185738"/>
                </a:lnTo>
                <a:cubicBezTo>
                  <a:pt x="669865" y="182319"/>
                  <a:pt x="672370" y="184117"/>
                  <a:pt x="683418" y="178594"/>
                </a:cubicBezTo>
                <a:cubicBezTo>
                  <a:pt x="697262" y="171673"/>
                  <a:pt x="689442" y="174416"/>
                  <a:pt x="707231" y="171450"/>
                </a:cubicBezTo>
                <a:cubicBezTo>
                  <a:pt x="725213" y="164258"/>
                  <a:pt x="714993" y="167724"/>
                  <a:pt x="738187" y="161925"/>
                </a:cubicBezTo>
                <a:lnTo>
                  <a:pt x="747712" y="159544"/>
                </a:lnTo>
                <a:cubicBezTo>
                  <a:pt x="765117" y="147942"/>
                  <a:pt x="743232" y="162104"/>
                  <a:pt x="764381" y="150019"/>
                </a:cubicBezTo>
                <a:cubicBezTo>
                  <a:pt x="766866" y="148599"/>
                  <a:pt x="768965" y="146537"/>
                  <a:pt x="771525" y="145257"/>
                </a:cubicBezTo>
                <a:cubicBezTo>
                  <a:pt x="773770" y="144134"/>
                  <a:pt x="776361" y="143864"/>
                  <a:pt x="778668" y="142875"/>
                </a:cubicBezTo>
                <a:cubicBezTo>
                  <a:pt x="784718" y="140282"/>
                  <a:pt x="788871" y="136908"/>
                  <a:pt x="795337" y="135732"/>
                </a:cubicBezTo>
                <a:cubicBezTo>
                  <a:pt x="801633" y="134587"/>
                  <a:pt x="808037" y="134144"/>
                  <a:pt x="814387" y="133350"/>
                </a:cubicBezTo>
                <a:cubicBezTo>
                  <a:pt x="821559" y="128569"/>
                  <a:pt x="822600" y="127449"/>
                  <a:pt x="831056" y="123825"/>
                </a:cubicBezTo>
                <a:cubicBezTo>
                  <a:pt x="833363" y="122836"/>
                  <a:pt x="835819" y="122238"/>
                  <a:pt x="838200" y="121444"/>
                </a:cubicBezTo>
                <a:cubicBezTo>
                  <a:pt x="843854" y="117674"/>
                  <a:pt x="849698" y="113969"/>
                  <a:pt x="854868" y="109538"/>
                </a:cubicBezTo>
                <a:cubicBezTo>
                  <a:pt x="857425" y="107346"/>
                  <a:pt x="859631" y="104775"/>
                  <a:pt x="862012" y="102394"/>
                </a:cubicBezTo>
                <a:cubicBezTo>
                  <a:pt x="862806" y="100013"/>
                  <a:pt x="862825" y="97210"/>
                  <a:pt x="864393" y="95250"/>
                </a:cubicBezTo>
                <a:cubicBezTo>
                  <a:pt x="866181" y="93015"/>
                  <a:pt x="869338" y="92320"/>
                  <a:pt x="871537" y="90488"/>
                </a:cubicBezTo>
                <a:cubicBezTo>
                  <a:pt x="874124" y="88332"/>
                  <a:pt x="876023" y="85412"/>
                  <a:pt x="878681" y="83344"/>
                </a:cubicBezTo>
                <a:cubicBezTo>
                  <a:pt x="883199" y="79830"/>
                  <a:pt x="892968" y="73819"/>
                  <a:pt x="892968" y="73819"/>
                </a:cubicBezTo>
                <a:cubicBezTo>
                  <a:pt x="896766" y="68122"/>
                  <a:pt x="899040" y="63700"/>
                  <a:pt x="904875" y="59532"/>
                </a:cubicBezTo>
                <a:cubicBezTo>
                  <a:pt x="907764" y="57469"/>
                  <a:pt x="911225" y="56357"/>
                  <a:pt x="914400" y="54769"/>
                </a:cubicBezTo>
                <a:cubicBezTo>
                  <a:pt x="923130" y="41672"/>
                  <a:pt x="914400" y="52784"/>
                  <a:pt x="926306" y="42863"/>
                </a:cubicBezTo>
                <a:cubicBezTo>
                  <a:pt x="928893" y="40707"/>
                  <a:pt x="930792" y="37787"/>
                  <a:pt x="933450" y="35719"/>
                </a:cubicBezTo>
                <a:cubicBezTo>
                  <a:pt x="933467" y="35705"/>
                  <a:pt x="951300" y="23819"/>
                  <a:pt x="954881" y="21432"/>
                </a:cubicBezTo>
                <a:cubicBezTo>
                  <a:pt x="956970" y="20040"/>
                  <a:pt x="959780" y="20173"/>
                  <a:pt x="962025" y="19050"/>
                </a:cubicBezTo>
                <a:cubicBezTo>
                  <a:pt x="964584" y="17770"/>
                  <a:pt x="966787" y="15875"/>
                  <a:pt x="969168" y="14288"/>
                </a:cubicBezTo>
                <a:cubicBezTo>
                  <a:pt x="970756" y="11907"/>
                  <a:pt x="972099" y="9343"/>
                  <a:pt x="973931" y="7144"/>
                </a:cubicBezTo>
                <a:cubicBezTo>
                  <a:pt x="976087" y="4557"/>
                  <a:pt x="981075" y="0"/>
                  <a:pt x="981075" y="0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83" name="AutoShape 19"/>
          <p:cNvSpPr>
            <a:spLocks noChangeArrowheads="1"/>
          </p:cNvSpPr>
          <p:nvPr/>
        </p:nvSpPr>
        <p:spPr bwMode="auto">
          <a:xfrm>
            <a:off x="2225113" y="1718648"/>
            <a:ext cx="352171" cy="7402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8" tIns="35995" rIns="17998" bIns="35995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Жайсан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5" name="AutoShape 19"/>
          <p:cNvSpPr>
            <a:spLocks noChangeArrowheads="1"/>
          </p:cNvSpPr>
          <p:nvPr/>
        </p:nvSpPr>
        <p:spPr bwMode="auto">
          <a:xfrm>
            <a:off x="969460" y="3273791"/>
            <a:ext cx="329901" cy="8168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8" tIns="35995" rIns="17998" bIns="35995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Шетпе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8" name="Блок-схема: узел 587"/>
          <p:cNvSpPr/>
          <p:nvPr/>
        </p:nvSpPr>
        <p:spPr bwMode="auto">
          <a:xfrm>
            <a:off x="4995425" y="4130486"/>
            <a:ext cx="12594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0" name="Блок-схема: узел 589"/>
          <p:cNvSpPr/>
          <p:nvPr/>
        </p:nvSpPr>
        <p:spPr bwMode="auto">
          <a:xfrm>
            <a:off x="5419451" y="3975338"/>
            <a:ext cx="125966" cy="101179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4" name="Полилиния 593"/>
          <p:cNvSpPr/>
          <p:nvPr/>
        </p:nvSpPr>
        <p:spPr bwMode="auto">
          <a:xfrm>
            <a:off x="6775038" y="3480649"/>
            <a:ext cx="747961" cy="361734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95" name="Полилиния 594"/>
          <p:cNvSpPr/>
          <p:nvPr/>
        </p:nvSpPr>
        <p:spPr bwMode="auto">
          <a:xfrm>
            <a:off x="6726050" y="3444983"/>
            <a:ext cx="747961" cy="361734"/>
          </a:xfrm>
          <a:custGeom>
            <a:avLst/>
            <a:gdLst>
              <a:gd name="connsiteX0" fmla="*/ 803002 w 803002"/>
              <a:gd name="connsiteY0" fmla="*/ 0 h 473087"/>
              <a:gd name="connsiteX1" fmla="*/ 732392 w 803002"/>
              <a:gd name="connsiteY1" fmla="*/ 31774 h 473087"/>
              <a:gd name="connsiteX2" fmla="*/ 690026 w 803002"/>
              <a:gd name="connsiteY2" fmla="*/ 56488 h 473087"/>
              <a:gd name="connsiteX3" fmla="*/ 651191 w 803002"/>
              <a:gd name="connsiteY3" fmla="*/ 88262 h 473087"/>
              <a:gd name="connsiteX4" fmla="*/ 626477 w 803002"/>
              <a:gd name="connsiteY4" fmla="*/ 130628 h 473087"/>
              <a:gd name="connsiteX5" fmla="*/ 605294 w 803002"/>
              <a:gd name="connsiteY5" fmla="*/ 169464 h 473087"/>
              <a:gd name="connsiteX6" fmla="*/ 587642 w 803002"/>
              <a:gd name="connsiteY6" fmla="*/ 208299 h 473087"/>
              <a:gd name="connsiteX7" fmla="*/ 520562 w 803002"/>
              <a:gd name="connsiteY7" fmla="*/ 229482 h 473087"/>
              <a:gd name="connsiteX8" fmla="*/ 421708 w 803002"/>
              <a:gd name="connsiteY8" fmla="*/ 264787 h 473087"/>
              <a:gd name="connsiteX9" fmla="*/ 361690 w 803002"/>
              <a:gd name="connsiteY9" fmla="*/ 293031 h 473087"/>
              <a:gd name="connsiteX10" fmla="*/ 262836 w 803002"/>
              <a:gd name="connsiteY10" fmla="*/ 328336 h 473087"/>
              <a:gd name="connsiteX11" fmla="*/ 206347 w 803002"/>
              <a:gd name="connsiteY11" fmla="*/ 345989 h 473087"/>
              <a:gd name="connsiteX12" fmla="*/ 163981 w 803002"/>
              <a:gd name="connsiteY12" fmla="*/ 360111 h 473087"/>
              <a:gd name="connsiteX13" fmla="*/ 125146 w 803002"/>
              <a:gd name="connsiteY13" fmla="*/ 388355 h 473087"/>
              <a:gd name="connsiteX14" fmla="*/ 93371 w 803002"/>
              <a:gd name="connsiteY14" fmla="*/ 398946 h 473087"/>
              <a:gd name="connsiteX15" fmla="*/ 43944 w 803002"/>
              <a:gd name="connsiteY15" fmla="*/ 430721 h 473087"/>
              <a:gd name="connsiteX16" fmla="*/ 5109 w 803002"/>
              <a:gd name="connsiteY16" fmla="*/ 466026 h 473087"/>
              <a:gd name="connsiteX17" fmla="*/ 1578 w 803002"/>
              <a:gd name="connsiteY17" fmla="*/ 473087 h 473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03002" h="473087">
                <a:moveTo>
                  <a:pt x="803002" y="0"/>
                </a:moveTo>
                <a:cubicBezTo>
                  <a:pt x="777111" y="11179"/>
                  <a:pt x="751221" y="22359"/>
                  <a:pt x="732392" y="31774"/>
                </a:cubicBezTo>
                <a:cubicBezTo>
                  <a:pt x="713563" y="41189"/>
                  <a:pt x="703559" y="47073"/>
                  <a:pt x="690026" y="56488"/>
                </a:cubicBezTo>
                <a:cubicBezTo>
                  <a:pt x="676492" y="65903"/>
                  <a:pt x="661782" y="75905"/>
                  <a:pt x="651191" y="88262"/>
                </a:cubicBezTo>
                <a:cubicBezTo>
                  <a:pt x="640600" y="100619"/>
                  <a:pt x="634126" y="117094"/>
                  <a:pt x="626477" y="130628"/>
                </a:cubicBezTo>
                <a:cubicBezTo>
                  <a:pt x="618828" y="144162"/>
                  <a:pt x="611766" y="156519"/>
                  <a:pt x="605294" y="169464"/>
                </a:cubicBezTo>
                <a:cubicBezTo>
                  <a:pt x="598821" y="182409"/>
                  <a:pt x="601764" y="198296"/>
                  <a:pt x="587642" y="208299"/>
                </a:cubicBezTo>
                <a:cubicBezTo>
                  <a:pt x="573520" y="218302"/>
                  <a:pt x="548218" y="220067"/>
                  <a:pt x="520562" y="229482"/>
                </a:cubicBezTo>
                <a:cubicBezTo>
                  <a:pt x="492906" y="238897"/>
                  <a:pt x="448187" y="254196"/>
                  <a:pt x="421708" y="264787"/>
                </a:cubicBezTo>
                <a:cubicBezTo>
                  <a:pt x="395229" y="275378"/>
                  <a:pt x="388169" y="282440"/>
                  <a:pt x="361690" y="293031"/>
                </a:cubicBezTo>
                <a:cubicBezTo>
                  <a:pt x="335211" y="303622"/>
                  <a:pt x="288726" y="319510"/>
                  <a:pt x="262836" y="328336"/>
                </a:cubicBezTo>
                <a:cubicBezTo>
                  <a:pt x="236946" y="337162"/>
                  <a:pt x="222823" y="340693"/>
                  <a:pt x="206347" y="345989"/>
                </a:cubicBezTo>
                <a:cubicBezTo>
                  <a:pt x="189871" y="351285"/>
                  <a:pt x="177514" y="353050"/>
                  <a:pt x="163981" y="360111"/>
                </a:cubicBezTo>
                <a:cubicBezTo>
                  <a:pt x="150447" y="367172"/>
                  <a:pt x="136914" y="381883"/>
                  <a:pt x="125146" y="388355"/>
                </a:cubicBezTo>
                <a:cubicBezTo>
                  <a:pt x="113378" y="394827"/>
                  <a:pt x="106905" y="391885"/>
                  <a:pt x="93371" y="398946"/>
                </a:cubicBezTo>
                <a:cubicBezTo>
                  <a:pt x="79837" y="406007"/>
                  <a:pt x="58654" y="419541"/>
                  <a:pt x="43944" y="430721"/>
                </a:cubicBezTo>
                <a:cubicBezTo>
                  <a:pt x="29234" y="441901"/>
                  <a:pt x="5109" y="466026"/>
                  <a:pt x="5109" y="466026"/>
                </a:cubicBezTo>
                <a:cubicBezTo>
                  <a:pt x="-1952" y="473087"/>
                  <a:pt x="-187" y="473087"/>
                  <a:pt x="1578" y="473087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00" name="Полилиния 599"/>
          <p:cNvSpPr/>
          <p:nvPr/>
        </p:nvSpPr>
        <p:spPr>
          <a:xfrm>
            <a:off x="4941557" y="1368845"/>
            <a:ext cx="40612" cy="49090"/>
          </a:xfrm>
          <a:custGeom>
            <a:avLst/>
            <a:gdLst>
              <a:gd name="connsiteX0" fmla="*/ 0 w 42862"/>
              <a:gd name="connsiteY0" fmla="*/ 0 h 52387"/>
              <a:gd name="connsiteX1" fmla="*/ 4762 w 42862"/>
              <a:gd name="connsiteY1" fmla="*/ 21431 h 52387"/>
              <a:gd name="connsiteX2" fmla="*/ 16668 w 42862"/>
              <a:gd name="connsiteY2" fmla="*/ 35718 h 52387"/>
              <a:gd name="connsiteX3" fmla="*/ 30956 w 42862"/>
              <a:gd name="connsiteY3" fmla="*/ 45243 h 52387"/>
              <a:gd name="connsiteX4" fmla="*/ 42862 w 42862"/>
              <a:gd name="connsiteY4" fmla="*/ 52387 h 5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62" h="52387">
                <a:moveTo>
                  <a:pt x="0" y="0"/>
                </a:moveTo>
                <a:cubicBezTo>
                  <a:pt x="914" y="5485"/>
                  <a:pt x="1832" y="15570"/>
                  <a:pt x="4762" y="21431"/>
                </a:cubicBezTo>
                <a:cubicBezTo>
                  <a:pt x="7263" y="26433"/>
                  <a:pt x="12360" y="32368"/>
                  <a:pt x="16668" y="35718"/>
                </a:cubicBezTo>
                <a:cubicBezTo>
                  <a:pt x="21186" y="39232"/>
                  <a:pt x="26193" y="42068"/>
                  <a:pt x="30956" y="45243"/>
                </a:cubicBezTo>
                <a:cubicBezTo>
                  <a:pt x="39579" y="50992"/>
                  <a:pt x="35539" y="48725"/>
                  <a:pt x="42862" y="52387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0" name="Блок-схема: узел 609"/>
          <p:cNvSpPr/>
          <p:nvPr/>
        </p:nvSpPr>
        <p:spPr bwMode="auto">
          <a:xfrm>
            <a:off x="4116914" y="3512570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6" name="Полилиния 615"/>
          <p:cNvSpPr/>
          <p:nvPr/>
        </p:nvSpPr>
        <p:spPr bwMode="auto">
          <a:xfrm>
            <a:off x="2373539" y="1851003"/>
            <a:ext cx="173675" cy="154200"/>
          </a:xfrm>
          <a:custGeom>
            <a:avLst/>
            <a:gdLst>
              <a:gd name="connsiteX0" fmla="*/ 184667 w 190783"/>
              <a:gd name="connsiteY0" fmla="*/ 193602 h 193602"/>
              <a:gd name="connsiteX1" fmla="*/ 181689 w 190783"/>
              <a:gd name="connsiteY1" fmla="*/ 139989 h 193602"/>
              <a:gd name="connsiteX2" fmla="*/ 190624 w 190783"/>
              <a:gd name="connsiteY2" fmla="*/ 119140 h 193602"/>
              <a:gd name="connsiteX3" fmla="*/ 172753 w 190783"/>
              <a:gd name="connsiteY3" fmla="*/ 107226 h 193602"/>
              <a:gd name="connsiteX4" fmla="*/ 134033 w 190783"/>
              <a:gd name="connsiteY4" fmla="*/ 98290 h 193602"/>
              <a:gd name="connsiteX5" fmla="*/ 98291 w 190783"/>
              <a:gd name="connsiteY5" fmla="*/ 92333 h 193602"/>
              <a:gd name="connsiteX6" fmla="*/ 89355 w 190783"/>
              <a:gd name="connsiteY6" fmla="*/ 86376 h 193602"/>
              <a:gd name="connsiteX7" fmla="*/ 68506 w 190783"/>
              <a:gd name="connsiteY7" fmla="*/ 71484 h 193602"/>
              <a:gd name="connsiteX8" fmla="*/ 53613 w 190783"/>
              <a:gd name="connsiteY8" fmla="*/ 56591 h 193602"/>
              <a:gd name="connsiteX9" fmla="*/ 47656 w 190783"/>
              <a:gd name="connsiteY9" fmla="*/ 41699 h 193602"/>
              <a:gd name="connsiteX10" fmla="*/ 38721 w 190783"/>
              <a:gd name="connsiteY10" fmla="*/ 26806 h 193602"/>
              <a:gd name="connsiteX11" fmla="*/ 26807 w 190783"/>
              <a:gd name="connsiteY11" fmla="*/ 11914 h 193602"/>
              <a:gd name="connsiteX12" fmla="*/ 0 w 190783"/>
              <a:gd name="connsiteY12" fmla="*/ 0 h 193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0783" h="193602">
                <a:moveTo>
                  <a:pt x="184667" y="193602"/>
                </a:moveTo>
                <a:cubicBezTo>
                  <a:pt x="182681" y="173000"/>
                  <a:pt x="180696" y="152399"/>
                  <a:pt x="181689" y="139989"/>
                </a:cubicBezTo>
                <a:cubicBezTo>
                  <a:pt x="182682" y="127579"/>
                  <a:pt x="192113" y="124601"/>
                  <a:pt x="190624" y="119140"/>
                </a:cubicBezTo>
                <a:cubicBezTo>
                  <a:pt x="189135" y="113679"/>
                  <a:pt x="182185" y="110701"/>
                  <a:pt x="172753" y="107226"/>
                </a:cubicBezTo>
                <a:cubicBezTo>
                  <a:pt x="163321" y="103751"/>
                  <a:pt x="146443" y="100772"/>
                  <a:pt x="134033" y="98290"/>
                </a:cubicBezTo>
                <a:cubicBezTo>
                  <a:pt x="121623" y="95808"/>
                  <a:pt x="98291" y="92333"/>
                  <a:pt x="98291" y="92333"/>
                </a:cubicBezTo>
                <a:cubicBezTo>
                  <a:pt x="90845" y="90347"/>
                  <a:pt x="94319" y="89851"/>
                  <a:pt x="89355" y="86376"/>
                </a:cubicBezTo>
                <a:cubicBezTo>
                  <a:pt x="84391" y="82901"/>
                  <a:pt x="74463" y="76448"/>
                  <a:pt x="68506" y="71484"/>
                </a:cubicBezTo>
                <a:cubicBezTo>
                  <a:pt x="62549" y="66520"/>
                  <a:pt x="57088" y="61555"/>
                  <a:pt x="53613" y="56591"/>
                </a:cubicBezTo>
                <a:cubicBezTo>
                  <a:pt x="50138" y="51627"/>
                  <a:pt x="50138" y="46663"/>
                  <a:pt x="47656" y="41699"/>
                </a:cubicBezTo>
                <a:cubicBezTo>
                  <a:pt x="45174" y="36735"/>
                  <a:pt x="42196" y="31770"/>
                  <a:pt x="38721" y="26806"/>
                </a:cubicBezTo>
                <a:cubicBezTo>
                  <a:pt x="35246" y="21842"/>
                  <a:pt x="33260" y="16382"/>
                  <a:pt x="26807" y="11914"/>
                </a:cubicBezTo>
                <a:cubicBezTo>
                  <a:pt x="20354" y="7446"/>
                  <a:pt x="10177" y="3723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7" name="Блок-схема: узел 616"/>
          <p:cNvSpPr/>
          <p:nvPr/>
        </p:nvSpPr>
        <p:spPr bwMode="auto">
          <a:xfrm>
            <a:off x="2306216" y="1821262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2" name="Блок-схема: узел 621"/>
          <p:cNvSpPr/>
          <p:nvPr/>
        </p:nvSpPr>
        <p:spPr bwMode="auto">
          <a:xfrm>
            <a:off x="4777290" y="883815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3" name="Полилиния 622"/>
          <p:cNvSpPr/>
          <p:nvPr/>
        </p:nvSpPr>
        <p:spPr bwMode="auto">
          <a:xfrm>
            <a:off x="4865941" y="998412"/>
            <a:ext cx="75260" cy="388399"/>
          </a:xfrm>
          <a:custGeom>
            <a:avLst/>
            <a:gdLst>
              <a:gd name="connsiteX0" fmla="*/ 0 w 81202"/>
              <a:gd name="connsiteY0" fmla="*/ 0 h 547228"/>
              <a:gd name="connsiteX1" fmla="*/ 7061 w 81202"/>
              <a:gd name="connsiteY1" fmla="*/ 84732 h 547228"/>
              <a:gd name="connsiteX2" fmla="*/ 21183 w 81202"/>
              <a:gd name="connsiteY2" fmla="*/ 112976 h 547228"/>
              <a:gd name="connsiteX3" fmla="*/ 28244 w 81202"/>
              <a:gd name="connsiteY3" fmla="*/ 134159 h 547228"/>
              <a:gd name="connsiteX4" fmla="*/ 35305 w 81202"/>
              <a:gd name="connsiteY4" fmla="*/ 155342 h 547228"/>
              <a:gd name="connsiteX5" fmla="*/ 21183 w 81202"/>
              <a:gd name="connsiteY5" fmla="*/ 194178 h 547228"/>
              <a:gd name="connsiteX6" fmla="*/ 10592 w 81202"/>
              <a:gd name="connsiteY6" fmla="*/ 233013 h 547228"/>
              <a:gd name="connsiteX7" fmla="*/ 10592 w 81202"/>
              <a:gd name="connsiteY7" fmla="*/ 275379 h 547228"/>
              <a:gd name="connsiteX8" fmla="*/ 17653 w 81202"/>
              <a:gd name="connsiteY8" fmla="*/ 307154 h 547228"/>
              <a:gd name="connsiteX9" fmla="*/ 24714 w 81202"/>
              <a:gd name="connsiteY9" fmla="*/ 321276 h 547228"/>
              <a:gd name="connsiteX10" fmla="*/ 35305 w 81202"/>
              <a:gd name="connsiteY10" fmla="*/ 335398 h 547228"/>
              <a:gd name="connsiteX11" fmla="*/ 52958 w 81202"/>
              <a:gd name="connsiteY11" fmla="*/ 356581 h 547228"/>
              <a:gd name="connsiteX12" fmla="*/ 74141 w 81202"/>
              <a:gd name="connsiteY12" fmla="*/ 391886 h 547228"/>
              <a:gd name="connsiteX13" fmla="*/ 81202 w 81202"/>
              <a:gd name="connsiteY13" fmla="*/ 444843 h 547228"/>
              <a:gd name="connsiteX14" fmla="*/ 74141 w 81202"/>
              <a:gd name="connsiteY14" fmla="*/ 480148 h 547228"/>
              <a:gd name="connsiteX15" fmla="*/ 70610 w 81202"/>
              <a:gd name="connsiteY15" fmla="*/ 529576 h 547228"/>
              <a:gd name="connsiteX16" fmla="*/ 63549 w 81202"/>
              <a:gd name="connsiteY16" fmla="*/ 547228 h 547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1202" h="547228">
                <a:moveTo>
                  <a:pt x="0" y="0"/>
                </a:moveTo>
                <a:cubicBezTo>
                  <a:pt x="1765" y="32951"/>
                  <a:pt x="3531" y="65903"/>
                  <a:pt x="7061" y="84732"/>
                </a:cubicBezTo>
                <a:cubicBezTo>
                  <a:pt x="10591" y="103561"/>
                  <a:pt x="21183" y="112976"/>
                  <a:pt x="21183" y="112976"/>
                </a:cubicBezTo>
                <a:cubicBezTo>
                  <a:pt x="24713" y="121214"/>
                  <a:pt x="28244" y="134159"/>
                  <a:pt x="28244" y="134159"/>
                </a:cubicBezTo>
                <a:cubicBezTo>
                  <a:pt x="30598" y="141220"/>
                  <a:pt x="36482" y="145339"/>
                  <a:pt x="35305" y="155342"/>
                </a:cubicBezTo>
                <a:cubicBezTo>
                  <a:pt x="34128" y="165345"/>
                  <a:pt x="25302" y="181233"/>
                  <a:pt x="21183" y="194178"/>
                </a:cubicBezTo>
                <a:cubicBezTo>
                  <a:pt x="17064" y="207123"/>
                  <a:pt x="12357" y="219479"/>
                  <a:pt x="10592" y="233013"/>
                </a:cubicBezTo>
                <a:cubicBezTo>
                  <a:pt x="8827" y="246547"/>
                  <a:pt x="9415" y="263022"/>
                  <a:pt x="10592" y="275379"/>
                </a:cubicBezTo>
                <a:cubicBezTo>
                  <a:pt x="11769" y="287736"/>
                  <a:pt x="17653" y="307154"/>
                  <a:pt x="17653" y="307154"/>
                </a:cubicBezTo>
                <a:cubicBezTo>
                  <a:pt x="20007" y="314804"/>
                  <a:pt x="24714" y="321276"/>
                  <a:pt x="24714" y="321276"/>
                </a:cubicBezTo>
                <a:cubicBezTo>
                  <a:pt x="27656" y="325983"/>
                  <a:pt x="30598" y="329514"/>
                  <a:pt x="35305" y="335398"/>
                </a:cubicBezTo>
                <a:cubicBezTo>
                  <a:pt x="40012" y="341282"/>
                  <a:pt x="46485" y="347166"/>
                  <a:pt x="52958" y="356581"/>
                </a:cubicBezTo>
                <a:cubicBezTo>
                  <a:pt x="59431" y="365996"/>
                  <a:pt x="69434" y="377176"/>
                  <a:pt x="74141" y="391886"/>
                </a:cubicBezTo>
                <a:cubicBezTo>
                  <a:pt x="78848" y="406596"/>
                  <a:pt x="81202" y="430133"/>
                  <a:pt x="81202" y="444843"/>
                </a:cubicBezTo>
                <a:cubicBezTo>
                  <a:pt x="81202" y="459553"/>
                  <a:pt x="75906" y="466026"/>
                  <a:pt x="74141" y="480148"/>
                </a:cubicBezTo>
                <a:cubicBezTo>
                  <a:pt x="72376" y="494270"/>
                  <a:pt x="72375" y="518396"/>
                  <a:pt x="70610" y="529576"/>
                </a:cubicBezTo>
                <a:cubicBezTo>
                  <a:pt x="68845" y="540756"/>
                  <a:pt x="66197" y="543992"/>
                  <a:pt x="63549" y="547228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7" name="Полилиния 626"/>
          <p:cNvSpPr/>
          <p:nvPr/>
        </p:nvSpPr>
        <p:spPr bwMode="auto">
          <a:xfrm>
            <a:off x="1887383" y="3249152"/>
            <a:ext cx="148203" cy="153041"/>
          </a:xfrm>
          <a:custGeom>
            <a:avLst/>
            <a:gdLst>
              <a:gd name="connsiteX0" fmla="*/ 158750 w 158750"/>
              <a:gd name="connsiteY0" fmla="*/ 200025 h 200025"/>
              <a:gd name="connsiteX1" fmla="*/ 111125 w 158750"/>
              <a:gd name="connsiteY1" fmla="*/ 158750 h 200025"/>
              <a:gd name="connsiteX2" fmla="*/ 73025 w 158750"/>
              <a:gd name="connsiteY2" fmla="*/ 107950 h 200025"/>
              <a:gd name="connsiteX3" fmla="*/ 60325 w 158750"/>
              <a:gd name="connsiteY3" fmla="*/ 92075 h 200025"/>
              <a:gd name="connsiteX4" fmla="*/ 50800 w 158750"/>
              <a:gd name="connsiteY4" fmla="*/ 76200 h 200025"/>
              <a:gd name="connsiteX5" fmla="*/ 50800 w 158750"/>
              <a:gd name="connsiteY5" fmla="*/ 53975 h 200025"/>
              <a:gd name="connsiteX6" fmla="*/ 47625 w 158750"/>
              <a:gd name="connsiteY6" fmla="*/ 38100 h 200025"/>
              <a:gd name="connsiteX7" fmla="*/ 44450 w 158750"/>
              <a:gd name="connsiteY7" fmla="*/ 31750 h 200025"/>
              <a:gd name="connsiteX8" fmla="*/ 28575 w 158750"/>
              <a:gd name="connsiteY8" fmla="*/ 15875 h 200025"/>
              <a:gd name="connsiteX9" fmla="*/ 12700 w 158750"/>
              <a:gd name="connsiteY9" fmla="*/ 6350 h 200025"/>
              <a:gd name="connsiteX10" fmla="*/ 0 w 158750"/>
              <a:gd name="connsiteY10" fmla="*/ 0 h 200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8750" h="200025">
                <a:moveTo>
                  <a:pt x="158750" y="200025"/>
                </a:moveTo>
                <a:cubicBezTo>
                  <a:pt x="142081" y="187060"/>
                  <a:pt x="125412" y="174096"/>
                  <a:pt x="111125" y="158750"/>
                </a:cubicBezTo>
                <a:cubicBezTo>
                  <a:pt x="96837" y="143404"/>
                  <a:pt x="81492" y="119062"/>
                  <a:pt x="73025" y="107950"/>
                </a:cubicBezTo>
                <a:cubicBezTo>
                  <a:pt x="64558" y="96838"/>
                  <a:pt x="64029" y="97367"/>
                  <a:pt x="60325" y="92075"/>
                </a:cubicBezTo>
                <a:cubicBezTo>
                  <a:pt x="56621" y="86783"/>
                  <a:pt x="52387" y="82550"/>
                  <a:pt x="50800" y="76200"/>
                </a:cubicBezTo>
                <a:cubicBezTo>
                  <a:pt x="49212" y="69850"/>
                  <a:pt x="50800" y="53975"/>
                  <a:pt x="50800" y="53975"/>
                </a:cubicBezTo>
                <a:cubicBezTo>
                  <a:pt x="50271" y="47625"/>
                  <a:pt x="47625" y="38100"/>
                  <a:pt x="47625" y="38100"/>
                </a:cubicBezTo>
                <a:cubicBezTo>
                  <a:pt x="46567" y="34396"/>
                  <a:pt x="47625" y="35454"/>
                  <a:pt x="44450" y="31750"/>
                </a:cubicBezTo>
                <a:cubicBezTo>
                  <a:pt x="41275" y="28046"/>
                  <a:pt x="33867" y="20108"/>
                  <a:pt x="28575" y="15875"/>
                </a:cubicBezTo>
                <a:cubicBezTo>
                  <a:pt x="23283" y="11642"/>
                  <a:pt x="12700" y="6350"/>
                  <a:pt x="12700" y="6350"/>
                </a:cubicBezTo>
                <a:cubicBezTo>
                  <a:pt x="7938" y="3704"/>
                  <a:pt x="3969" y="1852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cxnSp>
        <p:nvCxnSpPr>
          <p:cNvPr id="629" name="Прямая соединительная линия 628"/>
          <p:cNvCxnSpPr/>
          <p:nvPr/>
        </p:nvCxnSpPr>
        <p:spPr>
          <a:xfrm>
            <a:off x="1428681" y="1530507"/>
            <a:ext cx="28947" cy="75362"/>
          </a:xfrm>
          <a:prstGeom prst="line">
            <a:avLst/>
          </a:pr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30" name="Блок-схема: узел 629"/>
          <p:cNvSpPr/>
          <p:nvPr/>
        </p:nvSpPr>
        <p:spPr bwMode="auto">
          <a:xfrm>
            <a:off x="1342423" y="1450450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4" name="Полилиния 633"/>
          <p:cNvSpPr/>
          <p:nvPr/>
        </p:nvSpPr>
        <p:spPr bwMode="auto">
          <a:xfrm>
            <a:off x="5938328" y="1164166"/>
            <a:ext cx="407557" cy="345503"/>
          </a:xfrm>
          <a:custGeom>
            <a:avLst/>
            <a:gdLst>
              <a:gd name="connsiteX0" fmla="*/ 0 w 437783"/>
              <a:gd name="connsiteY0" fmla="*/ 0 h 451905"/>
              <a:gd name="connsiteX1" fmla="*/ 42366 w 437783"/>
              <a:gd name="connsiteY1" fmla="*/ 52958 h 451905"/>
              <a:gd name="connsiteX2" fmla="*/ 56488 w 437783"/>
              <a:gd name="connsiteY2" fmla="*/ 70610 h 451905"/>
              <a:gd name="connsiteX3" fmla="*/ 74141 w 437783"/>
              <a:gd name="connsiteY3" fmla="*/ 77671 h 451905"/>
              <a:gd name="connsiteX4" fmla="*/ 88263 w 437783"/>
              <a:gd name="connsiteY4" fmla="*/ 81202 h 451905"/>
              <a:gd name="connsiteX5" fmla="*/ 102385 w 437783"/>
              <a:gd name="connsiteY5" fmla="*/ 102385 h 451905"/>
              <a:gd name="connsiteX6" fmla="*/ 127098 w 437783"/>
              <a:gd name="connsiteY6" fmla="*/ 127098 h 451905"/>
              <a:gd name="connsiteX7" fmla="*/ 144751 w 437783"/>
              <a:gd name="connsiteY7" fmla="*/ 151812 h 451905"/>
              <a:gd name="connsiteX8" fmla="*/ 165934 w 437783"/>
              <a:gd name="connsiteY8" fmla="*/ 172995 h 451905"/>
              <a:gd name="connsiteX9" fmla="*/ 180056 w 437783"/>
              <a:gd name="connsiteY9" fmla="*/ 190647 h 451905"/>
              <a:gd name="connsiteX10" fmla="*/ 197709 w 437783"/>
              <a:gd name="connsiteY10" fmla="*/ 197708 h 451905"/>
              <a:gd name="connsiteX11" fmla="*/ 215361 w 437783"/>
              <a:gd name="connsiteY11" fmla="*/ 208300 h 451905"/>
              <a:gd name="connsiteX12" fmla="*/ 236544 w 437783"/>
              <a:gd name="connsiteY12" fmla="*/ 211830 h 451905"/>
              <a:gd name="connsiteX13" fmla="*/ 275380 w 437783"/>
              <a:gd name="connsiteY13" fmla="*/ 218891 h 451905"/>
              <a:gd name="connsiteX14" fmla="*/ 307154 w 437783"/>
              <a:gd name="connsiteY14" fmla="*/ 236544 h 451905"/>
              <a:gd name="connsiteX15" fmla="*/ 349520 w 437783"/>
              <a:gd name="connsiteY15" fmla="*/ 264788 h 451905"/>
              <a:gd name="connsiteX16" fmla="*/ 374234 w 437783"/>
              <a:gd name="connsiteY16" fmla="*/ 307154 h 451905"/>
              <a:gd name="connsiteX17" fmla="*/ 388356 w 437783"/>
              <a:gd name="connsiteY17" fmla="*/ 335398 h 451905"/>
              <a:gd name="connsiteX18" fmla="*/ 416600 w 437783"/>
              <a:gd name="connsiteY18" fmla="*/ 370703 h 451905"/>
              <a:gd name="connsiteX19" fmla="*/ 434252 w 437783"/>
              <a:gd name="connsiteY19" fmla="*/ 427191 h 451905"/>
              <a:gd name="connsiteX20" fmla="*/ 437783 w 437783"/>
              <a:gd name="connsiteY20" fmla="*/ 451905 h 4519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37783" h="451905">
                <a:moveTo>
                  <a:pt x="0" y="0"/>
                </a:moveTo>
                <a:lnTo>
                  <a:pt x="42366" y="52958"/>
                </a:lnTo>
                <a:cubicBezTo>
                  <a:pt x="51781" y="64726"/>
                  <a:pt x="51192" y="66491"/>
                  <a:pt x="56488" y="70610"/>
                </a:cubicBezTo>
                <a:cubicBezTo>
                  <a:pt x="61784" y="74729"/>
                  <a:pt x="74141" y="77671"/>
                  <a:pt x="74141" y="77671"/>
                </a:cubicBezTo>
                <a:cubicBezTo>
                  <a:pt x="79437" y="79436"/>
                  <a:pt x="83556" y="77083"/>
                  <a:pt x="88263" y="81202"/>
                </a:cubicBezTo>
                <a:cubicBezTo>
                  <a:pt x="92970" y="85321"/>
                  <a:pt x="95913" y="94736"/>
                  <a:pt x="102385" y="102385"/>
                </a:cubicBezTo>
                <a:cubicBezTo>
                  <a:pt x="108857" y="110034"/>
                  <a:pt x="120037" y="118860"/>
                  <a:pt x="127098" y="127098"/>
                </a:cubicBezTo>
                <a:cubicBezTo>
                  <a:pt x="134159" y="135336"/>
                  <a:pt x="138278" y="144163"/>
                  <a:pt x="144751" y="151812"/>
                </a:cubicBezTo>
                <a:cubicBezTo>
                  <a:pt x="151224" y="159461"/>
                  <a:pt x="160050" y="166523"/>
                  <a:pt x="165934" y="172995"/>
                </a:cubicBezTo>
                <a:cubicBezTo>
                  <a:pt x="171818" y="179467"/>
                  <a:pt x="180056" y="190647"/>
                  <a:pt x="180056" y="190647"/>
                </a:cubicBezTo>
                <a:cubicBezTo>
                  <a:pt x="185352" y="194766"/>
                  <a:pt x="191825" y="194766"/>
                  <a:pt x="197709" y="197708"/>
                </a:cubicBezTo>
                <a:cubicBezTo>
                  <a:pt x="203593" y="200650"/>
                  <a:pt x="208889" y="205946"/>
                  <a:pt x="215361" y="208300"/>
                </a:cubicBezTo>
                <a:cubicBezTo>
                  <a:pt x="221833" y="210654"/>
                  <a:pt x="236544" y="211830"/>
                  <a:pt x="236544" y="211830"/>
                </a:cubicBezTo>
                <a:cubicBezTo>
                  <a:pt x="246547" y="213595"/>
                  <a:pt x="263612" y="214772"/>
                  <a:pt x="275380" y="218891"/>
                </a:cubicBezTo>
                <a:cubicBezTo>
                  <a:pt x="287148" y="223010"/>
                  <a:pt x="294797" y="228895"/>
                  <a:pt x="307154" y="236544"/>
                </a:cubicBezTo>
                <a:cubicBezTo>
                  <a:pt x="319511" y="244194"/>
                  <a:pt x="338340" y="253020"/>
                  <a:pt x="349520" y="264788"/>
                </a:cubicBezTo>
                <a:cubicBezTo>
                  <a:pt x="360700" y="276556"/>
                  <a:pt x="367761" y="295386"/>
                  <a:pt x="374234" y="307154"/>
                </a:cubicBezTo>
                <a:cubicBezTo>
                  <a:pt x="380707" y="318922"/>
                  <a:pt x="381295" y="324807"/>
                  <a:pt x="388356" y="335398"/>
                </a:cubicBezTo>
                <a:cubicBezTo>
                  <a:pt x="395417" y="345989"/>
                  <a:pt x="408951" y="355404"/>
                  <a:pt x="416600" y="370703"/>
                </a:cubicBezTo>
                <a:cubicBezTo>
                  <a:pt x="424249" y="386002"/>
                  <a:pt x="430722" y="413657"/>
                  <a:pt x="434252" y="427191"/>
                </a:cubicBezTo>
                <a:cubicBezTo>
                  <a:pt x="437782" y="440725"/>
                  <a:pt x="437782" y="446315"/>
                  <a:pt x="437783" y="45190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5" name="Блок-схема: узел 634"/>
          <p:cNvSpPr/>
          <p:nvPr/>
        </p:nvSpPr>
        <p:spPr bwMode="auto">
          <a:xfrm>
            <a:off x="5879115" y="1142745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7" name="Полилиния 636"/>
          <p:cNvSpPr/>
          <p:nvPr/>
        </p:nvSpPr>
        <p:spPr bwMode="auto">
          <a:xfrm>
            <a:off x="6406561" y="1571605"/>
            <a:ext cx="348507" cy="150722"/>
          </a:xfrm>
          <a:custGeom>
            <a:avLst/>
            <a:gdLst>
              <a:gd name="connsiteX0" fmla="*/ 0 w 374970"/>
              <a:gd name="connsiteY0" fmla="*/ 0 h 197353"/>
              <a:gd name="connsiteX1" fmla="*/ 39471 w 374970"/>
              <a:gd name="connsiteY1" fmla="*/ 32892 h 197353"/>
              <a:gd name="connsiteX2" fmla="*/ 59206 w 374970"/>
              <a:gd name="connsiteY2" fmla="*/ 49339 h 197353"/>
              <a:gd name="connsiteX3" fmla="*/ 75652 w 374970"/>
              <a:gd name="connsiteY3" fmla="*/ 69074 h 197353"/>
              <a:gd name="connsiteX4" fmla="*/ 88809 w 374970"/>
              <a:gd name="connsiteY4" fmla="*/ 92098 h 197353"/>
              <a:gd name="connsiteX5" fmla="*/ 115122 w 374970"/>
              <a:gd name="connsiteY5" fmla="*/ 128280 h 197353"/>
              <a:gd name="connsiteX6" fmla="*/ 128279 w 374970"/>
              <a:gd name="connsiteY6" fmla="*/ 157882 h 197353"/>
              <a:gd name="connsiteX7" fmla="*/ 141436 w 374970"/>
              <a:gd name="connsiteY7" fmla="*/ 164461 h 197353"/>
              <a:gd name="connsiteX8" fmla="*/ 174328 w 374970"/>
              <a:gd name="connsiteY8" fmla="*/ 164461 h 197353"/>
              <a:gd name="connsiteX9" fmla="*/ 223666 w 374970"/>
              <a:gd name="connsiteY9" fmla="*/ 164461 h 197353"/>
              <a:gd name="connsiteX10" fmla="*/ 246691 w 374970"/>
              <a:gd name="connsiteY10" fmla="*/ 167750 h 197353"/>
              <a:gd name="connsiteX11" fmla="*/ 273004 w 374970"/>
              <a:gd name="connsiteY11" fmla="*/ 174328 h 197353"/>
              <a:gd name="connsiteX12" fmla="*/ 286161 w 374970"/>
              <a:gd name="connsiteY12" fmla="*/ 180907 h 197353"/>
              <a:gd name="connsiteX13" fmla="*/ 315764 w 374970"/>
              <a:gd name="connsiteY13" fmla="*/ 171039 h 197353"/>
              <a:gd name="connsiteX14" fmla="*/ 328921 w 374970"/>
              <a:gd name="connsiteY14" fmla="*/ 171039 h 197353"/>
              <a:gd name="connsiteX15" fmla="*/ 355235 w 374970"/>
              <a:gd name="connsiteY15" fmla="*/ 184196 h 197353"/>
              <a:gd name="connsiteX16" fmla="*/ 374970 w 374970"/>
              <a:gd name="connsiteY16" fmla="*/ 197353 h 197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74970" h="197353">
                <a:moveTo>
                  <a:pt x="0" y="0"/>
                </a:moveTo>
                <a:lnTo>
                  <a:pt x="39471" y="32892"/>
                </a:lnTo>
                <a:cubicBezTo>
                  <a:pt x="49339" y="41115"/>
                  <a:pt x="53176" y="43309"/>
                  <a:pt x="59206" y="49339"/>
                </a:cubicBezTo>
                <a:cubicBezTo>
                  <a:pt x="65236" y="55369"/>
                  <a:pt x="70718" y="61948"/>
                  <a:pt x="75652" y="69074"/>
                </a:cubicBezTo>
                <a:cubicBezTo>
                  <a:pt x="80586" y="76201"/>
                  <a:pt x="82231" y="82230"/>
                  <a:pt x="88809" y="92098"/>
                </a:cubicBezTo>
                <a:cubicBezTo>
                  <a:pt x="95387" y="101966"/>
                  <a:pt x="108544" y="117316"/>
                  <a:pt x="115122" y="128280"/>
                </a:cubicBezTo>
                <a:cubicBezTo>
                  <a:pt x="121700" y="139244"/>
                  <a:pt x="128279" y="157882"/>
                  <a:pt x="128279" y="157882"/>
                </a:cubicBezTo>
                <a:cubicBezTo>
                  <a:pt x="132665" y="163912"/>
                  <a:pt x="133761" y="163365"/>
                  <a:pt x="141436" y="164461"/>
                </a:cubicBezTo>
                <a:cubicBezTo>
                  <a:pt x="149111" y="165558"/>
                  <a:pt x="174328" y="164461"/>
                  <a:pt x="174328" y="164461"/>
                </a:cubicBezTo>
                <a:cubicBezTo>
                  <a:pt x="188033" y="164461"/>
                  <a:pt x="211606" y="163913"/>
                  <a:pt x="223666" y="164461"/>
                </a:cubicBezTo>
                <a:cubicBezTo>
                  <a:pt x="235726" y="165009"/>
                  <a:pt x="238468" y="166106"/>
                  <a:pt x="246691" y="167750"/>
                </a:cubicBezTo>
                <a:cubicBezTo>
                  <a:pt x="254914" y="169394"/>
                  <a:pt x="273004" y="174328"/>
                  <a:pt x="273004" y="174328"/>
                </a:cubicBezTo>
                <a:cubicBezTo>
                  <a:pt x="279582" y="176521"/>
                  <a:pt x="279034" y="181455"/>
                  <a:pt x="286161" y="180907"/>
                </a:cubicBezTo>
                <a:cubicBezTo>
                  <a:pt x="293288" y="180359"/>
                  <a:pt x="315764" y="171039"/>
                  <a:pt x="315764" y="171039"/>
                </a:cubicBezTo>
                <a:cubicBezTo>
                  <a:pt x="322891" y="169394"/>
                  <a:pt x="322343" y="168846"/>
                  <a:pt x="328921" y="171039"/>
                </a:cubicBezTo>
                <a:cubicBezTo>
                  <a:pt x="335499" y="173232"/>
                  <a:pt x="347560" y="179810"/>
                  <a:pt x="355235" y="184196"/>
                </a:cubicBezTo>
                <a:cubicBezTo>
                  <a:pt x="362910" y="188582"/>
                  <a:pt x="368940" y="192967"/>
                  <a:pt x="374970" y="19735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8" name="Полилиния 637"/>
          <p:cNvSpPr/>
          <p:nvPr/>
        </p:nvSpPr>
        <p:spPr bwMode="auto">
          <a:xfrm>
            <a:off x="6763861" y="1723132"/>
            <a:ext cx="283670" cy="159998"/>
          </a:xfrm>
          <a:custGeom>
            <a:avLst/>
            <a:gdLst>
              <a:gd name="connsiteX0" fmla="*/ 0 w 243401"/>
              <a:gd name="connsiteY0" fmla="*/ 0 h 167750"/>
              <a:gd name="connsiteX1" fmla="*/ 62495 w 243401"/>
              <a:gd name="connsiteY1" fmla="*/ 52628 h 167750"/>
              <a:gd name="connsiteX2" fmla="*/ 82230 w 243401"/>
              <a:gd name="connsiteY2" fmla="*/ 82231 h 167750"/>
              <a:gd name="connsiteX3" fmla="*/ 108544 w 243401"/>
              <a:gd name="connsiteY3" fmla="*/ 98677 h 167750"/>
              <a:gd name="connsiteX4" fmla="*/ 138147 w 243401"/>
              <a:gd name="connsiteY4" fmla="*/ 101966 h 167750"/>
              <a:gd name="connsiteX5" fmla="*/ 167749 w 243401"/>
              <a:gd name="connsiteY5" fmla="*/ 108544 h 167750"/>
              <a:gd name="connsiteX6" fmla="*/ 177617 w 243401"/>
              <a:gd name="connsiteY6" fmla="*/ 111833 h 167750"/>
              <a:gd name="connsiteX7" fmla="*/ 187485 w 243401"/>
              <a:gd name="connsiteY7" fmla="*/ 144725 h 167750"/>
              <a:gd name="connsiteX8" fmla="*/ 207220 w 243401"/>
              <a:gd name="connsiteY8" fmla="*/ 148015 h 167750"/>
              <a:gd name="connsiteX9" fmla="*/ 223666 w 243401"/>
              <a:gd name="connsiteY9" fmla="*/ 157882 h 167750"/>
              <a:gd name="connsiteX10" fmla="*/ 243401 w 243401"/>
              <a:gd name="connsiteY10" fmla="*/ 167750 h 16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43401" h="167750">
                <a:moveTo>
                  <a:pt x="0" y="0"/>
                </a:moveTo>
                <a:cubicBezTo>
                  <a:pt x="24395" y="19461"/>
                  <a:pt x="48790" y="38923"/>
                  <a:pt x="62495" y="52628"/>
                </a:cubicBezTo>
                <a:cubicBezTo>
                  <a:pt x="76200" y="66333"/>
                  <a:pt x="74555" y="74556"/>
                  <a:pt x="82230" y="82231"/>
                </a:cubicBezTo>
                <a:cubicBezTo>
                  <a:pt x="89905" y="89906"/>
                  <a:pt x="99225" y="95388"/>
                  <a:pt x="108544" y="98677"/>
                </a:cubicBezTo>
                <a:cubicBezTo>
                  <a:pt x="117864" y="101966"/>
                  <a:pt x="128280" y="100322"/>
                  <a:pt x="138147" y="101966"/>
                </a:cubicBezTo>
                <a:cubicBezTo>
                  <a:pt x="148014" y="103610"/>
                  <a:pt x="161171" y="106900"/>
                  <a:pt x="167749" y="108544"/>
                </a:cubicBezTo>
                <a:cubicBezTo>
                  <a:pt x="174327" y="110188"/>
                  <a:pt x="174328" y="105803"/>
                  <a:pt x="177617" y="111833"/>
                </a:cubicBezTo>
                <a:cubicBezTo>
                  <a:pt x="180906" y="117863"/>
                  <a:pt x="182551" y="138695"/>
                  <a:pt x="187485" y="144725"/>
                </a:cubicBezTo>
                <a:cubicBezTo>
                  <a:pt x="192419" y="150755"/>
                  <a:pt x="201190" y="145822"/>
                  <a:pt x="207220" y="148015"/>
                </a:cubicBezTo>
                <a:cubicBezTo>
                  <a:pt x="213250" y="150208"/>
                  <a:pt x="217636" y="154593"/>
                  <a:pt x="223666" y="157882"/>
                </a:cubicBezTo>
                <a:cubicBezTo>
                  <a:pt x="229696" y="161171"/>
                  <a:pt x="236548" y="164460"/>
                  <a:pt x="243401" y="16775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9" name="Полилиния 638"/>
          <p:cNvSpPr/>
          <p:nvPr/>
        </p:nvSpPr>
        <p:spPr bwMode="auto">
          <a:xfrm>
            <a:off x="7062439" y="1895606"/>
            <a:ext cx="364717" cy="233041"/>
          </a:xfrm>
          <a:custGeom>
            <a:avLst/>
            <a:gdLst>
              <a:gd name="connsiteX0" fmla="*/ 485030 w 485030"/>
              <a:gd name="connsiteY0" fmla="*/ 357809 h 357809"/>
              <a:gd name="connsiteX1" fmla="*/ 433346 w 485030"/>
              <a:gd name="connsiteY1" fmla="*/ 333955 h 357809"/>
              <a:gd name="connsiteX2" fmla="*/ 401541 w 485030"/>
              <a:gd name="connsiteY2" fmla="*/ 310101 h 357809"/>
              <a:gd name="connsiteX3" fmla="*/ 373712 w 485030"/>
              <a:gd name="connsiteY3" fmla="*/ 310101 h 357809"/>
              <a:gd name="connsiteX4" fmla="*/ 341906 w 485030"/>
              <a:gd name="connsiteY4" fmla="*/ 282271 h 357809"/>
              <a:gd name="connsiteX5" fmla="*/ 302150 w 485030"/>
              <a:gd name="connsiteY5" fmla="*/ 250466 h 357809"/>
              <a:gd name="connsiteX6" fmla="*/ 278296 w 485030"/>
              <a:gd name="connsiteY6" fmla="*/ 226612 h 357809"/>
              <a:gd name="connsiteX7" fmla="*/ 254442 w 485030"/>
              <a:gd name="connsiteY7" fmla="*/ 166977 h 357809"/>
              <a:gd name="connsiteX8" fmla="*/ 210710 w 485030"/>
              <a:gd name="connsiteY8" fmla="*/ 135172 h 357809"/>
              <a:gd name="connsiteX9" fmla="*/ 166978 w 485030"/>
              <a:gd name="connsiteY9" fmla="*/ 103367 h 357809"/>
              <a:gd name="connsiteX10" fmla="*/ 131197 w 485030"/>
              <a:gd name="connsiteY10" fmla="*/ 87464 h 357809"/>
              <a:gd name="connsiteX11" fmla="*/ 103367 w 485030"/>
              <a:gd name="connsiteY11" fmla="*/ 59635 h 357809"/>
              <a:gd name="connsiteX12" fmla="*/ 75538 w 485030"/>
              <a:gd name="connsiteY12" fmla="*/ 39756 h 357809"/>
              <a:gd name="connsiteX13" fmla="*/ 55659 w 485030"/>
              <a:gd name="connsiteY13" fmla="*/ 19878 h 357809"/>
              <a:gd name="connsiteX14" fmla="*/ 19879 w 485030"/>
              <a:gd name="connsiteY14" fmla="*/ 3976 h 357809"/>
              <a:gd name="connsiteX15" fmla="*/ 0 w 485030"/>
              <a:gd name="connsiteY15" fmla="*/ 0 h 357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485030" h="357809">
                <a:moveTo>
                  <a:pt x="485030" y="357809"/>
                </a:moveTo>
                <a:cubicBezTo>
                  <a:pt x="466145" y="349857"/>
                  <a:pt x="447261" y="341906"/>
                  <a:pt x="433346" y="333955"/>
                </a:cubicBezTo>
                <a:cubicBezTo>
                  <a:pt x="419431" y="326004"/>
                  <a:pt x="411480" y="314077"/>
                  <a:pt x="401541" y="310101"/>
                </a:cubicBezTo>
                <a:cubicBezTo>
                  <a:pt x="391602" y="306125"/>
                  <a:pt x="383651" y="314739"/>
                  <a:pt x="373712" y="310101"/>
                </a:cubicBezTo>
                <a:cubicBezTo>
                  <a:pt x="363773" y="305463"/>
                  <a:pt x="353833" y="292210"/>
                  <a:pt x="341906" y="282271"/>
                </a:cubicBezTo>
                <a:cubicBezTo>
                  <a:pt x="329979" y="272332"/>
                  <a:pt x="312752" y="259742"/>
                  <a:pt x="302150" y="250466"/>
                </a:cubicBezTo>
                <a:cubicBezTo>
                  <a:pt x="291548" y="241190"/>
                  <a:pt x="286247" y="240527"/>
                  <a:pt x="278296" y="226612"/>
                </a:cubicBezTo>
                <a:cubicBezTo>
                  <a:pt x="270345" y="212697"/>
                  <a:pt x="265706" y="182217"/>
                  <a:pt x="254442" y="166977"/>
                </a:cubicBezTo>
                <a:cubicBezTo>
                  <a:pt x="243178" y="151737"/>
                  <a:pt x="210710" y="135172"/>
                  <a:pt x="210710" y="135172"/>
                </a:cubicBezTo>
                <a:cubicBezTo>
                  <a:pt x="196133" y="124570"/>
                  <a:pt x="180230" y="111318"/>
                  <a:pt x="166978" y="103367"/>
                </a:cubicBezTo>
                <a:cubicBezTo>
                  <a:pt x="153726" y="95416"/>
                  <a:pt x="141799" y="94753"/>
                  <a:pt x="131197" y="87464"/>
                </a:cubicBezTo>
                <a:cubicBezTo>
                  <a:pt x="120595" y="80175"/>
                  <a:pt x="112643" y="67586"/>
                  <a:pt x="103367" y="59635"/>
                </a:cubicBezTo>
                <a:cubicBezTo>
                  <a:pt x="94090" y="51684"/>
                  <a:pt x="83489" y="46382"/>
                  <a:pt x="75538" y="39756"/>
                </a:cubicBezTo>
                <a:cubicBezTo>
                  <a:pt x="67587" y="33130"/>
                  <a:pt x="64935" y="25841"/>
                  <a:pt x="55659" y="19878"/>
                </a:cubicBezTo>
                <a:cubicBezTo>
                  <a:pt x="46383" y="13915"/>
                  <a:pt x="29156" y="7289"/>
                  <a:pt x="19879" y="3976"/>
                </a:cubicBezTo>
                <a:cubicBezTo>
                  <a:pt x="10602" y="663"/>
                  <a:pt x="5301" y="331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41" name="Блок-схема: узел 640"/>
          <p:cNvSpPr/>
          <p:nvPr/>
        </p:nvSpPr>
        <p:spPr bwMode="auto">
          <a:xfrm>
            <a:off x="7011094" y="1860165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49" name="Полилиния 648"/>
          <p:cNvSpPr/>
          <p:nvPr/>
        </p:nvSpPr>
        <p:spPr>
          <a:xfrm>
            <a:off x="1457883" y="1685694"/>
            <a:ext cx="101544" cy="142808"/>
          </a:xfrm>
          <a:custGeom>
            <a:avLst/>
            <a:gdLst>
              <a:gd name="connsiteX0" fmla="*/ 0 w 107169"/>
              <a:gd name="connsiteY0" fmla="*/ 0 h 152400"/>
              <a:gd name="connsiteX1" fmla="*/ 7143 w 107169"/>
              <a:gd name="connsiteY1" fmla="*/ 26194 h 152400"/>
              <a:gd name="connsiteX2" fmla="*/ 9525 w 107169"/>
              <a:gd name="connsiteY2" fmla="*/ 33338 h 152400"/>
              <a:gd name="connsiteX3" fmla="*/ 19050 w 107169"/>
              <a:gd name="connsiteY3" fmla="*/ 47625 h 152400"/>
              <a:gd name="connsiteX4" fmla="*/ 23812 w 107169"/>
              <a:gd name="connsiteY4" fmla="*/ 54769 h 152400"/>
              <a:gd name="connsiteX5" fmla="*/ 26193 w 107169"/>
              <a:gd name="connsiteY5" fmla="*/ 61913 h 152400"/>
              <a:gd name="connsiteX6" fmla="*/ 33337 w 107169"/>
              <a:gd name="connsiteY6" fmla="*/ 66675 h 152400"/>
              <a:gd name="connsiteX7" fmla="*/ 47625 w 107169"/>
              <a:gd name="connsiteY7" fmla="*/ 78581 h 152400"/>
              <a:gd name="connsiteX8" fmla="*/ 52387 w 107169"/>
              <a:gd name="connsiteY8" fmla="*/ 85725 h 152400"/>
              <a:gd name="connsiteX9" fmla="*/ 59531 w 107169"/>
              <a:gd name="connsiteY9" fmla="*/ 90488 h 152400"/>
              <a:gd name="connsiteX10" fmla="*/ 61912 w 107169"/>
              <a:gd name="connsiteY10" fmla="*/ 97631 h 152400"/>
              <a:gd name="connsiteX11" fmla="*/ 78581 w 107169"/>
              <a:gd name="connsiteY11" fmla="*/ 109538 h 152400"/>
              <a:gd name="connsiteX12" fmla="*/ 80962 w 107169"/>
              <a:gd name="connsiteY12" fmla="*/ 116681 h 152400"/>
              <a:gd name="connsiteX13" fmla="*/ 92868 w 107169"/>
              <a:gd name="connsiteY13" fmla="*/ 130969 h 152400"/>
              <a:gd name="connsiteX14" fmla="*/ 97631 w 107169"/>
              <a:gd name="connsiteY14" fmla="*/ 138113 h 152400"/>
              <a:gd name="connsiteX15" fmla="*/ 100012 w 107169"/>
              <a:gd name="connsiteY15" fmla="*/ 145256 h 152400"/>
              <a:gd name="connsiteX16" fmla="*/ 107156 w 107169"/>
              <a:gd name="connsiteY16" fmla="*/ 15240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7169" h="152400">
                <a:moveTo>
                  <a:pt x="0" y="0"/>
                </a:moveTo>
                <a:cubicBezTo>
                  <a:pt x="3364" y="16824"/>
                  <a:pt x="1103" y="8073"/>
                  <a:pt x="7143" y="26194"/>
                </a:cubicBezTo>
                <a:cubicBezTo>
                  <a:pt x="7937" y="28575"/>
                  <a:pt x="8133" y="31249"/>
                  <a:pt x="9525" y="33338"/>
                </a:cubicBezTo>
                <a:lnTo>
                  <a:pt x="19050" y="47625"/>
                </a:lnTo>
                <a:cubicBezTo>
                  <a:pt x="20637" y="50006"/>
                  <a:pt x="22907" y="52054"/>
                  <a:pt x="23812" y="54769"/>
                </a:cubicBezTo>
                <a:cubicBezTo>
                  <a:pt x="24606" y="57150"/>
                  <a:pt x="24625" y="59953"/>
                  <a:pt x="26193" y="61913"/>
                </a:cubicBezTo>
                <a:cubicBezTo>
                  <a:pt x="27981" y="64148"/>
                  <a:pt x="31138" y="64843"/>
                  <a:pt x="33337" y="66675"/>
                </a:cubicBezTo>
                <a:cubicBezTo>
                  <a:pt x="51672" y="81954"/>
                  <a:pt x="29888" y="66758"/>
                  <a:pt x="47625" y="78581"/>
                </a:cubicBezTo>
                <a:cubicBezTo>
                  <a:pt x="49212" y="80962"/>
                  <a:pt x="50363" y="83701"/>
                  <a:pt x="52387" y="85725"/>
                </a:cubicBezTo>
                <a:cubicBezTo>
                  <a:pt x="54411" y="87749"/>
                  <a:pt x="57743" y="88253"/>
                  <a:pt x="59531" y="90488"/>
                </a:cubicBezTo>
                <a:cubicBezTo>
                  <a:pt x="61099" y="92448"/>
                  <a:pt x="60453" y="95589"/>
                  <a:pt x="61912" y="97631"/>
                </a:cubicBezTo>
                <a:cubicBezTo>
                  <a:pt x="68974" y="107518"/>
                  <a:pt x="69546" y="106526"/>
                  <a:pt x="78581" y="109538"/>
                </a:cubicBezTo>
                <a:cubicBezTo>
                  <a:pt x="79375" y="111919"/>
                  <a:pt x="79840" y="114436"/>
                  <a:pt x="80962" y="116681"/>
                </a:cubicBezTo>
                <a:cubicBezTo>
                  <a:pt x="85395" y="125547"/>
                  <a:pt x="86287" y="123071"/>
                  <a:pt x="92868" y="130969"/>
                </a:cubicBezTo>
                <a:cubicBezTo>
                  <a:pt x="94700" y="133168"/>
                  <a:pt x="96043" y="135732"/>
                  <a:pt x="97631" y="138113"/>
                </a:cubicBezTo>
                <a:cubicBezTo>
                  <a:pt x="98425" y="140494"/>
                  <a:pt x="98444" y="143296"/>
                  <a:pt x="100012" y="145256"/>
                </a:cubicBezTo>
                <a:cubicBezTo>
                  <a:pt x="107816" y="155011"/>
                  <a:pt x="107156" y="145895"/>
                  <a:pt x="107156" y="15240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0" name="Полилиния 649"/>
          <p:cNvSpPr/>
          <p:nvPr/>
        </p:nvSpPr>
        <p:spPr>
          <a:xfrm>
            <a:off x="2235945" y="2022636"/>
            <a:ext cx="223371" cy="24545"/>
          </a:xfrm>
          <a:custGeom>
            <a:avLst/>
            <a:gdLst>
              <a:gd name="connsiteX0" fmla="*/ 235744 w 235744"/>
              <a:gd name="connsiteY0" fmla="*/ 26194 h 26194"/>
              <a:gd name="connsiteX1" fmla="*/ 188119 w 235744"/>
              <a:gd name="connsiteY1" fmla="*/ 23813 h 26194"/>
              <a:gd name="connsiteX2" fmla="*/ 180975 w 235744"/>
              <a:gd name="connsiteY2" fmla="*/ 21431 h 26194"/>
              <a:gd name="connsiteX3" fmla="*/ 169069 w 235744"/>
              <a:gd name="connsiteY3" fmla="*/ 19050 h 26194"/>
              <a:gd name="connsiteX4" fmla="*/ 116682 w 235744"/>
              <a:gd name="connsiteY4" fmla="*/ 14288 h 26194"/>
              <a:gd name="connsiteX5" fmla="*/ 107157 w 235744"/>
              <a:gd name="connsiteY5" fmla="*/ 11906 h 26194"/>
              <a:gd name="connsiteX6" fmla="*/ 92869 w 235744"/>
              <a:gd name="connsiteY6" fmla="*/ 7144 h 26194"/>
              <a:gd name="connsiteX7" fmla="*/ 71438 w 235744"/>
              <a:gd name="connsiteY7" fmla="*/ 2381 h 26194"/>
              <a:gd name="connsiteX8" fmla="*/ 64294 w 235744"/>
              <a:gd name="connsiteY8" fmla="*/ 0 h 26194"/>
              <a:gd name="connsiteX9" fmla="*/ 0 w 235744"/>
              <a:gd name="connsiteY9" fmla="*/ 2381 h 26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5744" h="26194">
                <a:moveTo>
                  <a:pt x="235744" y="26194"/>
                </a:moveTo>
                <a:cubicBezTo>
                  <a:pt x="219869" y="25400"/>
                  <a:pt x="203954" y="25190"/>
                  <a:pt x="188119" y="23813"/>
                </a:cubicBezTo>
                <a:cubicBezTo>
                  <a:pt x="185618" y="23596"/>
                  <a:pt x="183410" y="22040"/>
                  <a:pt x="180975" y="21431"/>
                </a:cubicBezTo>
                <a:cubicBezTo>
                  <a:pt x="177049" y="20449"/>
                  <a:pt x="173061" y="19715"/>
                  <a:pt x="169069" y="19050"/>
                </a:cubicBezTo>
                <a:cubicBezTo>
                  <a:pt x="147369" y="15434"/>
                  <a:pt x="143582" y="16081"/>
                  <a:pt x="116682" y="14288"/>
                </a:cubicBezTo>
                <a:cubicBezTo>
                  <a:pt x="113507" y="13494"/>
                  <a:pt x="110292" y="12846"/>
                  <a:pt x="107157" y="11906"/>
                </a:cubicBezTo>
                <a:cubicBezTo>
                  <a:pt x="102349" y="10463"/>
                  <a:pt x="97792" y="8128"/>
                  <a:pt x="92869" y="7144"/>
                </a:cubicBezTo>
                <a:cubicBezTo>
                  <a:pt x="84671" y="5505"/>
                  <a:pt x="79296" y="4626"/>
                  <a:pt x="71438" y="2381"/>
                </a:cubicBezTo>
                <a:cubicBezTo>
                  <a:pt x="69024" y="1691"/>
                  <a:pt x="66675" y="794"/>
                  <a:pt x="64294" y="0"/>
                </a:cubicBezTo>
                <a:cubicBezTo>
                  <a:pt x="12709" y="2715"/>
                  <a:pt x="34152" y="2381"/>
                  <a:pt x="0" y="2381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3" name="Полилиния 652"/>
          <p:cNvSpPr/>
          <p:nvPr/>
        </p:nvSpPr>
        <p:spPr>
          <a:xfrm>
            <a:off x="2240803" y="2005763"/>
            <a:ext cx="212090" cy="30258"/>
          </a:xfrm>
          <a:custGeom>
            <a:avLst/>
            <a:gdLst>
              <a:gd name="connsiteX0" fmla="*/ 223838 w 223838"/>
              <a:gd name="connsiteY0" fmla="*/ 29909 h 32290"/>
              <a:gd name="connsiteX1" fmla="*/ 207169 w 223838"/>
              <a:gd name="connsiteY1" fmla="*/ 32290 h 32290"/>
              <a:gd name="connsiteX2" fmla="*/ 169069 w 223838"/>
              <a:gd name="connsiteY2" fmla="*/ 25146 h 32290"/>
              <a:gd name="connsiteX3" fmla="*/ 152400 w 223838"/>
              <a:gd name="connsiteY3" fmla="*/ 22765 h 32290"/>
              <a:gd name="connsiteX4" fmla="*/ 145257 w 223838"/>
              <a:gd name="connsiteY4" fmla="*/ 20384 h 32290"/>
              <a:gd name="connsiteX5" fmla="*/ 123825 w 223838"/>
              <a:gd name="connsiteY5" fmla="*/ 18002 h 32290"/>
              <a:gd name="connsiteX6" fmla="*/ 116682 w 223838"/>
              <a:gd name="connsiteY6" fmla="*/ 13240 h 32290"/>
              <a:gd name="connsiteX7" fmla="*/ 104775 w 223838"/>
              <a:gd name="connsiteY7" fmla="*/ 10859 h 32290"/>
              <a:gd name="connsiteX8" fmla="*/ 61913 w 223838"/>
              <a:gd name="connsiteY8" fmla="*/ 3715 h 32290"/>
              <a:gd name="connsiteX9" fmla="*/ 0 w 223838"/>
              <a:gd name="connsiteY9" fmla="*/ 1334 h 32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3838" h="32290">
                <a:moveTo>
                  <a:pt x="223838" y="29909"/>
                </a:moveTo>
                <a:cubicBezTo>
                  <a:pt x="218282" y="30703"/>
                  <a:pt x="212782" y="32290"/>
                  <a:pt x="207169" y="32290"/>
                </a:cubicBezTo>
                <a:cubicBezTo>
                  <a:pt x="185446" y="32290"/>
                  <a:pt x="190419" y="28196"/>
                  <a:pt x="169069" y="25146"/>
                </a:cubicBezTo>
                <a:lnTo>
                  <a:pt x="152400" y="22765"/>
                </a:lnTo>
                <a:cubicBezTo>
                  <a:pt x="150019" y="21971"/>
                  <a:pt x="147733" y="20797"/>
                  <a:pt x="145257" y="20384"/>
                </a:cubicBezTo>
                <a:cubicBezTo>
                  <a:pt x="138167" y="19202"/>
                  <a:pt x="130798" y="19745"/>
                  <a:pt x="123825" y="18002"/>
                </a:cubicBezTo>
                <a:cubicBezTo>
                  <a:pt x="121049" y="17308"/>
                  <a:pt x="119361" y="14245"/>
                  <a:pt x="116682" y="13240"/>
                </a:cubicBezTo>
                <a:cubicBezTo>
                  <a:pt x="112892" y="11819"/>
                  <a:pt x="108719" y="11769"/>
                  <a:pt x="104775" y="10859"/>
                </a:cubicBezTo>
                <a:cubicBezTo>
                  <a:pt x="74042" y="3767"/>
                  <a:pt x="97045" y="7228"/>
                  <a:pt x="61913" y="3715"/>
                </a:cubicBezTo>
                <a:cubicBezTo>
                  <a:pt x="35447" y="-2901"/>
                  <a:pt x="55661" y="1334"/>
                  <a:pt x="0" y="1334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4" name="Полилиния 653"/>
          <p:cNvSpPr/>
          <p:nvPr/>
        </p:nvSpPr>
        <p:spPr>
          <a:xfrm>
            <a:off x="2241353" y="2038002"/>
            <a:ext cx="212090" cy="30258"/>
          </a:xfrm>
          <a:custGeom>
            <a:avLst/>
            <a:gdLst>
              <a:gd name="connsiteX0" fmla="*/ 223838 w 223838"/>
              <a:gd name="connsiteY0" fmla="*/ 29909 h 32290"/>
              <a:gd name="connsiteX1" fmla="*/ 207169 w 223838"/>
              <a:gd name="connsiteY1" fmla="*/ 32290 h 32290"/>
              <a:gd name="connsiteX2" fmla="*/ 169069 w 223838"/>
              <a:gd name="connsiteY2" fmla="*/ 25146 h 32290"/>
              <a:gd name="connsiteX3" fmla="*/ 152400 w 223838"/>
              <a:gd name="connsiteY3" fmla="*/ 22765 h 32290"/>
              <a:gd name="connsiteX4" fmla="*/ 145257 w 223838"/>
              <a:gd name="connsiteY4" fmla="*/ 20384 h 32290"/>
              <a:gd name="connsiteX5" fmla="*/ 123825 w 223838"/>
              <a:gd name="connsiteY5" fmla="*/ 18002 h 32290"/>
              <a:gd name="connsiteX6" fmla="*/ 116682 w 223838"/>
              <a:gd name="connsiteY6" fmla="*/ 13240 h 32290"/>
              <a:gd name="connsiteX7" fmla="*/ 104775 w 223838"/>
              <a:gd name="connsiteY7" fmla="*/ 10859 h 32290"/>
              <a:gd name="connsiteX8" fmla="*/ 61913 w 223838"/>
              <a:gd name="connsiteY8" fmla="*/ 3715 h 32290"/>
              <a:gd name="connsiteX9" fmla="*/ 0 w 223838"/>
              <a:gd name="connsiteY9" fmla="*/ 1334 h 32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23838" h="32290">
                <a:moveTo>
                  <a:pt x="223838" y="29909"/>
                </a:moveTo>
                <a:cubicBezTo>
                  <a:pt x="218282" y="30703"/>
                  <a:pt x="212782" y="32290"/>
                  <a:pt x="207169" y="32290"/>
                </a:cubicBezTo>
                <a:cubicBezTo>
                  <a:pt x="185446" y="32290"/>
                  <a:pt x="190419" y="28196"/>
                  <a:pt x="169069" y="25146"/>
                </a:cubicBezTo>
                <a:lnTo>
                  <a:pt x="152400" y="22765"/>
                </a:lnTo>
                <a:cubicBezTo>
                  <a:pt x="150019" y="21971"/>
                  <a:pt x="147733" y="20797"/>
                  <a:pt x="145257" y="20384"/>
                </a:cubicBezTo>
                <a:cubicBezTo>
                  <a:pt x="138167" y="19202"/>
                  <a:pt x="130798" y="19745"/>
                  <a:pt x="123825" y="18002"/>
                </a:cubicBezTo>
                <a:cubicBezTo>
                  <a:pt x="121049" y="17308"/>
                  <a:pt x="119361" y="14245"/>
                  <a:pt x="116682" y="13240"/>
                </a:cubicBezTo>
                <a:cubicBezTo>
                  <a:pt x="112892" y="11819"/>
                  <a:pt x="108719" y="11769"/>
                  <a:pt x="104775" y="10859"/>
                </a:cubicBezTo>
                <a:cubicBezTo>
                  <a:pt x="74042" y="3767"/>
                  <a:pt x="97045" y="7228"/>
                  <a:pt x="61913" y="3715"/>
                </a:cubicBezTo>
                <a:cubicBezTo>
                  <a:pt x="35447" y="-2901"/>
                  <a:pt x="55661" y="1334"/>
                  <a:pt x="0" y="1334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6" name="AutoShape 19"/>
          <p:cNvSpPr>
            <a:spLocks noChangeArrowheads="1"/>
          </p:cNvSpPr>
          <p:nvPr/>
        </p:nvSpPr>
        <p:spPr bwMode="auto">
          <a:xfrm>
            <a:off x="1333954" y="3626702"/>
            <a:ext cx="452517" cy="8347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Жаңаөзен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7" name="Полилиния 656"/>
          <p:cNvSpPr/>
          <p:nvPr/>
        </p:nvSpPr>
        <p:spPr bwMode="auto">
          <a:xfrm>
            <a:off x="1045157" y="3581246"/>
            <a:ext cx="183279" cy="76982"/>
          </a:xfrm>
          <a:custGeom>
            <a:avLst/>
            <a:gdLst>
              <a:gd name="connsiteX0" fmla="*/ 0 w 209550"/>
              <a:gd name="connsiteY0" fmla="*/ 0 h 109537"/>
              <a:gd name="connsiteX1" fmla="*/ 23812 w 209550"/>
              <a:gd name="connsiteY1" fmla="*/ 9525 h 109537"/>
              <a:gd name="connsiteX2" fmla="*/ 38100 w 209550"/>
              <a:gd name="connsiteY2" fmla="*/ 19050 h 109537"/>
              <a:gd name="connsiteX3" fmla="*/ 76200 w 209550"/>
              <a:gd name="connsiteY3" fmla="*/ 38100 h 109537"/>
              <a:gd name="connsiteX4" fmla="*/ 95250 w 209550"/>
              <a:gd name="connsiteY4" fmla="*/ 47625 h 109537"/>
              <a:gd name="connsiteX5" fmla="*/ 114300 w 209550"/>
              <a:gd name="connsiteY5" fmla="*/ 52387 h 109537"/>
              <a:gd name="connsiteX6" fmla="*/ 128587 w 209550"/>
              <a:gd name="connsiteY6" fmla="*/ 61912 h 109537"/>
              <a:gd name="connsiteX7" fmla="*/ 142875 w 209550"/>
              <a:gd name="connsiteY7" fmla="*/ 66675 h 109537"/>
              <a:gd name="connsiteX8" fmla="*/ 157162 w 209550"/>
              <a:gd name="connsiteY8" fmla="*/ 80962 h 109537"/>
              <a:gd name="connsiteX9" fmla="*/ 171450 w 209550"/>
              <a:gd name="connsiteY9" fmla="*/ 85725 h 109537"/>
              <a:gd name="connsiteX10" fmla="*/ 200025 w 209550"/>
              <a:gd name="connsiteY10" fmla="*/ 104775 h 109537"/>
              <a:gd name="connsiteX11" fmla="*/ 209550 w 209550"/>
              <a:gd name="connsiteY11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9550" h="109537">
                <a:moveTo>
                  <a:pt x="0" y="0"/>
                </a:moveTo>
                <a:cubicBezTo>
                  <a:pt x="7937" y="3175"/>
                  <a:pt x="16166" y="5702"/>
                  <a:pt x="23812" y="9525"/>
                </a:cubicBezTo>
                <a:cubicBezTo>
                  <a:pt x="28932" y="12085"/>
                  <a:pt x="33075" y="16309"/>
                  <a:pt x="38100" y="19050"/>
                </a:cubicBezTo>
                <a:cubicBezTo>
                  <a:pt x="50565" y="25849"/>
                  <a:pt x="63500" y="31750"/>
                  <a:pt x="76200" y="38100"/>
                </a:cubicBezTo>
                <a:cubicBezTo>
                  <a:pt x="82550" y="41275"/>
                  <a:pt x="88362" y="45903"/>
                  <a:pt x="95250" y="47625"/>
                </a:cubicBezTo>
                <a:lnTo>
                  <a:pt x="114300" y="52387"/>
                </a:lnTo>
                <a:cubicBezTo>
                  <a:pt x="119062" y="55562"/>
                  <a:pt x="123468" y="59352"/>
                  <a:pt x="128587" y="61912"/>
                </a:cubicBezTo>
                <a:cubicBezTo>
                  <a:pt x="133077" y="64157"/>
                  <a:pt x="138698" y="63890"/>
                  <a:pt x="142875" y="66675"/>
                </a:cubicBezTo>
                <a:cubicBezTo>
                  <a:pt x="148479" y="70411"/>
                  <a:pt x="151558" y="77226"/>
                  <a:pt x="157162" y="80962"/>
                </a:cubicBezTo>
                <a:cubicBezTo>
                  <a:pt x="161339" y="83747"/>
                  <a:pt x="167061" y="83287"/>
                  <a:pt x="171450" y="85725"/>
                </a:cubicBezTo>
                <a:cubicBezTo>
                  <a:pt x="181457" y="91284"/>
                  <a:pt x="189786" y="99656"/>
                  <a:pt x="200025" y="104775"/>
                </a:cubicBezTo>
                <a:lnTo>
                  <a:pt x="209550" y="109537"/>
                </a:lnTo>
              </a:path>
            </a:pathLst>
          </a:custGeom>
          <a:noFill/>
          <a:ln w="1270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8" name="Полилиния 657"/>
          <p:cNvSpPr/>
          <p:nvPr/>
        </p:nvSpPr>
        <p:spPr bwMode="auto">
          <a:xfrm>
            <a:off x="1045157" y="3582684"/>
            <a:ext cx="183279" cy="76982"/>
          </a:xfrm>
          <a:custGeom>
            <a:avLst/>
            <a:gdLst>
              <a:gd name="connsiteX0" fmla="*/ 0 w 209550"/>
              <a:gd name="connsiteY0" fmla="*/ 0 h 109537"/>
              <a:gd name="connsiteX1" fmla="*/ 23812 w 209550"/>
              <a:gd name="connsiteY1" fmla="*/ 9525 h 109537"/>
              <a:gd name="connsiteX2" fmla="*/ 38100 w 209550"/>
              <a:gd name="connsiteY2" fmla="*/ 19050 h 109537"/>
              <a:gd name="connsiteX3" fmla="*/ 76200 w 209550"/>
              <a:gd name="connsiteY3" fmla="*/ 38100 h 109537"/>
              <a:gd name="connsiteX4" fmla="*/ 95250 w 209550"/>
              <a:gd name="connsiteY4" fmla="*/ 47625 h 109537"/>
              <a:gd name="connsiteX5" fmla="*/ 114300 w 209550"/>
              <a:gd name="connsiteY5" fmla="*/ 52387 h 109537"/>
              <a:gd name="connsiteX6" fmla="*/ 128587 w 209550"/>
              <a:gd name="connsiteY6" fmla="*/ 61912 h 109537"/>
              <a:gd name="connsiteX7" fmla="*/ 142875 w 209550"/>
              <a:gd name="connsiteY7" fmla="*/ 66675 h 109537"/>
              <a:gd name="connsiteX8" fmla="*/ 157162 w 209550"/>
              <a:gd name="connsiteY8" fmla="*/ 80962 h 109537"/>
              <a:gd name="connsiteX9" fmla="*/ 171450 w 209550"/>
              <a:gd name="connsiteY9" fmla="*/ 85725 h 109537"/>
              <a:gd name="connsiteX10" fmla="*/ 200025 w 209550"/>
              <a:gd name="connsiteY10" fmla="*/ 104775 h 109537"/>
              <a:gd name="connsiteX11" fmla="*/ 209550 w 209550"/>
              <a:gd name="connsiteY11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9550" h="109537">
                <a:moveTo>
                  <a:pt x="0" y="0"/>
                </a:moveTo>
                <a:cubicBezTo>
                  <a:pt x="7937" y="3175"/>
                  <a:pt x="16166" y="5702"/>
                  <a:pt x="23812" y="9525"/>
                </a:cubicBezTo>
                <a:cubicBezTo>
                  <a:pt x="28932" y="12085"/>
                  <a:pt x="33075" y="16309"/>
                  <a:pt x="38100" y="19050"/>
                </a:cubicBezTo>
                <a:cubicBezTo>
                  <a:pt x="50565" y="25849"/>
                  <a:pt x="63500" y="31750"/>
                  <a:pt x="76200" y="38100"/>
                </a:cubicBezTo>
                <a:cubicBezTo>
                  <a:pt x="82550" y="41275"/>
                  <a:pt x="88362" y="45903"/>
                  <a:pt x="95250" y="47625"/>
                </a:cubicBezTo>
                <a:lnTo>
                  <a:pt x="114300" y="52387"/>
                </a:lnTo>
                <a:cubicBezTo>
                  <a:pt x="119062" y="55562"/>
                  <a:pt x="123468" y="59352"/>
                  <a:pt x="128587" y="61912"/>
                </a:cubicBezTo>
                <a:cubicBezTo>
                  <a:pt x="133077" y="64157"/>
                  <a:pt x="138698" y="63890"/>
                  <a:pt x="142875" y="66675"/>
                </a:cubicBezTo>
                <a:cubicBezTo>
                  <a:pt x="148479" y="70411"/>
                  <a:pt x="151558" y="77226"/>
                  <a:pt x="157162" y="80962"/>
                </a:cubicBezTo>
                <a:cubicBezTo>
                  <a:pt x="161339" y="83747"/>
                  <a:pt x="167061" y="83287"/>
                  <a:pt x="171450" y="85725"/>
                </a:cubicBezTo>
                <a:cubicBezTo>
                  <a:pt x="181457" y="91284"/>
                  <a:pt x="189786" y="99656"/>
                  <a:pt x="200025" y="104775"/>
                </a:cubicBezTo>
                <a:lnTo>
                  <a:pt x="209550" y="109537"/>
                </a:lnTo>
              </a:path>
            </a:pathLst>
          </a:custGeom>
          <a:noFill/>
          <a:ln w="127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659" name="Полилиния 658"/>
          <p:cNvSpPr/>
          <p:nvPr/>
        </p:nvSpPr>
        <p:spPr bwMode="auto">
          <a:xfrm>
            <a:off x="1042772" y="3604845"/>
            <a:ext cx="183279" cy="76982"/>
          </a:xfrm>
          <a:custGeom>
            <a:avLst/>
            <a:gdLst>
              <a:gd name="connsiteX0" fmla="*/ 0 w 209550"/>
              <a:gd name="connsiteY0" fmla="*/ 0 h 109537"/>
              <a:gd name="connsiteX1" fmla="*/ 23812 w 209550"/>
              <a:gd name="connsiteY1" fmla="*/ 9525 h 109537"/>
              <a:gd name="connsiteX2" fmla="*/ 38100 w 209550"/>
              <a:gd name="connsiteY2" fmla="*/ 19050 h 109537"/>
              <a:gd name="connsiteX3" fmla="*/ 76200 w 209550"/>
              <a:gd name="connsiteY3" fmla="*/ 38100 h 109537"/>
              <a:gd name="connsiteX4" fmla="*/ 95250 w 209550"/>
              <a:gd name="connsiteY4" fmla="*/ 47625 h 109537"/>
              <a:gd name="connsiteX5" fmla="*/ 114300 w 209550"/>
              <a:gd name="connsiteY5" fmla="*/ 52387 h 109537"/>
              <a:gd name="connsiteX6" fmla="*/ 128587 w 209550"/>
              <a:gd name="connsiteY6" fmla="*/ 61912 h 109537"/>
              <a:gd name="connsiteX7" fmla="*/ 142875 w 209550"/>
              <a:gd name="connsiteY7" fmla="*/ 66675 h 109537"/>
              <a:gd name="connsiteX8" fmla="*/ 157162 w 209550"/>
              <a:gd name="connsiteY8" fmla="*/ 80962 h 109537"/>
              <a:gd name="connsiteX9" fmla="*/ 171450 w 209550"/>
              <a:gd name="connsiteY9" fmla="*/ 85725 h 109537"/>
              <a:gd name="connsiteX10" fmla="*/ 200025 w 209550"/>
              <a:gd name="connsiteY10" fmla="*/ 104775 h 109537"/>
              <a:gd name="connsiteX11" fmla="*/ 209550 w 209550"/>
              <a:gd name="connsiteY11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9550" h="109537">
                <a:moveTo>
                  <a:pt x="0" y="0"/>
                </a:moveTo>
                <a:cubicBezTo>
                  <a:pt x="7937" y="3175"/>
                  <a:pt x="16166" y="5702"/>
                  <a:pt x="23812" y="9525"/>
                </a:cubicBezTo>
                <a:cubicBezTo>
                  <a:pt x="28932" y="12085"/>
                  <a:pt x="33075" y="16309"/>
                  <a:pt x="38100" y="19050"/>
                </a:cubicBezTo>
                <a:cubicBezTo>
                  <a:pt x="50565" y="25849"/>
                  <a:pt x="63500" y="31750"/>
                  <a:pt x="76200" y="38100"/>
                </a:cubicBezTo>
                <a:cubicBezTo>
                  <a:pt x="82550" y="41275"/>
                  <a:pt x="88362" y="45903"/>
                  <a:pt x="95250" y="47625"/>
                </a:cubicBezTo>
                <a:lnTo>
                  <a:pt x="114300" y="52387"/>
                </a:lnTo>
                <a:cubicBezTo>
                  <a:pt x="119062" y="55562"/>
                  <a:pt x="123468" y="59352"/>
                  <a:pt x="128587" y="61912"/>
                </a:cubicBezTo>
                <a:cubicBezTo>
                  <a:pt x="133077" y="64157"/>
                  <a:pt x="138698" y="63890"/>
                  <a:pt x="142875" y="66675"/>
                </a:cubicBezTo>
                <a:cubicBezTo>
                  <a:pt x="148479" y="70411"/>
                  <a:pt x="151558" y="77226"/>
                  <a:pt x="157162" y="80962"/>
                </a:cubicBezTo>
                <a:cubicBezTo>
                  <a:pt x="161339" y="83747"/>
                  <a:pt x="167061" y="83287"/>
                  <a:pt x="171450" y="85725"/>
                </a:cubicBezTo>
                <a:cubicBezTo>
                  <a:pt x="181457" y="91284"/>
                  <a:pt x="189786" y="99656"/>
                  <a:pt x="200025" y="104775"/>
                </a:cubicBezTo>
                <a:lnTo>
                  <a:pt x="209550" y="109537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660" name="Полилиния 659"/>
          <p:cNvSpPr/>
          <p:nvPr/>
        </p:nvSpPr>
        <p:spPr bwMode="auto">
          <a:xfrm>
            <a:off x="1066958" y="3566355"/>
            <a:ext cx="183279" cy="76982"/>
          </a:xfrm>
          <a:custGeom>
            <a:avLst/>
            <a:gdLst>
              <a:gd name="connsiteX0" fmla="*/ 0 w 209550"/>
              <a:gd name="connsiteY0" fmla="*/ 0 h 109537"/>
              <a:gd name="connsiteX1" fmla="*/ 23812 w 209550"/>
              <a:gd name="connsiteY1" fmla="*/ 9525 h 109537"/>
              <a:gd name="connsiteX2" fmla="*/ 38100 w 209550"/>
              <a:gd name="connsiteY2" fmla="*/ 19050 h 109537"/>
              <a:gd name="connsiteX3" fmla="*/ 76200 w 209550"/>
              <a:gd name="connsiteY3" fmla="*/ 38100 h 109537"/>
              <a:gd name="connsiteX4" fmla="*/ 95250 w 209550"/>
              <a:gd name="connsiteY4" fmla="*/ 47625 h 109537"/>
              <a:gd name="connsiteX5" fmla="*/ 114300 w 209550"/>
              <a:gd name="connsiteY5" fmla="*/ 52387 h 109537"/>
              <a:gd name="connsiteX6" fmla="*/ 128587 w 209550"/>
              <a:gd name="connsiteY6" fmla="*/ 61912 h 109537"/>
              <a:gd name="connsiteX7" fmla="*/ 142875 w 209550"/>
              <a:gd name="connsiteY7" fmla="*/ 66675 h 109537"/>
              <a:gd name="connsiteX8" fmla="*/ 157162 w 209550"/>
              <a:gd name="connsiteY8" fmla="*/ 80962 h 109537"/>
              <a:gd name="connsiteX9" fmla="*/ 171450 w 209550"/>
              <a:gd name="connsiteY9" fmla="*/ 85725 h 109537"/>
              <a:gd name="connsiteX10" fmla="*/ 200025 w 209550"/>
              <a:gd name="connsiteY10" fmla="*/ 104775 h 109537"/>
              <a:gd name="connsiteX11" fmla="*/ 209550 w 209550"/>
              <a:gd name="connsiteY11" fmla="*/ 109537 h 109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9550" h="109537">
                <a:moveTo>
                  <a:pt x="0" y="0"/>
                </a:moveTo>
                <a:cubicBezTo>
                  <a:pt x="7937" y="3175"/>
                  <a:pt x="16166" y="5702"/>
                  <a:pt x="23812" y="9525"/>
                </a:cubicBezTo>
                <a:cubicBezTo>
                  <a:pt x="28932" y="12085"/>
                  <a:pt x="33075" y="16309"/>
                  <a:pt x="38100" y="19050"/>
                </a:cubicBezTo>
                <a:cubicBezTo>
                  <a:pt x="50565" y="25849"/>
                  <a:pt x="63500" y="31750"/>
                  <a:pt x="76200" y="38100"/>
                </a:cubicBezTo>
                <a:cubicBezTo>
                  <a:pt x="82550" y="41275"/>
                  <a:pt x="88362" y="45903"/>
                  <a:pt x="95250" y="47625"/>
                </a:cubicBezTo>
                <a:lnTo>
                  <a:pt x="114300" y="52387"/>
                </a:lnTo>
                <a:cubicBezTo>
                  <a:pt x="119062" y="55562"/>
                  <a:pt x="123468" y="59352"/>
                  <a:pt x="128587" y="61912"/>
                </a:cubicBezTo>
                <a:cubicBezTo>
                  <a:pt x="133077" y="64157"/>
                  <a:pt x="138698" y="63890"/>
                  <a:pt x="142875" y="66675"/>
                </a:cubicBezTo>
                <a:cubicBezTo>
                  <a:pt x="148479" y="70411"/>
                  <a:pt x="151558" y="77226"/>
                  <a:pt x="157162" y="80962"/>
                </a:cubicBezTo>
                <a:cubicBezTo>
                  <a:pt x="161339" y="83747"/>
                  <a:pt x="167061" y="83287"/>
                  <a:pt x="171450" y="85725"/>
                </a:cubicBezTo>
                <a:cubicBezTo>
                  <a:pt x="181457" y="91284"/>
                  <a:pt x="189786" y="99656"/>
                  <a:pt x="200025" y="104775"/>
                </a:cubicBezTo>
                <a:lnTo>
                  <a:pt x="209550" y="109537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661" name="Блок-схема: узел 660"/>
          <p:cNvSpPr/>
          <p:nvPr/>
        </p:nvSpPr>
        <p:spPr bwMode="auto">
          <a:xfrm>
            <a:off x="1177742" y="3617918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Полилиния 1"/>
          <p:cNvSpPr/>
          <p:nvPr/>
        </p:nvSpPr>
        <p:spPr>
          <a:xfrm>
            <a:off x="1157793" y="3288115"/>
            <a:ext cx="693665" cy="190737"/>
          </a:xfrm>
          <a:custGeom>
            <a:avLst/>
            <a:gdLst>
              <a:gd name="connsiteX0" fmla="*/ 0 w 792969"/>
              <a:gd name="connsiteY0" fmla="*/ 204787 h 271462"/>
              <a:gd name="connsiteX1" fmla="*/ 28575 w 792969"/>
              <a:gd name="connsiteY1" fmla="*/ 211931 h 271462"/>
              <a:gd name="connsiteX2" fmla="*/ 35719 w 792969"/>
              <a:gd name="connsiteY2" fmla="*/ 214312 h 271462"/>
              <a:gd name="connsiteX3" fmla="*/ 42863 w 792969"/>
              <a:gd name="connsiteY3" fmla="*/ 219075 h 271462"/>
              <a:gd name="connsiteX4" fmla="*/ 47625 w 792969"/>
              <a:gd name="connsiteY4" fmla="*/ 226218 h 271462"/>
              <a:gd name="connsiteX5" fmla="*/ 61913 w 792969"/>
              <a:gd name="connsiteY5" fmla="*/ 230981 h 271462"/>
              <a:gd name="connsiteX6" fmla="*/ 83344 w 792969"/>
              <a:gd name="connsiteY6" fmla="*/ 238125 h 271462"/>
              <a:gd name="connsiteX7" fmla="*/ 104775 w 792969"/>
              <a:gd name="connsiteY7" fmla="*/ 245268 h 271462"/>
              <a:gd name="connsiteX8" fmla="*/ 111919 w 792969"/>
              <a:gd name="connsiteY8" fmla="*/ 247650 h 271462"/>
              <a:gd name="connsiteX9" fmla="*/ 121444 w 792969"/>
              <a:gd name="connsiteY9" fmla="*/ 252412 h 271462"/>
              <a:gd name="connsiteX10" fmla="*/ 130969 w 792969"/>
              <a:gd name="connsiteY10" fmla="*/ 254793 h 271462"/>
              <a:gd name="connsiteX11" fmla="*/ 142875 w 792969"/>
              <a:gd name="connsiteY11" fmla="*/ 259556 h 271462"/>
              <a:gd name="connsiteX12" fmla="*/ 150019 w 792969"/>
              <a:gd name="connsiteY12" fmla="*/ 261937 h 271462"/>
              <a:gd name="connsiteX13" fmla="*/ 157163 w 792969"/>
              <a:gd name="connsiteY13" fmla="*/ 266700 h 271462"/>
              <a:gd name="connsiteX14" fmla="*/ 180975 w 792969"/>
              <a:gd name="connsiteY14" fmla="*/ 271462 h 271462"/>
              <a:gd name="connsiteX15" fmla="*/ 247650 w 792969"/>
              <a:gd name="connsiteY15" fmla="*/ 266700 h 271462"/>
              <a:gd name="connsiteX16" fmla="*/ 254794 w 792969"/>
              <a:gd name="connsiteY16" fmla="*/ 264318 h 271462"/>
              <a:gd name="connsiteX17" fmla="*/ 273844 w 792969"/>
              <a:gd name="connsiteY17" fmla="*/ 254793 h 271462"/>
              <a:gd name="connsiteX18" fmla="*/ 288131 w 792969"/>
              <a:gd name="connsiteY18" fmla="*/ 242887 h 271462"/>
              <a:gd name="connsiteX19" fmla="*/ 302419 w 792969"/>
              <a:gd name="connsiteY19" fmla="*/ 233362 h 271462"/>
              <a:gd name="connsiteX20" fmla="*/ 309563 w 792969"/>
              <a:gd name="connsiteY20" fmla="*/ 228600 h 271462"/>
              <a:gd name="connsiteX21" fmla="*/ 333375 w 792969"/>
              <a:gd name="connsiteY21" fmla="*/ 223837 h 271462"/>
              <a:gd name="connsiteX22" fmla="*/ 342900 w 792969"/>
              <a:gd name="connsiteY22" fmla="*/ 219075 h 271462"/>
              <a:gd name="connsiteX23" fmla="*/ 350044 w 792969"/>
              <a:gd name="connsiteY23" fmla="*/ 214312 h 271462"/>
              <a:gd name="connsiteX24" fmla="*/ 369094 w 792969"/>
              <a:gd name="connsiteY24" fmla="*/ 209550 h 271462"/>
              <a:gd name="connsiteX25" fmla="*/ 376238 w 792969"/>
              <a:gd name="connsiteY25" fmla="*/ 204787 h 271462"/>
              <a:gd name="connsiteX26" fmla="*/ 397669 w 792969"/>
              <a:gd name="connsiteY26" fmla="*/ 200025 h 271462"/>
              <a:gd name="connsiteX27" fmla="*/ 407194 w 792969"/>
              <a:gd name="connsiteY27" fmla="*/ 195262 h 271462"/>
              <a:gd name="connsiteX28" fmla="*/ 423863 w 792969"/>
              <a:gd name="connsiteY28" fmla="*/ 185737 h 271462"/>
              <a:gd name="connsiteX29" fmla="*/ 440531 w 792969"/>
              <a:gd name="connsiteY29" fmla="*/ 180975 h 271462"/>
              <a:gd name="connsiteX30" fmla="*/ 447675 w 792969"/>
              <a:gd name="connsiteY30" fmla="*/ 176212 h 271462"/>
              <a:gd name="connsiteX31" fmla="*/ 457200 w 792969"/>
              <a:gd name="connsiteY31" fmla="*/ 173831 h 271462"/>
              <a:gd name="connsiteX32" fmla="*/ 464344 w 792969"/>
              <a:gd name="connsiteY32" fmla="*/ 171450 h 271462"/>
              <a:gd name="connsiteX33" fmla="*/ 481013 w 792969"/>
              <a:gd name="connsiteY33" fmla="*/ 159543 h 271462"/>
              <a:gd name="connsiteX34" fmla="*/ 488156 w 792969"/>
              <a:gd name="connsiteY34" fmla="*/ 157162 h 271462"/>
              <a:gd name="connsiteX35" fmla="*/ 495300 w 792969"/>
              <a:gd name="connsiteY35" fmla="*/ 152400 h 271462"/>
              <a:gd name="connsiteX36" fmla="*/ 509588 w 792969"/>
              <a:gd name="connsiteY36" fmla="*/ 147637 h 271462"/>
              <a:gd name="connsiteX37" fmla="*/ 526256 w 792969"/>
              <a:gd name="connsiteY37" fmla="*/ 140493 h 271462"/>
              <a:gd name="connsiteX38" fmla="*/ 535781 w 792969"/>
              <a:gd name="connsiteY38" fmla="*/ 135731 h 271462"/>
              <a:gd name="connsiteX39" fmla="*/ 550069 w 792969"/>
              <a:gd name="connsiteY39" fmla="*/ 130968 h 271462"/>
              <a:gd name="connsiteX40" fmla="*/ 557213 w 792969"/>
              <a:gd name="connsiteY40" fmla="*/ 128587 h 271462"/>
              <a:gd name="connsiteX41" fmla="*/ 573881 w 792969"/>
              <a:gd name="connsiteY41" fmla="*/ 116681 h 271462"/>
              <a:gd name="connsiteX42" fmla="*/ 585788 w 792969"/>
              <a:gd name="connsiteY42" fmla="*/ 114300 h 271462"/>
              <a:gd name="connsiteX43" fmla="*/ 592931 w 792969"/>
              <a:gd name="connsiteY43" fmla="*/ 111918 h 271462"/>
              <a:gd name="connsiteX44" fmla="*/ 602456 w 792969"/>
              <a:gd name="connsiteY44" fmla="*/ 109537 h 271462"/>
              <a:gd name="connsiteX45" fmla="*/ 607219 w 792969"/>
              <a:gd name="connsiteY45" fmla="*/ 102393 h 271462"/>
              <a:gd name="connsiteX46" fmla="*/ 616744 w 792969"/>
              <a:gd name="connsiteY46" fmla="*/ 100012 h 271462"/>
              <a:gd name="connsiteX47" fmla="*/ 628650 w 792969"/>
              <a:gd name="connsiteY47" fmla="*/ 92868 h 271462"/>
              <a:gd name="connsiteX48" fmla="*/ 635794 w 792969"/>
              <a:gd name="connsiteY48" fmla="*/ 90487 h 271462"/>
              <a:gd name="connsiteX49" fmla="*/ 650081 w 792969"/>
              <a:gd name="connsiteY49" fmla="*/ 80962 h 271462"/>
              <a:gd name="connsiteX50" fmla="*/ 666750 w 792969"/>
              <a:gd name="connsiteY50" fmla="*/ 76200 h 271462"/>
              <a:gd name="connsiteX51" fmla="*/ 681038 w 792969"/>
              <a:gd name="connsiteY51" fmla="*/ 69056 h 271462"/>
              <a:gd name="connsiteX52" fmla="*/ 697706 w 792969"/>
              <a:gd name="connsiteY52" fmla="*/ 61912 h 271462"/>
              <a:gd name="connsiteX53" fmla="*/ 711994 w 792969"/>
              <a:gd name="connsiteY53" fmla="*/ 54768 h 271462"/>
              <a:gd name="connsiteX54" fmla="*/ 721519 w 792969"/>
              <a:gd name="connsiteY54" fmla="*/ 50006 h 271462"/>
              <a:gd name="connsiteX55" fmla="*/ 733425 w 792969"/>
              <a:gd name="connsiteY55" fmla="*/ 47625 h 271462"/>
              <a:gd name="connsiteX56" fmla="*/ 740569 w 792969"/>
              <a:gd name="connsiteY56" fmla="*/ 42862 h 271462"/>
              <a:gd name="connsiteX57" fmla="*/ 754856 w 792969"/>
              <a:gd name="connsiteY57" fmla="*/ 38100 h 271462"/>
              <a:gd name="connsiteX58" fmla="*/ 762000 w 792969"/>
              <a:gd name="connsiteY58" fmla="*/ 33337 h 271462"/>
              <a:gd name="connsiteX59" fmla="*/ 771525 w 792969"/>
              <a:gd name="connsiteY59" fmla="*/ 28575 h 271462"/>
              <a:gd name="connsiteX60" fmla="*/ 778669 w 792969"/>
              <a:gd name="connsiteY60" fmla="*/ 21431 h 271462"/>
              <a:gd name="connsiteX61" fmla="*/ 785813 w 792969"/>
              <a:gd name="connsiteY61" fmla="*/ 7143 h 271462"/>
              <a:gd name="connsiteX62" fmla="*/ 792956 w 792969"/>
              <a:gd name="connsiteY62" fmla="*/ 0 h 27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792969" h="271462">
                <a:moveTo>
                  <a:pt x="0" y="204787"/>
                </a:moveTo>
                <a:cubicBezTo>
                  <a:pt x="19243" y="207994"/>
                  <a:pt x="9704" y="205640"/>
                  <a:pt x="28575" y="211931"/>
                </a:cubicBezTo>
                <a:lnTo>
                  <a:pt x="35719" y="214312"/>
                </a:lnTo>
                <a:cubicBezTo>
                  <a:pt x="38100" y="215900"/>
                  <a:pt x="40839" y="217051"/>
                  <a:pt x="42863" y="219075"/>
                </a:cubicBezTo>
                <a:cubicBezTo>
                  <a:pt x="44886" y="221098"/>
                  <a:pt x="45198" y="224701"/>
                  <a:pt x="47625" y="226218"/>
                </a:cubicBezTo>
                <a:cubicBezTo>
                  <a:pt x="51882" y="228879"/>
                  <a:pt x="57150" y="229393"/>
                  <a:pt x="61913" y="230981"/>
                </a:cubicBezTo>
                <a:lnTo>
                  <a:pt x="83344" y="238125"/>
                </a:lnTo>
                <a:lnTo>
                  <a:pt x="104775" y="245268"/>
                </a:lnTo>
                <a:cubicBezTo>
                  <a:pt x="107156" y="246062"/>
                  <a:pt x="109674" y="246527"/>
                  <a:pt x="111919" y="247650"/>
                </a:cubicBezTo>
                <a:cubicBezTo>
                  <a:pt x="115094" y="249237"/>
                  <a:pt x="118120" y="251166"/>
                  <a:pt x="121444" y="252412"/>
                </a:cubicBezTo>
                <a:cubicBezTo>
                  <a:pt x="124508" y="253561"/>
                  <a:pt x="127864" y="253758"/>
                  <a:pt x="130969" y="254793"/>
                </a:cubicBezTo>
                <a:cubicBezTo>
                  <a:pt x="135024" y="256145"/>
                  <a:pt x="138873" y="258055"/>
                  <a:pt x="142875" y="259556"/>
                </a:cubicBezTo>
                <a:cubicBezTo>
                  <a:pt x="145225" y="260437"/>
                  <a:pt x="147638" y="261143"/>
                  <a:pt x="150019" y="261937"/>
                </a:cubicBezTo>
                <a:cubicBezTo>
                  <a:pt x="152400" y="263525"/>
                  <a:pt x="154603" y="265420"/>
                  <a:pt x="157163" y="266700"/>
                </a:cubicBezTo>
                <a:cubicBezTo>
                  <a:pt x="163812" y="270025"/>
                  <a:pt x="174834" y="270585"/>
                  <a:pt x="180975" y="271462"/>
                </a:cubicBezTo>
                <a:cubicBezTo>
                  <a:pt x="217472" y="269941"/>
                  <a:pt x="223734" y="273534"/>
                  <a:pt x="247650" y="266700"/>
                </a:cubicBezTo>
                <a:cubicBezTo>
                  <a:pt x="250064" y="266010"/>
                  <a:pt x="252509" y="265357"/>
                  <a:pt x="254794" y="264318"/>
                </a:cubicBezTo>
                <a:cubicBezTo>
                  <a:pt x="261257" y="261380"/>
                  <a:pt x="273844" y="254793"/>
                  <a:pt x="273844" y="254793"/>
                </a:cubicBezTo>
                <a:cubicBezTo>
                  <a:pt x="285446" y="237391"/>
                  <a:pt x="270005" y="257993"/>
                  <a:pt x="288131" y="242887"/>
                </a:cubicBezTo>
                <a:cubicBezTo>
                  <a:pt x="302226" y="231141"/>
                  <a:pt x="281523" y="238585"/>
                  <a:pt x="302419" y="233362"/>
                </a:cubicBezTo>
                <a:cubicBezTo>
                  <a:pt x="304800" y="231775"/>
                  <a:pt x="306848" y="229505"/>
                  <a:pt x="309563" y="228600"/>
                </a:cubicBezTo>
                <a:cubicBezTo>
                  <a:pt x="334251" y="220370"/>
                  <a:pt x="314304" y="230988"/>
                  <a:pt x="333375" y="223837"/>
                </a:cubicBezTo>
                <a:cubicBezTo>
                  <a:pt x="336699" y="222591"/>
                  <a:pt x="339818" y="220836"/>
                  <a:pt x="342900" y="219075"/>
                </a:cubicBezTo>
                <a:cubicBezTo>
                  <a:pt x="345385" y="217655"/>
                  <a:pt x="347354" y="215290"/>
                  <a:pt x="350044" y="214312"/>
                </a:cubicBezTo>
                <a:cubicBezTo>
                  <a:pt x="356195" y="212075"/>
                  <a:pt x="369094" y="209550"/>
                  <a:pt x="369094" y="209550"/>
                </a:cubicBezTo>
                <a:cubicBezTo>
                  <a:pt x="371475" y="207962"/>
                  <a:pt x="373678" y="206067"/>
                  <a:pt x="376238" y="204787"/>
                </a:cubicBezTo>
                <a:cubicBezTo>
                  <a:pt x="382100" y="201856"/>
                  <a:pt x="392183" y="200939"/>
                  <a:pt x="397669" y="200025"/>
                </a:cubicBezTo>
                <a:cubicBezTo>
                  <a:pt x="400844" y="198437"/>
                  <a:pt x="404112" y="197023"/>
                  <a:pt x="407194" y="195262"/>
                </a:cubicBezTo>
                <a:cubicBezTo>
                  <a:pt x="419146" y="188433"/>
                  <a:pt x="409479" y="191902"/>
                  <a:pt x="423863" y="185737"/>
                </a:cubicBezTo>
                <a:cubicBezTo>
                  <a:pt x="428645" y="183687"/>
                  <a:pt x="435698" y="182183"/>
                  <a:pt x="440531" y="180975"/>
                </a:cubicBezTo>
                <a:cubicBezTo>
                  <a:pt x="442912" y="179387"/>
                  <a:pt x="445044" y="177339"/>
                  <a:pt x="447675" y="176212"/>
                </a:cubicBezTo>
                <a:cubicBezTo>
                  <a:pt x="450683" y="174923"/>
                  <a:pt x="454053" y="174730"/>
                  <a:pt x="457200" y="173831"/>
                </a:cubicBezTo>
                <a:cubicBezTo>
                  <a:pt x="459614" y="173141"/>
                  <a:pt x="462037" y="172439"/>
                  <a:pt x="464344" y="171450"/>
                </a:cubicBezTo>
                <a:cubicBezTo>
                  <a:pt x="487363" y="161585"/>
                  <a:pt x="461415" y="172609"/>
                  <a:pt x="481013" y="159543"/>
                </a:cubicBezTo>
                <a:cubicBezTo>
                  <a:pt x="483101" y="158151"/>
                  <a:pt x="485911" y="158284"/>
                  <a:pt x="488156" y="157162"/>
                </a:cubicBezTo>
                <a:cubicBezTo>
                  <a:pt x="490716" y="155882"/>
                  <a:pt x="492685" y="153562"/>
                  <a:pt x="495300" y="152400"/>
                </a:cubicBezTo>
                <a:cubicBezTo>
                  <a:pt x="499888" y="150361"/>
                  <a:pt x="509588" y="147637"/>
                  <a:pt x="509588" y="147637"/>
                </a:cubicBezTo>
                <a:cubicBezTo>
                  <a:pt x="524061" y="137988"/>
                  <a:pt x="508686" y="147082"/>
                  <a:pt x="526256" y="140493"/>
                </a:cubicBezTo>
                <a:cubicBezTo>
                  <a:pt x="529580" y="139247"/>
                  <a:pt x="532485" y="137049"/>
                  <a:pt x="535781" y="135731"/>
                </a:cubicBezTo>
                <a:cubicBezTo>
                  <a:pt x="540442" y="133867"/>
                  <a:pt x="545306" y="132556"/>
                  <a:pt x="550069" y="130968"/>
                </a:cubicBezTo>
                <a:lnTo>
                  <a:pt x="557213" y="128587"/>
                </a:lnTo>
                <a:cubicBezTo>
                  <a:pt x="557760" y="128176"/>
                  <a:pt x="571560" y="117551"/>
                  <a:pt x="573881" y="116681"/>
                </a:cubicBezTo>
                <a:cubicBezTo>
                  <a:pt x="577671" y="115260"/>
                  <a:pt x="581861" y="115282"/>
                  <a:pt x="585788" y="114300"/>
                </a:cubicBezTo>
                <a:cubicBezTo>
                  <a:pt x="588223" y="113691"/>
                  <a:pt x="590518" y="112608"/>
                  <a:pt x="592931" y="111918"/>
                </a:cubicBezTo>
                <a:cubicBezTo>
                  <a:pt x="596078" y="111019"/>
                  <a:pt x="599281" y="110331"/>
                  <a:pt x="602456" y="109537"/>
                </a:cubicBezTo>
                <a:cubicBezTo>
                  <a:pt x="604044" y="107156"/>
                  <a:pt x="604838" y="103981"/>
                  <a:pt x="607219" y="102393"/>
                </a:cubicBezTo>
                <a:cubicBezTo>
                  <a:pt x="609942" y="100578"/>
                  <a:pt x="613753" y="101341"/>
                  <a:pt x="616744" y="100012"/>
                </a:cubicBezTo>
                <a:cubicBezTo>
                  <a:pt x="620973" y="98132"/>
                  <a:pt x="624510" y="94938"/>
                  <a:pt x="628650" y="92868"/>
                </a:cubicBezTo>
                <a:cubicBezTo>
                  <a:pt x="630895" y="91745"/>
                  <a:pt x="633600" y="91706"/>
                  <a:pt x="635794" y="90487"/>
                </a:cubicBezTo>
                <a:cubicBezTo>
                  <a:pt x="640797" y="87707"/>
                  <a:pt x="644528" y="82350"/>
                  <a:pt x="650081" y="80962"/>
                </a:cubicBezTo>
                <a:cubicBezTo>
                  <a:pt x="662041" y="77972"/>
                  <a:pt x="656501" y="79616"/>
                  <a:pt x="666750" y="76200"/>
                </a:cubicBezTo>
                <a:cubicBezTo>
                  <a:pt x="687229" y="62546"/>
                  <a:pt x="661315" y="78918"/>
                  <a:pt x="681038" y="69056"/>
                </a:cubicBezTo>
                <a:cubicBezTo>
                  <a:pt x="697484" y="60833"/>
                  <a:pt x="677880" y="66868"/>
                  <a:pt x="697706" y="61912"/>
                </a:cubicBezTo>
                <a:cubicBezTo>
                  <a:pt x="711433" y="52762"/>
                  <a:pt x="698193" y="60683"/>
                  <a:pt x="711994" y="54768"/>
                </a:cubicBezTo>
                <a:cubicBezTo>
                  <a:pt x="715257" y="53370"/>
                  <a:pt x="718151" y="51128"/>
                  <a:pt x="721519" y="50006"/>
                </a:cubicBezTo>
                <a:cubicBezTo>
                  <a:pt x="725359" y="48726"/>
                  <a:pt x="729456" y="48419"/>
                  <a:pt x="733425" y="47625"/>
                </a:cubicBezTo>
                <a:cubicBezTo>
                  <a:pt x="735806" y="46037"/>
                  <a:pt x="737954" y="44024"/>
                  <a:pt x="740569" y="42862"/>
                </a:cubicBezTo>
                <a:cubicBezTo>
                  <a:pt x="745156" y="40823"/>
                  <a:pt x="754856" y="38100"/>
                  <a:pt x="754856" y="38100"/>
                </a:cubicBezTo>
                <a:cubicBezTo>
                  <a:pt x="757237" y="36512"/>
                  <a:pt x="759515" y="34757"/>
                  <a:pt x="762000" y="33337"/>
                </a:cubicBezTo>
                <a:cubicBezTo>
                  <a:pt x="765082" y="31576"/>
                  <a:pt x="768636" y="30638"/>
                  <a:pt x="771525" y="28575"/>
                </a:cubicBezTo>
                <a:cubicBezTo>
                  <a:pt x="774265" y="26618"/>
                  <a:pt x="776288" y="23812"/>
                  <a:pt x="778669" y="21431"/>
                </a:cubicBezTo>
                <a:cubicBezTo>
                  <a:pt x="780606" y="15619"/>
                  <a:pt x="781196" y="11760"/>
                  <a:pt x="785813" y="7143"/>
                </a:cubicBezTo>
                <a:cubicBezTo>
                  <a:pt x="793616" y="-660"/>
                  <a:pt x="792956" y="5964"/>
                  <a:pt x="792956" y="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0" name="Полилиния 689"/>
          <p:cNvSpPr/>
          <p:nvPr/>
        </p:nvSpPr>
        <p:spPr bwMode="auto">
          <a:xfrm>
            <a:off x="1056612" y="3442855"/>
            <a:ext cx="35406" cy="93718"/>
          </a:xfrm>
          <a:custGeom>
            <a:avLst/>
            <a:gdLst>
              <a:gd name="connsiteX0" fmla="*/ 40481 w 40481"/>
              <a:gd name="connsiteY0" fmla="*/ 0 h 133350"/>
              <a:gd name="connsiteX1" fmla="*/ 35719 w 40481"/>
              <a:gd name="connsiteY1" fmla="*/ 11907 h 133350"/>
              <a:gd name="connsiteX2" fmla="*/ 30956 w 40481"/>
              <a:gd name="connsiteY2" fmla="*/ 19050 h 133350"/>
              <a:gd name="connsiteX3" fmla="*/ 23813 w 40481"/>
              <a:gd name="connsiteY3" fmla="*/ 47625 h 133350"/>
              <a:gd name="connsiteX4" fmla="*/ 21431 w 40481"/>
              <a:gd name="connsiteY4" fmla="*/ 54769 h 133350"/>
              <a:gd name="connsiteX5" fmla="*/ 16669 w 40481"/>
              <a:gd name="connsiteY5" fmla="*/ 88107 h 133350"/>
              <a:gd name="connsiteX6" fmla="*/ 11906 w 40481"/>
              <a:gd name="connsiteY6" fmla="*/ 102394 h 133350"/>
              <a:gd name="connsiteX7" fmla="*/ 9525 w 40481"/>
              <a:gd name="connsiteY7" fmla="*/ 109538 h 133350"/>
              <a:gd name="connsiteX8" fmla="*/ 7144 w 40481"/>
              <a:gd name="connsiteY8" fmla="*/ 119063 h 133350"/>
              <a:gd name="connsiteX9" fmla="*/ 2381 w 40481"/>
              <a:gd name="connsiteY9" fmla="*/ 126207 h 133350"/>
              <a:gd name="connsiteX10" fmla="*/ 0 w 40481"/>
              <a:gd name="connsiteY10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481" h="133350">
                <a:moveTo>
                  <a:pt x="40481" y="0"/>
                </a:moveTo>
                <a:cubicBezTo>
                  <a:pt x="38894" y="3969"/>
                  <a:pt x="37631" y="8084"/>
                  <a:pt x="35719" y="11907"/>
                </a:cubicBezTo>
                <a:cubicBezTo>
                  <a:pt x="34439" y="14467"/>
                  <a:pt x="32118" y="16435"/>
                  <a:pt x="30956" y="19050"/>
                </a:cubicBezTo>
                <a:cubicBezTo>
                  <a:pt x="24541" y="33484"/>
                  <a:pt x="27141" y="32651"/>
                  <a:pt x="23813" y="47625"/>
                </a:cubicBezTo>
                <a:cubicBezTo>
                  <a:pt x="23268" y="50075"/>
                  <a:pt x="22040" y="52334"/>
                  <a:pt x="21431" y="54769"/>
                </a:cubicBezTo>
                <a:cubicBezTo>
                  <a:pt x="15064" y="80236"/>
                  <a:pt x="24073" y="51086"/>
                  <a:pt x="16669" y="88107"/>
                </a:cubicBezTo>
                <a:cubicBezTo>
                  <a:pt x="15684" y="93030"/>
                  <a:pt x="13494" y="97632"/>
                  <a:pt x="11906" y="102394"/>
                </a:cubicBezTo>
                <a:lnTo>
                  <a:pt x="9525" y="109538"/>
                </a:lnTo>
                <a:cubicBezTo>
                  <a:pt x="8490" y="112643"/>
                  <a:pt x="8433" y="116055"/>
                  <a:pt x="7144" y="119063"/>
                </a:cubicBezTo>
                <a:cubicBezTo>
                  <a:pt x="6017" y="121694"/>
                  <a:pt x="3969" y="123826"/>
                  <a:pt x="2381" y="126207"/>
                </a:cubicBezTo>
                <a:lnTo>
                  <a:pt x="0" y="133350"/>
                </a:ln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2" name="Полилиния 691"/>
          <p:cNvSpPr/>
          <p:nvPr/>
        </p:nvSpPr>
        <p:spPr>
          <a:xfrm>
            <a:off x="1158554" y="3306266"/>
            <a:ext cx="693665" cy="190737"/>
          </a:xfrm>
          <a:custGeom>
            <a:avLst/>
            <a:gdLst>
              <a:gd name="connsiteX0" fmla="*/ 0 w 792969"/>
              <a:gd name="connsiteY0" fmla="*/ 204787 h 271462"/>
              <a:gd name="connsiteX1" fmla="*/ 28575 w 792969"/>
              <a:gd name="connsiteY1" fmla="*/ 211931 h 271462"/>
              <a:gd name="connsiteX2" fmla="*/ 35719 w 792969"/>
              <a:gd name="connsiteY2" fmla="*/ 214312 h 271462"/>
              <a:gd name="connsiteX3" fmla="*/ 42863 w 792969"/>
              <a:gd name="connsiteY3" fmla="*/ 219075 h 271462"/>
              <a:gd name="connsiteX4" fmla="*/ 47625 w 792969"/>
              <a:gd name="connsiteY4" fmla="*/ 226218 h 271462"/>
              <a:gd name="connsiteX5" fmla="*/ 61913 w 792969"/>
              <a:gd name="connsiteY5" fmla="*/ 230981 h 271462"/>
              <a:gd name="connsiteX6" fmla="*/ 83344 w 792969"/>
              <a:gd name="connsiteY6" fmla="*/ 238125 h 271462"/>
              <a:gd name="connsiteX7" fmla="*/ 104775 w 792969"/>
              <a:gd name="connsiteY7" fmla="*/ 245268 h 271462"/>
              <a:gd name="connsiteX8" fmla="*/ 111919 w 792969"/>
              <a:gd name="connsiteY8" fmla="*/ 247650 h 271462"/>
              <a:gd name="connsiteX9" fmla="*/ 121444 w 792969"/>
              <a:gd name="connsiteY9" fmla="*/ 252412 h 271462"/>
              <a:gd name="connsiteX10" fmla="*/ 130969 w 792969"/>
              <a:gd name="connsiteY10" fmla="*/ 254793 h 271462"/>
              <a:gd name="connsiteX11" fmla="*/ 142875 w 792969"/>
              <a:gd name="connsiteY11" fmla="*/ 259556 h 271462"/>
              <a:gd name="connsiteX12" fmla="*/ 150019 w 792969"/>
              <a:gd name="connsiteY12" fmla="*/ 261937 h 271462"/>
              <a:gd name="connsiteX13" fmla="*/ 157163 w 792969"/>
              <a:gd name="connsiteY13" fmla="*/ 266700 h 271462"/>
              <a:gd name="connsiteX14" fmla="*/ 180975 w 792969"/>
              <a:gd name="connsiteY14" fmla="*/ 271462 h 271462"/>
              <a:gd name="connsiteX15" fmla="*/ 247650 w 792969"/>
              <a:gd name="connsiteY15" fmla="*/ 266700 h 271462"/>
              <a:gd name="connsiteX16" fmla="*/ 254794 w 792969"/>
              <a:gd name="connsiteY16" fmla="*/ 264318 h 271462"/>
              <a:gd name="connsiteX17" fmla="*/ 273844 w 792969"/>
              <a:gd name="connsiteY17" fmla="*/ 254793 h 271462"/>
              <a:gd name="connsiteX18" fmla="*/ 288131 w 792969"/>
              <a:gd name="connsiteY18" fmla="*/ 242887 h 271462"/>
              <a:gd name="connsiteX19" fmla="*/ 302419 w 792969"/>
              <a:gd name="connsiteY19" fmla="*/ 233362 h 271462"/>
              <a:gd name="connsiteX20" fmla="*/ 309563 w 792969"/>
              <a:gd name="connsiteY20" fmla="*/ 228600 h 271462"/>
              <a:gd name="connsiteX21" fmla="*/ 333375 w 792969"/>
              <a:gd name="connsiteY21" fmla="*/ 223837 h 271462"/>
              <a:gd name="connsiteX22" fmla="*/ 342900 w 792969"/>
              <a:gd name="connsiteY22" fmla="*/ 219075 h 271462"/>
              <a:gd name="connsiteX23" fmla="*/ 350044 w 792969"/>
              <a:gd name="connsiteY23" fmla="*/ 214312 h 271462"/>
              <a:gd name="connsiteX24" fmla="*/ 369094 w 792969"/>
              <a:gd name="connsiteY24" fmla="*/ 209550 h 271462"/>
              <a:gd name="connsiteX25" fmla="*/ 376238 w 792969"/>
              <a:gd name="connsiteY25" fmla="*/ 204787 h 271462"/>
              <a:gd name="connsiteX26" fmla="*/ 397669 w 792969"/>
              <a:gd name="connsiteY26" fmla="*/ 200025 h 271462"/>
              <a:gd name="connsiteX27" fmla="*/ 407194 w 792969"/>
              <a:gd name="connsiteY27" fmla="*/ 195262 h 271462"/>
              <a:gd name="connsiteX28" fmla="*/ 423863 w 792969"/>
              <a:gd name="connsiteY28" fmla="*/ 185737 h 271462"/>
              <a:gd name="connsiteX29" fmla="*/ 440531 w 792969"/>
              <a:gd name="connsiteY29" fmla="*/ 180975 h 271462"/>
              <a:gd name="connsiteX30" fmla="*/ 447675 w 792969"/>
              <a:gd name="connsiteY30" fmla="*/ 176212 h 271462"/>
              <a:gd name="connsiteX31" fmla="*/ 457200 w 792969"/>
              <a:gd name="connsiteY31" fmla="*/ 173831 h 271462"/>
              <a:gd name="connsiteX32" fmla="*/ 464344 w 792969"/>
              <a:gd name="connsiteY32" fmla="*/ 171450 h 271462"/>
              <a:gd name="connsiteX33" fmla="*/ 481013 w 792969"/>
              <a:gd name="connsiteY33" fmla="*/ 159543 h 271462"/>
              <a:gd name="connsiteX34" fmla="*/ 488156 w 792969"/>
              <a:gd name="connsiteY34" fmla="*/ 157162 h 271462"/>
              <a:gd name="connsiteX35" fmla="*/ 495300 w 792969"/>
              <a:gd name="connsiteY35" fmla="*/ 152400 h 271462"/>
              <a:gd name="connsiteX36" fmla="*/ 509588 w 792969"/>
              <a:gd name="connsiteY36" fmla="*/ 147637 h 271462"/>
              <a:gd name="connsiteX37" fmla="*/ 526256 w 792969"/>
              <a:gd name="connsiteY37" fmla="*/ 140493 h 271462"/>
              <a:gd name="connsiteX38" fmla="*/ 535781 w 792969"/>
              <a:gd name="connsiteY38" fmla="*/ 135731 h 271462"/>
              <a:gd name="connsiteX39" fmla="*/ 550069 w 792969"/>
              <a:gd name="connsiteY39" fmla="*/ 130968 h 271462"/>
              <a:gd name="connsiteX40" fmla="*/ 557213 w 792969"/>
              <a:gd name="connsiteY40" fmla="*/ 128587 h 271462"/>
              <a:gd name="connsiteX41" fmla="*/ 573881 w 792969"/>
              <a:gd name="connsiteY41" fmla="*/ 116681 h 271462"/>
              <a:gd name="connsiteX42" fmla="*/ 585788 w 792969"/>
              <a:gd name="connsiteY42" fmla="*/ 114300 h 271462"/>
              <a:gd name="connsiteX43" fmla="*/ 592931 w 792969"/>
              <a:gd name="connsiteY43" fmla="*/ 111918 h 271462"/>
              <a:gd name="connsiteX44" fmla="*/ 602456 w 792969"/>
              <a:gd name="connsiteY44" fmla="*/ 109537 h 271462"/>
              <a:gd name="connsiteX45" fmla="*/ 607219 w 792969"/>
              <a:gd name="connsiteY45" fmla="*/ 102393 h 271462"/>
              <a:gd name="connsiteX46" fmla="*/ 616744 w 792969"/>
              <a:gd name="connsiteY46" fmla="*/ 100012 h 271462"/>
              <a:gd name="connsiteX47" fmla="*/ 628650 w 792969"/>
              <a:gd name="connsiteY47" fmla="*/ 92868 h 271462"/>
              <a:gd name="connsiteX48" fmla="*/ 635794 w 792969"/>
              <a:gd name="connsiteY48" fmla="*/ 90487 h 271462"/>
              <a:gd name="connsiteX49" fmla="*/ 650081 w 792969"/>
              <a:gd name="connsiteY49" fmla="*/ 80962 h 271462"/>
              <a:gd name="connsiteX50" fmla="*/ 666750 w 792969"/>
              <a:gd name="connsiteY50" fmla="*/ 76200 h 271462"/>
              <a:gd name="connsiteX51" fmla="*/ 681038 w 792969"/>
              <a:gd name="connsiteY51" fmla="*/ 69056 h 271462"/>
              <a:gd name="connsiteX52" fmla="*/ 697706 w 792969"/>
              <a:gd name="connsiteY52" fmla="*/ 61912 h 271462"/>
              <a:gd name="connsiteX53" fmla="*/ 711994 w 792969"/>
              <a:gd name="connsiteY53" fmla="*/ 54768 h 271462"/>
              <a:gd name="connsiteX54" fmla="*/ 721519 w 792969"/>
              <a:gd name="connsiteY54" fmla="*/ 50006 h 271462"/>
              <a:gd name="connsiteX55" fmla="*/ 733425 w 792969"/>
              <a:gd name="connsiteY55" fmla="*/ 47625 h 271462"/>
              <a:gd name="connsiteX56" fmla="*/ 740569 w 792969"/>
              <a:gd name="connsiteY56" fmla="*/ 42862 h 271462"/>
              <a:gd name="connsiteX57" fmla="*/ 754856 w 792969"/>
              <a:gd name="connsiteY57" fmla="*/ 38100 h 271462"/>
              <a:gd name="connsiteX58" fmla="*/ 762000 w 792969"/>
              <a:gd name="connsiteY58" fmla="*/ 33337 h 271462"/>
              <a:gd name="connsiteX59" fmla="*/ 771525 w 792969"/>
              <a:gd name="connsiteY59" fmla="*/ 28575 h 271462"/>
              <a:gd name="connsiteX60" fmla="*/ 778669 w 792969"/>
              <a:gd name="connsiteY60" fmla="*/ 21431 h 271462"/>
              <a:gd name="connsiteX61" fmla="*/ 785813 w 792969"/>
              <a:gd name="connsiteY61" fmla="*/ 7143 h 271462"/>
              <a:gd name="connsiteX62" fmla="*/ 792956 w 792969"/>
              <a:gd name="connsiteY62" fmla="*/ 0 h 27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792969" h="271462">
                <a:moveTo>
                  <a:pt x="0" y="204787"/>
                </a:moveTo>
                <a:cubicBezTo>
                  <a:pt x="19243" y="207994"/>
                  <a:pt x="9704" y="205640"/>
                  <a:pt x="28575" y="211931"/>
                </a:cubicBezTo>
                <a:lnTo>
                  <a:pt x="35719" y="214312"/>
                </a:lnTo>
                <a:cubicBezTo>
                  <a:pt x="38100" y="215900"/>
                  <a:pt x="40839" y="217051"/>
                  <a:pt x="42863" y="219075"/>
                </a:cubicBezTo>
                <a:cubicBezTo>
                  <a:pt x="44886" y="221098"/>
                  <a:pt x="45198" y="224701"/>
                  <a:pt x="47625" y="226218"/>
                </a:cubicBezTo>
                <a:cubicBezTo>
                  <a:pt x="51882" y="228879"/>
                  <a:pt x="57150" y="229393"/>
                  <a:pt x="61913" y="230981"/>
                </a:cubicBezTo>
                <a:lnTo>
                  <a:pt x="83344" y="238125"/>
                </a:lnTo>
                <a:lnTo>
                  <a:pt x="104775" y="245268"/>
                </a:lnTo>
                <a:cubicBezTo>
                  <a:pt x="107156" y="246062"/>
                  <a:pt x="109674" y="246527"/>
                  <a:pt x="111919" y="247650"/>
                </a:cubicBezTo>
                <a:cubicBezTo>
                  <a:pt x="115094" y="249237"/>
                  <a:pt x="118120" y="251166"/>
                  <a:pt x="121444" y="252412"/>
                </a:cubicBezTo>
                <a:cubicBezTo>
                  <a:pt x="124508" y="253561"/>
                  <a:pt x="127864" y="253758"/>
                  <a:pt x="130969" y="254793"/>
                </a:cubicBezTo>
                <a:cubicBezTo>
                  <a:pt x="135024" y="256145"/>
                  <a:pt x="138873" y="258055"/>
                  <a:pt x="142875" y="259556"/>
                </a:cubicBezTo>
                <a:cubicBezTo>
                  <a:pt x="145225" y="260437"/>
                  <a:pt x="147638" y="261143"/>
                  <a:pt x="150019" y="261937"/>
                </a:cubicBezTo>
                <a:cubicBezTo>
                  <a:pt x="152400" y="263525"/>
                  <a:pt x="154603" y="265420"/>
                  <a:pt x="157163" y="266700"/>
                </a:cubicBezTo>
                <a:cubicBezTo>
                  <a:pt x="163812" y="270025"/>
                  <a:pt x="174834" y="270585"/>
                  <a:pt x="180975" y="271462"/>
                </a:cubicBezTo>
                <a:cubicBezTo>
                  <a:pt x="217472" y="269941"/>
                  <a:pt x="223734" y="273534"/>
                  <a:pt x="247650" y="266700"/>
                </a:cubicBezTo>
                <a:cubicBezTo>
                  <a:pt x="250064" y="266010"/>
                  <a:pt x="252509" y="265357"/>
                  <a:pt x="254794" y="264318"/>
                </a:cubicBezTo>
                <a:cubicBezTo>
                  <a:pt x="261257" y="261380"/>
                  <a:pt x="273844" y="254793"/>
                  <a:pt x="273844" y="254793"/>
                </a:cubicBezTo>
                <a:cubicBezTo>
                  <a:pt x="285446" y="237391"/>
                  <a:pt x="270005" y="257993"/>
                  <a:pt x="288131" y="242887"/>
                </a:cubicBezTo>
                <a:cubicBezTo>
                  <a:pt x="302226" y="231141"/>
                  <a:pt x="281523" y="238585"/>
                  <a:pt x="302419" y="233362"/>
                </a:cubicBezTo>
                <a:cubicBezTo>
                  <a:pt x="304800" y="231775"/>
                  <a:pt x="306848" y="229505"/>
                  <a:pt x="309563" y="228600"/>
                </a:cubicBezTo>
                <a:cubicBezTo>
                  <a:pt x="334251" y="220370"/>
                  <a:pt x="314304" y="230988"/>
                  <a:pt x="333375" y="223837"/>
                </a:cubicBezTo>
                <a:cubicBezTo>
                  <a:pt x="336699" y="222591"/>
                  <a:pt x="339818" y="220836"/>
                  <a:pt x="342900" y="219075"/>
                </a:cubicBezTo>
                <a:cubicBezTo>
                  <a:pt x="345385" y="217655"/>
                  <a:pt x="347354" y="215290"/>
                  <a:pt x="350044" y="214312"/>
                </a:cubicBezTo>
                <a:cubicBezTo>
                  <a:pt x="356195" y="212075"/>
                  <a:pt x="369094" y="209550"/>
                  <a:pt x="369094" y="209550"/>
                </a:cubicBezTo>
                <a:cubicBezTo>
                  <a:pt x="371475" y="207962"/>
                  <a:pt x="373678" y="206067"/>
                  <a:pt x="376238" y="204787"/>
                </a:cubicBezTo>
                <a:cubicBezTo>
                  <a:pt x="382100" y="201856"/>
                  <a:pt x="392183" y="200939"/>
                  <a:pt x="397669" y="200025"/>
                </a:cubicBezTo>
                <a:cubicBezTo>
                  <a:pt x="400844" y="198437"/>
                  <a:pt x="404112" y="197023"/>
                  <a:pt x="407194" y="195262"/>
                </a:cubicBezTo>
                <a:cubicBezTo>
                  <a:pt x="419146" y="188433"/>
                  <a:pt x="409479" y="191902"/>
                  <a:pt x="423863" y="185737"/>
                </a:cubicBezTo>
                <a:cubicBezTo>
                  <a:pt x="428645" y="183687"/>
                  <a:pt x="435698" y="182183"/>
                  <a:pt x="440531" y="180975"/>
                </a:cubicBezTo>
                <a:cubicBezTo>
                  <a:pt x="442912" y="179387"/>
                  <a:pt x="445044" y="177339"/>
                  <a:pt x="447675" y="176212"/>
                </a:cubicBezTo>
                <a:cubicBezTo>
                  <a:pt x="450683" y="174923"/>
                  <a:pt x="454053" y="174730"/>
                  <a:pt x="457200" y="173831"/>
                </a:cubicBezTo>
                <a:cubicBezTo>
                  <a:pt x="459614" y="173141"/>
                  <a:pt x="462037" y="172439"/>
                  <a:pt x="464344" y="171450"/>
                </a:cubicBezTo>
                <a:cubicBezTo>
                  <a:pt x="487363" y="161585"/>
                  <a:pt x="461415" y="172609"/>
                  <a:pt x="481013" y="159543"/>
                </a:cubicBezTo>
                <a:cubicBezTo>
                  <a:pt x="483101" y="158151"/>
                  <a:pt x="485911" y="158284"/>
                  <a:pt x="488156" y="157162"/>
                </a:cubicBezTo>
                <a:cubicBezTo>
                  <a:pt x="490716" y="155882"/>
                  <a:pt x="492685" y="153562"/>
                  <a:pt x="495300" y="152400"/>
                </a:cubicBezTo>
                <a:cubicBezTo>
                  <a:pt x="499888" y="150361"/>
                  <a:pt x="509588" y="147637"/>
                  <a:pt x="509588" y="147637"/>
                </a:cubicBezTo>
                <a:cubicBezTo>
                  <a:pt x="524061" y="137988"/>
                  <a:pt x="508686" y="147082"/>
                  <a:pt x="526256" y="140493"/>
                </a:cubicBezTo>
                <a:cubicBezTo>
                  <a:pt x="529580" y="139247"/>
                  <a:pt x="532485" y="137049"/>
                  <a:pt x="535781" y="135731"/>
                </a:cubicBezTo>
                <a:cubicBezTo>
                  <a:pt x="540442" y="133867"/>
                  <a:pt x="545306" y="132556"/>
                  <a:pt x="550069" y="130968"/>
                </a:cubicBezTo>
                <a:lnTo>
                  <a:pt x="557213" y="128587"/>
                </a:lnTo>
                <a:cubicBezTo>
                  <a:pt x="557760" y="128176"/>
                  <a:pt x="571560" y="117551"/>
                  <a:pt x="573881" y="116681"/>
                </a:cubicBezTo>
                <a:cubicBezTo>
                  <a:pt x="577671" y="115260"/>
                  <a:pt x="581861" y="115282"/>
                  <a:pt x="585788" y="114300"/>
                </a:cubicBezTo>
                <a:cubicBezTo>
                  <a:pt x="588223" y="113691"/>
                  <a:pt x="590518" y="112608"/>
                  <a:pt x="592931" y="111918"/>
                </a:cubicBezTo>
                <a:cubicBezTo>
                  <a:pt x="596078" y="111019"/>
                  <a:pt x="599281" y="110331"/>
                  <a:pt x="602456" y="109537"/>
                </a:cubicBezTo>
                <a:cubicBezTo>
                  <a:pt x="604044" y="107156"/>
                  <a:pt x="604838" y="103981"/>
                  <a:pt x="607219" y="102393"/>
                </a:cubicBezTo>
                <a:cubicBezTo>
                  <a:pt x="609942" y="100578"/>
                  <a:pt x="613753" y="101341"/>
                  <a:pt x="616744" y="100012"/>
                </a:cubicBezTo>
                <a:cubicBezTo>
                  <a:pt x="620973" y="98132"/>
                  <a:pt x="624510" y="94938"/>
                  <a:pt x="628650" y="92868"/>
                </a:cubicBezTo>
                <a:cubicBezTo>
                  <a:pt x="630895" y="91745"/>
                  <a:pt x="633600" y="91706"/>
                  <a:pt x="635794" y="90487"/>
                </a:cubicBezTo>
                <a:cubicBezTo>
                  <a:pt x="640797" y="87707"/>
                  <a:pt x="644528" y="82350"/>
                  <a:pt x="650081" y="80962"/>
                </a:cubicBezTo>
                <a:cubicBezTo>
                  <a:pt x="662041" y="77972"/>
                  <a:pt x="656501" y="79616"/>
                  <a:pt x="666750" y="76200"/>
                </a:cubicBezTo>
                <a:cubicBezTo>
                  <a:pt x="687229" y="62546"/>
                  <a:pt x="661315" y="78918"/>
                  <a:pt x="681038" y="69056"/>
                </a:cubicBezTo>
                <a:cubicBezTo>
                  <a:pt x="697484" y="60833"/>
                  <a:pt x="677880" y="66868"/>
                  <a:pt x="697706" y="61912"/>
                </a:cubicBezTo>
                <a:cubicBezTo>
                  <a:pt x="711433" y="52762"/>
                  <a:pt x="698193" y="60683"/>
                  <a:pt x="711994" y="54768"/>
                </a:cubicBezTo>
                <a:cubicBezTo>
                  <a:pt x="715257" y="53370"/>
                  <a:pt x="718151" y="51128"/>
                  <a:pt x="721519" y="50006"/>
                </a:cubicBezTo>
                <a:cubicBezTo>
                  <a:pt x="725359" y="48726"/>
                  <a:pt x="729456" y="48419"/>
                  <a:pt x="733425" y="47625"/>
                </a:cubicBezTo>
                <a:cubicBezTo>
                  <a:pt x="735806" y="46037"/>
                  <a:pt x="737954" y="44024"/>
                  <a:pt x="740569" y="42862"/>
                </a:cubicBezTo>
                <a:cubicBezTo>
                  <a:pt x="745156" y="40823"/>
                  <a:pt x="754856" y="38100"/>
                  <a:pt x="754856" y="38100"/>
                </a:cubicBezTo>
                <a:cubicBezTo>
                  <a:pt x="757237" y="36512"/>
                  <a:pt x="759515" y="34757"/>
                  <a:pt x="762000" y="33337"/>
                </a:cubicBezTo>
                <a:cubicBezTo>
                  <a:pt x="765082" y="31576"/>
                  <a:pt x="768636" y="30638"/>
                  <a:pt x="771525" y="28575"/>
                </a:cubicBezTo>
                <a:cubicBezTo>
                  <a:pt x="774265" y="26618"/>
                  <a:pt x="776288" y="23812"/>
                  <a:pt x="778669" y="21431"/>
                </a:cubicBezTo>
                <a:cubicBezTo>
                  <a:pt x="780606" y="15619"/>
                  <a:pt x="781196" y="11760"/>
                  <a:pt x="785813" y="7143"/>
                </a:cubicBezTo>
                <a:cubicBezTo>
                  <a:pt x="793616" y="-660"/>
                  <a:pt x="792956" y="5964"/>
                  <a:pt x="792956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693" name="Полилиния 692"/>
          <p:cNvSpPr/>
          <p:nvPr/>
        </p:nvSpPr>
        <p:spPr>
          <a:xfrm>
            <a:off x="1164695" y="3271186"/>
            <a:ext cx="693665" cy="190737"/>
          </a:xfrm>
          <a:custGeom>
            <a:avLst/>
            <a:gdLst>
              <a:gd name="connsiteX0" fmla="*/ 0 w 792969"/>
              <a:gd name="connsiteY0" fmla="*/ 204787 h 271462"/>
              <a:gd name="connsiteX1" fmla="*/ 28575 w 792969"/>
              <a:gd name="connsiteY1" fmla="*/ 211931 h 271462"/>
              <a:gd name="connsiteX2" fmla="*/ 35719 w 792969"/>
              <a:gd name="connsiteY2" fmla="*/ 214312 h 271462"/>
              <a:gd name="connsiteX3" fmla="*/ 42863 w 792969"/>
              <a:gd name="connsiteY3" fmla="*/ 219075 h 271462"/>
              <a:gd name="connsiteX4" fmla="*/ 47625 w 792969"/>
              <a:gd name="connsiteY4" fmla="*/ 226218 h 271462"/>
              <a:gd name="connsiteX5" fmla="*/ 61913 w 792969"/>
              <a:gd name="connsiteY5" fmla="*/ 230981 h 271462"/>
              <a:gd name="connsiteX6" fmla="*/ 83344 w 792969"/>
              <a:gd name="connsiteY6" fmla="*/ 238125 h 271462"/>
              <a:gd name="connsiteX7" fmla="*/ 104775 w 792969"/>
              <a:gd name="connsiteY7" fmla="*/ 245268 h 271462"/>
              <a:gd name="connsiteX8" fmla="*/ 111919 w 792969"/>
              <a:gd name="connsiteY8" fmla="*/ 247650 h 271462"/>
              <a:gd name="connsiteX9" fmla="*/ 121444 w 792969"/>
              <a:gd name="connsiteY9" fmla="*/ 252412 h 271462"/>
              <a:gd name="connsiteX10" fmla="*/ 130969 w 792969"/>
              <a:gd name="connsiteY10" fmla="*/ 254793 h 271462"/>
              <a:gd name="connsiteX11" fmla="*/ 142875 w 792969"/>
              <a:gd name="connsiteY11" fmla="*/ 259556 h 271462"/>
              <a:gd name="connsiteX12" fmla="*/ 150019 w 792969"/>
              <a:gd name="connsiteY12" fmla="*/ 261937 h 271462"/>
              <a:gd name="connsiteX13" fmla="*/ 157163 w 792969"/>
              <a:gd name="connsiteY13" fmla="*/ 266700 h 271462"/>
              <a:gd name="connsiteX14" fmla="*/ 180975 w 792969"/>
              <a:gd name="connsiteY14" fmla="*/ 271462 h 271462"/>
              <a:gd name="connsiteX15" fmla="*/ 247650 w 792969"/>
              <a:gd name="connsiteY15" fmla="*/ 266700 h 271462"/>
              <a:gd name="connsiteX16" fmla="*/ 254794 w 792969"/>
              <a:gd name="connsiteY16" fmla="*/ 264318 h 271462"/>
              <a:gd name="connsiteX17" fmla="*/ 273844 w 792969"/>
              <a:gd name="connsiteY17" fmla="*/ 254793 h 271462"/>
              <a:gd name="connsiteX18" fmla="*/ 288131 w 792969"/>
              <a:gd name="connsiteY18" fmla="*/ 242887 h 271462"/>
              <a:gd name="connsiteX19" fmla="*/ 302419 w 792969"/>
              <a:gd name="connsiteY19" fmla="*/ 233362 h 271462"/>
              <a:gd name="connsiteX20" fmla="*/ 309563 w 792969"/>
              <a:gd name="connsiteY20" fmla="*/ 228600 h 271462"/>
              <a:gd name="connsiteX21" fmla="*/ 333375 w 792969"/>
              <a:gd name="connsiteY21" fmla="*/ 223837 h 271462"/>
              <a:gd name="connsiteX22" fmla="*/ 342900 w 792969"/>
              <a:gd name="connsiteY22" fmla="*/ 219075 h 271462"/>
              <a:gd name="connsiteX23" fmla="*/ 350044 w 792969"/>
              <a:gd name="connsiteY23" fmla="*/ 214312 h 271462"/>
              <a:gd name="connsiteX24" fmla="*/ 369094 w 792969"/>
              <a:gd name="connsiteY24" fmla="*/ 209550 h 271462"/>
              <a:gd name="connsiteX25" fmla="*/ 376238 w 792969"/>
              <a:gd name="connsiteY25" fmla="*/ 204787 h 271462"/>
              <a:gd name="connsiteX26" fmla="*/ 397669 w 792969"/>
              <a:gd name="connsiteY26" fmla="*/ 200025 h 271462"/>
              <a:gd name="connsiteX27" fmla="*/ 407194 w 792969"/>
              <a:gd name="connsiteY27" fmla="*/ 195262 h 271462"/>
              <a:gd name="connsiteX28" fmla="*/ 423863 w 792969"/>
              <a:gd name="connsiteY28" fmla="*/ 185737 h 271462"/>
              <a:gd name="connsiteX29" fmla="*/ 440531 w 792969"/>
              <a:gd name="connsiteY29" fmla="*/ 180975 h 271462"/>
              <a:gd name="connsiteX30" fmla="*/ 447675 w 792969"/>
              <a:gd name="connsiteY30" fmla="*/ 176212 h 271462"/>
              <a:gd name="connsiteX31" fmla="*/ 457200 w 792969"/>
              <a:gd name="connsiteY31" fmla="*/ 173831 h 271462"/>
              <a:gd name="connsiteX32" fmla="*/ 464344 w 792969"/>
              <a:gd name="connsiteY32" fmla="*/ 171450 h 271462"/>
              <a:gd name="connsiteX33" fmla="*/ 481013 w 792969"/>
              <a:gd name="connsiteY33" fmla="*/ 159543 h 271462"/>
              <a:gd name="connsiteX34" fmla="*/ 488156 w 792969"/>
              <a:gd name="connsiteY34" fmla="*/ 157162 h 271462"/>
              <a:gd name="connsiteX35" fmla="*/ 495300 w 792969"/>
              <a:gd name="connsiteY35" fmla="*/ 152400 h 271462"/>
              <a:gd name="connsiteX36" fmla="*/ 509588 w 792969"/>
              <a:gd name="connsiteY36" fmla="*/ 147637 h 271462"/>
              <a:gd name="connsiteX37" fmla="*/ 526256 w 792969"/>
              <a:gd name="connsiteY37" fmla="*/ 140493 h 271462"/>
              <a:gd name="connsiteX38" fmla="*/ 535781 w 792969"/>
              <a:gd name="connsiteY38" fmla="*/ 135731 h 271462"/>
              <a:gd name="connsiteX39" fmla="*/ 550069 w 792969"/>
              <a:gd name="connsiteY39" fmla="*/ 130968 h 271462"/>
              <a:gd name="connsiteX40" fmla="*/ 557213 w 792969"/>
              <a:gd name="connsiteY40" fmla="*/ 128587 h 271462"/>
              <a:gd name="connsiteX41" fmla="*/ 573881 w 792969"/>
              <a:gd name="connsiteY41" fmla="*/ 116681 h 271462"/>
              <a:gd name="connsiteX42" fmla="*/ 585788 w 792969"/>
              <a:gd name="connsiteY42" fmla="*/ 114300 h 271462"/>
              <a:gd name="connsiteX43" fmla="*/ 592931 w 792969"/>
              <a:gd name="connsiteY43" fmla="*/ 111918 h 271462"/>
              <a:gd name="connsiteX44" fmla="*/ 602456 w 792969"/>
              <a:gd name="connsiteY44" fmla="*/ 109537 h 271462"/>
              <a:gd name="connsiteX45" fmla="*/ 607219 w 792969"/>
              <a:gd name="connsiteY45" fmla="*/ 102393 h 271462"/>
              <a:gd name="connsiteX46" fmla="*/ 616744 w 792969"/>
              <a:gd name="connsiteY46" fmla="*/ 100012 h 271462"/>
              <a:gd name="connsiteX47" fmla="*/ 628650 w 792969"/>
              <a:gd name="connsiteY47" fmla="*/ 92868 h 271462"/>
              <a:gd name="connsiteX48" fmla="*/ 635794 w 792969"/>
              <a:gd name="connsiteY48" fmla="*/ 90487 h 271462"/>
              <a:gd name="connsiteX49" fmla="*/ 650081 w 792969"/>
              <a:gd name="connsiteY49" fmla="*/ 80962 h 271462"/>
              <a:gd name="connsiteX50" fmla="*/ 666750 w 792969"/>
              <a:gd name="connsiteY50" fmla="*/ 76200 h 271462"/>
              <a:gd name="connsiteX51" fmla="*/ 681038 w 792969"/>
              <a:gd name="connsiteY51" fmla="*/ 69056 h 271462"/>
              <a:gd name="connsiteX52" fmla="*/ 697706 w 792969"/>
              <a:gd name="connsiteY52" fmla="*/ 61912 h 271462"/>
              <a:gd name="connsiteX53" fmla="*/ 711994 w 792969"/>
              <a:gd name="connsiteY53" fmla="*/ 54768 h 271462"/>
              <a:gd name="connsiteX54" fmla="*/ 721519 w 792969"/>
              <a:gd name="connsiteY54" fmla="*/ 50006 h 271462"/>
              <a:gd name="connsiteX55" fmla="*/ 733425 w 792969"/>
              <a:gd name="connsiteY55" fmla="*/ 47625 h 271462"/>
              <a:gd name="connsiteX56" fmla="*/ 740569 w 792969"/>
              <a:gd name="connsiteY56" fmla="*/ 42862 h 271462"/>
              <a:gd name="connsiteX57" fmla="*/ 754856 w 792969"/>
              <a:gd name="connsiteY57" fmla="*/ 38100 h 271462"/>
              <a:gd name="connsiteX58" fmla="*/ 762000 w 792969"/>
              <a:gd name="connsiteY58" fmla="*/ 33337 h 271462"/>
              <a:gd name="connsiteX59" fmla="*/ 771525 w 792969"/>
              <a:gd name="connsiteY59" fmla="*/ 28575 h 271462"/>
              <a:gd name="connsiteX60" fmla="*/ 778669 w 792969"/>
              <a:gd name="connsiteY60" fmla="*/ 21431 h 271462"/>
              <a:gd name="connsiteX61" fmla="*/ 785813 w 792969"/>
              <a:gd name="connsiteY61" fmla="*/ 7143 h 271462"/>
              <a:gd name="connsiteX62" fmla="*/ 792956 w 792969"/>
              <a:gd name="connsiteY62" fmla="*/ 0 h 271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792969" h="271462">
                <a:moveTo>
                  <a:pt x="0" y="204787"/>
                </a:moveTo>
                <a:cubicBezTo>
                  <a:pt x="19243" y="207994"/>
                  <a:pt x="9704" y="205640"/>
                  <a:pt x="28575" y="211931"/>
                </a:cubicBezTo>
                <a:lnTo>
                  <a:pt x="35719" y="214312"/>
                </a:lnTo>
                <a:cubicBezTo>
                  <a:pt x="38100" y="215900"/>
                  <a:pt x="40839" y="217051"/>
                  <a:pt x="42863" y="219075"/>
                </a:cubicBezTo>
                <a:cubicBezTo>
                  <a:pt x="44886" y="221098"/>
                  <a:pt x="45198" y="224701"/>
                  <a:pt x="47625" y="226218"/>
                </a:cubicBezTo>
                <a:cubicBezTo>
                  <a:pt x="51882" y="228879"/>
                  <a:pt x="57150" y="229393"/>
                  <a:pt x="61913" y="230981"/>
                </a:cubicBezTo>
                <a:lnTo>
                  <a:pt x="83344" y="238125"/>
                </a:lnTo>
                <a:lnTo>
                  <a:pt x="104775" y="245268"/>
                </a:lnTo>
                <a:cubicBezTo>
                  <a:pt x="107156" y="246062"/>
                  <a:pt x="109674" y="246527"/>
                  <a:pt x="111919" y="247650"/>
                </a:cubicBezTo>
                <a:cubicBezTo>
                  <a:pt x="115094" y="249237"/>
                  <a:pt x="118120" y="251166"/>
                  <a:pt x="121444" y="252412"/>
                </a:cubicBezTo>
                <a:cubicBezTo>
                  <a:pt x="124508" y="253561"/>
                  <a:pt x="127864" y="253758"/>
                  <a:pt x="130969" y="254793"/>
                </a:cubicBezTo>
                <a:cubicBezTo>
                  <a:pt x="135024" y="256145"/>
                  <a:pt x="138873" y="258055"/>
                  <a:pt x="142875" y="259556"/>
                </a:cubicBezTo>
                <a:cubicBezTo>
                  <a:pt x="145225" y="260437"/>
                  <a:pt x="147638" y="261143"/>
                  <a:pt x="150019" y="261937"/>
                </a:cubicBezTo>
                <a:cubicBezTo>
                  <a:pt x="152400" y="263525"/>
                  <a:pt x="154603" y="265420"/>
                  <a:pt x="157163" y="266700"/>
                </a:cubicBezTo>
                <a:cubicBezTo>
                  <a:pt x="163812" y="270025"/>
                  <a:pt x="174834" y="270585"/>
                  <a:pt x="180975" y="271462"/>
                </a:cubicBezTo>
                <a:cubicBezTo>
                  <a:pt x="217472" y="269941"/>
                  <a:pt x="223734" y="273534"/>
                  <a:pt x="247650" y="266700"/>
                </a:cubicBezTo>
                <a:cubicBezTo>
                  <a:pt x="250064" y="266010"/>
                  <a:pt x="252509" y="265357"/>
                  <a:pt x="254794" y="264318"/>
                </a:cubicBezTo>
                <a:cubicBezTo>
                  <a:pt x="261257" y="261380"/>
                  <a:pt x="273844" y="254793"/>
                  <a:pt x="273844" y="254793"/>
                </a:cubicBezTo>
                <a:cubicBezTo>
                  <a:pt x="285446" y="237391"/>
                  <a:pt x="270005" y="257993"/>
                  <a:pt x="288131" y="242887"/>
                </a:cubicBezTo>
                <a:cubicBezTo>
                  <a:pt x="302226" y="231141"/>
                  <a:pt x="281523" y="238585"/>
                  <a:pt x="302419" y="233362"/>
                </a:cubicBezTo>
                <a:cubicBezTo>
                  <a:pt x="304800" y="231775"/>
                  <a:pt x="306848" y="229505"/>
                  <a:pt x="309563" y="228600"/>
                </a:cubicBezTo>
                <a:cubicBezTo>
                  <a:pt x="334251" y="220370"/>
                  <a:pt x="314304" y="230988"/>
                  <a:pt x="333375" y="223837"/>
                </a:cubicBezTo>
                <a:cubicBezTo>
                  <a:pt x="336699" y="222591"/>
                  <a:pt x="339818" y="220836"/>
                  <a:pt x="342900" y="219075"/>
                </a:cubicBezTo>
                <a:cubicBezTo>
                  <a:pt x="345385" y="217655"/>
                  <a:pt x="347354" y="215290"/>
                  <a:pt x="350044" y="214312"/>
                </a:cubicBezTo>
                <a:cubicBezTo>
                  <a:pt x="356195" y="212075"/>
                  <a:pt x="369094" y="209550"/>
                  <a:pt x="369094" y="209550"/>
                </a:cubicBezTo>
                <a:cubicBezTo>
                  <a:pt x="371475" y="207962"/>
                  <a:pt x="373678" y="206067"/>
                  <a:pt x="376238" y="204787"/>
                </a:cubicBezTo>
                <a:cubicBezTo>
                  <a:pt x="382100" y="201856"/>
                  <a:pt x="392183" y="200939"/>
                  <a:pt x="397669" y="200025"/>
                </a:cubicBezTo>
                <a:cubicBezTo>
                  <a:pt x="400844" y="198437"/>
                  <a:pt x="404112" y="197023"/>
                  <a:pt x="407194" y="195262"/>
                </a:cubicBezTo>
                <a:cubicBezTo>
                  <a:pt x="419146" y="188433"/>
                  <a:pt x="409479" y="191902"/>
                  <a:pt x="423863" y="185737"/>
                </a:cubicBezTo>
                <a:cubicBezTo>
                  <a:pt x="428645" y="183687"/>
                  <a:pt x="435698" y="182183"/>
                  <a:pt x="440531" y="180975"/>
                </a:cubicBezTo>
                <a:cubicBezTo>
                  <a:pt x="442912" y="179387"/>
                  <a:pt x="445044" y="177339"/>
                  <a:pt x="447675" y="176212"/>
                </a:cubicBezTo>
                <a:cubicBezTo>
                  <a:pt x="450683" y="174923"/>
                  <a:pt x="454053" y="174730"/>
                  <a:pt x="457200" y="173831"/>
                </a:cubicBezTo>
                <a:cubicBezTo>
                  <a:pt x="459614" y="173141"/>
                  <a:pt x="462037" y="172439"/>
                  <a:pt x="464344" y="171450"/>
                </a:cubicBezTo>
                <a:cubicBezTo>
                  <a:pt x="487363" y="161585"/>
                  <a:pt x="461415" y="172609"/>
                  <a:pt x="481013" y="159543"/>
                </a:cubicBezTo>
                <a:cubicBezTo>
                  <a:pt x="483101" y="158151"/>
                  <a:pt x="485911" y="158284"/>
                  <a:pt x="488156" y="157162"/>
                </a:cubicBezTo>
                <a:cubicBezTo>
                  <a:pt x="490716" y="155882"/>
                  <a:pt x="492685" y="153562"/>
                  <a:pt x="495300" y="152400"/>
                </a:cubicBezTo>
                <a:cubicBezTo>
                  <a:pt x="499888" y="150361"/>
                  <a:pt x="509588" y="147637"/>
                  <a:pt x="509588" y="147637"/>
                </a:cubicBezTo>
                <a:cubicBezTo>
                  <a:pt x="524061" y="137988"/>
                  <a:pt x="508686" y="147082"/>
                  <a:pt x="526256" y="140493"/>
                </a:cubicBezTo>
                <a:cubicBezTo>
                  <a:pt x="529580" y="139247"/>
                  <a:pt x="532485" y="137049"/>
                  <a:pt x="535781" y="135731"/>
                </a:cubicBezTo>
                <a:cubicBezTo>
                  <a:pt x="540442" y="133867"/>
                  <a:pt x="545306" y="132556"/>
                  <a:pt x="550069" y="130968"/>
                </a:cubicBezTo>
                <a:lnTo>
                  <a:pt x="557213" y="128587"/>
                </a:lnTo>
                <a:cubicBezTo>
                  <a:pt x="557760" y="128176"/>
                  <a:pt x="571560" y="117551"/>
                  <a:pt x="573881" y="116681"/>
                </a:cubicBezTo>
                <a:cubicBezTo>
                  <a:pt x="577671" y="115260"/>
                  <a:pt x="581861" y="115282"/>
                  <a:pt x="585788" y="114300"/>
                </a:cubicBezTo>
                <a:cubicBezTo>
                  <a:pt x="588223" y="113691"/>
                  <a:pt x="590518" y="112608"/>
                  <a:pt x="592931" y="111918"/>
                </a:cubicBezTo>
                <a:cubicBezTo>
                  <a:pt x="596078" y="111019"/>
                  <a:pt x="599281" y="110331"/>
                  <a:pt x="602456" y="109537"/>
                </a:cubicBezTo>
                <a:cubicBezTo>
                  <a:pt x="604044" y="107156"/>
                  <a:pt x="604838" y="103981"/>
                  <a:pt x="607219" y="102393"/>
                </a:cubicBezTo>
                <a:cubicBezTo>
                  <a:pt x="609942" y="100578"/>
                  <a:pt x="613753" y="101341"/>
                  <a:pt x="616744" y="100012"/>
                </a:cubicBezTo>
                <a:cubicBezTo>
                  <a:pt x="620973" y="98132"/>
                  <a:pt x="624510" y="94938"/>
                  <a:pt x="628650" y="92868"/>
                </a:cubicBezTo>
                <a:cubicBezTo>
                  <a:pt x="630895" y="91745"/>
                  <a:pt x="633600" y="91706"/>
                  <a:pt x="635794" y="90487"/>
                </a:cubicBezTo>
                <a:cubicBezTo>
                  <a:pt x="640797" y="87707"/>
                  <a:pt x="644528" y="82350"/>
                  <a:pt x="650081" y="80962"/>
                </a:cubicBezTo>
                <a:cubicBezTo>
                  <a:pt x="662041" y="77972"/>
                  <a:pt x="656501" y="79616"/>
                  <a:pt x="666750" y="76200"/>
                </a:cubicBezTo>
                <a:cubicBezTo>
                  <a:pt x="687229" y="62546"/>
                  <a:pt x="661315" y="78918"/>
                  <a:pt x="681038" y="69056"/>
                </a:cubicBezTo>
                <a:cubicBezTo>
                  <a:pt x="697484" y="60833"/>
                  <a:pt x="677880" y="66868"/>
                  <a:pt x="697706" y="61912"/>
                </a:cubicBezTo>
                <a:cubicBezTo>
                  <a:pt x="711433" y="52762"/>
                  <a:pt x="698193" y="60683"/>
                  <a:pt x="711994" y="54768"/>
                </a:cubicBezTo>
                <a:cubicBezTo>
                  <a:pt x="715257" y="53370"/>
                  <a:pt x="718151" y="51128"/>
                  <a:pt x="721519" y="50006"/>
                </a:cubicBezTo>
                <a:cubicBezTo>
                  <a:pt x="725359" y="48726"/>
                  <a:pt x="729456" y="48419"/>
                  <a:pt x="733425" y="47625"/>
                </a:cubicBezTo>
                <a:cubicBezTo>
                  <a:pt x="735806" y="46037"/>
                  <a:pt x="737954" y="44024"/>
                  <a:pt x="740569" y="42862"/>
                </a:cubicBezTo>
                <a:cubicBezTo>
                  <a:pt x="745156" y="40823"/>
                  <a:pt x="754856" y="38100"/>
                  <a:pt x="754856" y="38100"/>
                </a:cubicBezTo>
                <a:cubicBezTo>
                  <a:pt x="757237" y="36512"/>
                  <a:pt x="759515" y="34757"/>
                  <a:pt x="762000" y="33337"/>
                </a:cubicBezTo>
                <a:cubicBezTo>
                  <a:pt x="765082" y="31576"/>
                  <a:pt x="768636" y="30638"/>
                  <a:pt x="771525" y="28575"/>
                </a:cubicBezTo>
                <a:cubicBezTo>
                  <a:pt x="774265" y="26618"/>
                  <a:pt x="776288" y="23812"/>
                  <a:pt x="778669" y="21431"/>
                </a:cubicBezTo>
                <a:cubicBezTo>
                  <a:pt x="780606" y="15619"/>
                  <a:pt x="781196" y="11760"/>
                  <a:pt x="785813" y="7143"/>
                </a:cubicBezTo>
                <a:cubicBezTo>
                  <a:pt x="793616" y="-660"/>
                  <a:pt x="792956" y="5964"/>
                  <a:pt x="792956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/>
            <a:endParaRPr lang="ru-RU"/>
          </a:p>
        </p:txBody>
      </p:sp>
      <p:sp>
        <p:nvSpPr>
          <p:cNvPr id="628" name="Блок-схема: узел 627"/>
          <p:cNvSpPr/>
          <p:nvPr/>
        </p:nvSpPr>
        <p:spPr bwMode="auto">
          <a:xfrm>
            <a:off x="1832253" y="3216816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7" name="Группа 7"/>
          <p:cNvGrpSpPr/>
          <p:nvPr/>
        </p:nvGrpSpPr>
        <p:grpSpPr>
          <a:xfrm>
            <a:off x="891442" y="3484111"/>
            <a:ext cx="125275" cy="96704"/>
            <a:chOff x="522949" y="4668152"/>
            <a:chExt cx="143209" cy="137630"/>
          </a:xfrm>
        </p:grpSpPr>
        <p:grpSp>
          <p:nvGrpSpPr>
            <p:cNvPr id="8" name="Группа 6"/>
            <p:cNvGrpSpPr/>
            <p:nvPr/>
          </p:nvGrpSpPr>
          <p:grpSpPr>
            <a:xfrm>
              <a:off x="522949" y="4668152"/>
              <a:ext cx="143209" cy="137630"/>
              <a:chOff x="592874" y="4636339"/>
              <a:chExt cx="143209" cy="137630"/>
            </a:xfrm>
          </p:grpSpPr>
          <p:sp>
            <p:nvSpPr>
              <p:cNvPr id="606" name="Полилиния 605"/>
              <p:cNvSpPr/>
              <p:nvPr/>
            </p:nvSpPr>
            <p:spPr>
              <a:xfrm>
                <a:off x="592874" y="466872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anchor="ctr"/>
              <a:lstStyle/>
              <a:p>
                <a:pPr algn="ctr" defTabSz="69777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604" name="Полилиния 603"/>
              <p:cNvSpPr/>
              <p:nvPr/>
            </p:nvSpPr>
            <p:spPr>
              <a:xfrm>
                <a:off x="594554" y="470494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">
                <a:solidFill>
                  <a:srgbClr val="00B0F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05" name="Полилиния 604"/>
              <p:cNvSpPr/>
              <p:nvPr/>
            </p:nvSpPr>
            <p:spPr>
              <a:xfrm>
                <a:off x="602164" y="463633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">
                <a:solidFill>
                  <a:srgbClr val="00B0F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694" name="Полилиния 693"/>
            <p:cNvSpPr/>
            <p:nvPr/>
          </p:nvSpPr>
          <p:spPr>
            <a:xfrm>
              <a:off x="529268" y="4702662"/>
              <a:ext cx="133919" cy="69020"/>
            </a:xfrm>
            <a:custGeom>
              <a:avLst/>
              <a:gdLst>
                <a:gd name="connsiteX0" fmla="*/ 0 w 123637"/>
                <a:gd name="connsiteY0" fmla="*/ 2813 h 51753"/>
                <a:gd name="connsiteX1" fmla="*/ 12879 w 123637"/>
                <a:gd name="connsiteY1" fmla="*/ 238 h 51753"/>
                <a:gd name="connsiteX2" fmla="*/ 20606 w 123637"/>
                <a:gd name="connsiteY2" fmla="*/ 7965 h 51753"/>
                <a:gd name="connsiteX3" fmla="*/ 33485 w 123637"/>
                <a:gd name="connsiteY3" fmla="*/ 15692 h 51753"/>
                <a:gd name="connsiteX4" fmla="*/ 48939 w 123637"/>
                <a:gd name="connsiteY4" fmla="*/ 25995 h 51753"/>
                <a:gd name="connsiteX5" fmla="*/ 59242 w 123637"/>
                <a:gd name="connsiteY5" fmla="*/ 31147 h 51753"/>
                <a:gd name="connsiteX6" fmla="*/ 66970 w 123637"/>
                <a:gd name="connsiteY6" fmla="*/ 36298 h 51753"/>
                <a:gd name="connsiteX7" fmla="*/ 77273 w 123637"/>
                <a:gd name="connsiteY7" fmla="*/ 38874 h 51753"/>
                <a:gd name="connsiteX8" fmla="*/ 92728 w 123637"/>
                <a:gd name="connsiteY8" fmla="*/ 46601 h 51753"/>
                <a:gd name="connsiteX9" fmla="*/ 123637 w 123637"/>
                <a:gd name="connsiteY9" fmla="*/ 51753 h 5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637" h="51753">
                  <a:moveTo>
                    <a:pt x="0" y="2813"/>
                  </a:moveTo>
                  <a:cubicBezTo>
                    <a:pt x="4293" y="1955"/>
                    <a:pt x="8632" y="-824"/>
                    <a:pt x="12879" y="238"/>
                  </a:cubicBezTo>
                  <a:cubicBezTo>
                    <a:pt x="16413" y="1122"/>
                    <a:pt x="17692" y="5780"/>
                    <a:pt x="20606" y="7965"/>
                  </a:cubicBezTo>
                  <a:cubicBezTo>
                    <a:pt x="24611" y="10969"/>
                    <a:pt x="29261" y="13004"/>
                    <a:pt x="33485" y="15692"/>
                  </a:cubicBezTo>
                  <a:cubicBezTo>
                    <a:pt x="38708" y="19016"/>
                    <a:pt x="43402" y="23226"/>
                    <a:pt x="48939" y="25995"/>
                  </a:cubicBezTo>
                  <a:cubicBezTo>
                    <a:pt x="52373" y="27712"/>
                    <a:pt x="55908" y="29242"/>
                    <a:pt x="59242" y="31147"/>
                  </a:cubicBezTo>
                  <a:cubicBezTo>
                    <a:pt x="61930" y="32683"/>
                    <a:pt x="64124" y="35079"/>
                    <a:pt x="66970" y="36298"/>
                  </a:cubicBezTo>
                  <a:cubicBezTo>
                    <a:pt x="70224" y="37692"/>
                    <a:pt x="73839" y="38015"/>
                    <a:pt x="77273" y="38874"/>
                  </a:cubicBezTo>
                  <a:cubicBezTo>
                    <a:pt x="83789" y="43218"/>
                    <a:pt x="85107" y="45077"/>
                    <a:pt x="92728" y="46601"/>
                  </a:cubicBezTo>
                  <a:cubicBezTo>
                    <a:pt x="102970" y="48649"/>
                    <a:pt x="123637" y="51753"/>
                    <a:pt x="123637" y="51753"/>
                  </a:cubicBezTo>
                </a:path>
              </a:pathLst>
            </a:custGeom>
            <a:noFill/>
            <a:ln w="12700">
              <a:solidFill>
                <a:srgbClr val="00B0F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287" tIns="53643" rIns="107287" bIns="53643" rtlCol="0" anchor="ctr"/>
            <a:lstStyle/>
            <a:p>
              <a:pPr algn="ctr"/>
              <a:endParaRPr lang="ru-RU"/>
            </a:p>
          </p:txBody>
        </p:sp>
      </p:grpSp>
      <p:sp>
        <p:nvSpPr>
          <p:cNvPr id="696" name="Полилиния 695"/>
          <p:cNvSpPr/>
          <p:nvPr/>
        </p:nvSpPr>
        <p:spPr>
          <a:xfrm>
            <a:off x="1566263" y="1820979"/>
            <a:ext cx="672823" cy="207469"/>
          </a:xfrm>
          <a:custGeom>
            <a:avLst/>
            <a:gdLst>
              <a:gd name="connsiteX0" fmla="*/ 0 w 769144"/>
              <a:gd name="connsiteY0" fmla="*/ 0 h 295275"/>
              <a:gd name="connsiteX1" fmla="*/ 4762 w 769144"/>
              <a:gd name="connsiteY1" fmla="*/ 19050 h 295275"/>
              <a:gd name="connsiteX2" fmla="*/ 14287 w 769144"/>
              <a:gd name="connsiteY2" fmla="*/ 45244 h 295275"/>
              <a:gd name="connsiteX3" fmla="*/ 16669 w 769144"/>
              <a:gd name="connsiteY3" fmla="*/ 64294 h 295275"/>
              <a:gd name="connsiteX4" fmla="*/ 30956 w 769144"/>
              <a:gd name="connsiteY4" fmla="*/ 92869 h 295275"/>
              <a:gd name="connsiteX5" fmla="*/ 45244 w 769144"/>
              <a:gd name="connsiteY5" fmla="*/ 109538 h 295275"/>
              <a:gd name="connsiteX6" fmla="*/ 52387 w 769144"/>
              <a:gd name="connsiteY6" fmla="*/ 111919 h 295275"/>
              <a:gd name="connsiteX7" fmla="*/ 59531 w 769144"/>
              <a:gd name="connsiteY7" fmla="*/ 119063 h 295275"/>
              <a:gd name="connsiteX8" fmla="*/ 66675 w 769144"/>
              <a:gd name="connsiteY8" fmla="*/ 123825 h 295275"/>
              <a:gd name="connsiteX9" fmla="*/ 78581 w 769144"/>
              <a:gd name="connsiteY9" fmla="*/ 133350 h 295275"/>
              <a:gd name="connsiteX10" fmla="*/ 85725 w 769144"/>
              <a:gd name="connsiteY10" fmla="*/ 138113 h 295275"/>
              <a:gd name="connsiteX11" fmla="*/ 92869 w 769144"/>
              <a:gd name="connsiteY11" fmla="*/ 145257 h 295275"/>
              <a:gd name="connsiteX12" fmla="*/ 107156 w 769144"/>
              <a:gd name="connsiteY12" fmla="*/ 150019 h 295275"/>
              <a:gd name="connsiteX13" fmla="*/ 114300 w 769144"/>
              <a:gd name="connsiteY13" fmla="*/ 154782 h 295275"/>
              <a:gd name="connsiteX14" fmla="*/ 128587 w 769144"/>
              <a:gd name="connsiteY14" fmla="*/ 159544 h 295275"/>
              <a:gd name="connsiteX15" fmla="*/ 135731 w 769144"/>
              <a:gd name="connsiteY15" fmla="*/ 161925 h 295275"/>
              <a:gd name="connsiteX16" fmla="*/ 159544 w 769144"/>
              <a:gd name="connsiteY16" fmla="*/ 169069 h 295275"/>
              <a:gd name="connsiteX17" fmla="*/ 180975 w 769144"/>
              <a:gd name="connsiteY17" fmla="*/ 178594 h 295275"/>
              <a:gd name="connsiteX18" fmla="*/ 197644 w 769144"/>
              <a:gd name="connsiteY18" fmla="*/ 183357 h 295275"/>
              <a:gd name="connsiteX19" fmla="*/ 211931 w 769144"/>
              <a:gd name="connsiteY19" fmla="*/ 188119 h 295275"/>
              <a:gd name="connsiteX20" fmla="*/ 228600 w 769144"/>
              <a:gd name="connsiteY20" fmla="*/ 192882 h 295275"/>
              <a:gd name="connsiteX21" fmla="*/ 242887 w 769144"/>
              <a:gd name="connsiteY21" fmla="*/ 197644 h 295275"/>
              <a:gd name="connsiteX22" fmla="*/ 250031 w 769144"/>
              <a:gd name="connsiteY22" fmla="*/ 200025 h 295275"/>
              <a:gd name="connsiteX23" fmla="*/ 271462 w 769144"/>
              <a:gd name="connsiteY23" fmla="*/ 202407 h 295275"/>
              <a:gd name="connsiteX24" fmla="*/ 300037 w 769144"/>
              <a:gd name="connsiteY24" fmla="*/ 209550 h 295275"/>
              <a:gd name="connsiteX25" fmla="*/ 335756 w 769144"/>
              <a:gd name="connsiteY25" fmla="*/ 216694 h 295275"/>
              <a:gd name="connsiteX26" fmla="*/ 359569 w 769144"/>
              <a:gd name="connsiteY26" fmla="*/ 223838 h 295275"/>
              <a:gd name="connsiteX27" fmla="*/ 373856 w 769144"/>
              <a:gd name="connsiteY27" fmla="*/ 233363 h 295275"/>
              <a:gd name="connsiteX28" fmla="*/ 381000 w 769144"/>
              <a:gd name="connsiteY28" fmla="*/ 238125 h 295275"/>
              <a:gd name="connsiteX29" fmla="*/ 395287 w 769144"/>
              <a:gd name="connsiteY29" fmla="*/ 242888 h 295275"/>
              <a:gd name="connsiteX30" fmla="*/ 402431 w 769144"/>
              <a:gd name="connsiteY30" fmla="*/ 250032 h 295275"/>
              <a:gd name="connsiteX31" fmla="*/ 409575 w 769144"/>
              <a:gd name="connsiteY31" fmla="*/ 252413 h 295275"/>
              <a:gd name="connsiteX32" fmla="*/ 416719 w 769144"/>
              <a:gd name="connsiteY32" fmla="*/ 257175 h 295275"/>
              <a:gd name="connsiteX33" fmla="*/ 426244 w 769144"/>
              <a:gd name="connsiteY33" fmla="*/ 259557 h 295275"/>
              <a:gd name="connsiteX34" fmla="*/ 452437 w 769144"/>
              <a:gd name="connsiteY34" fmla="*/ 266700 h 295275"/>
              <a:gd name="connsiteX35" fmla="*/ 459581 w 769144"/>
              <a:gd name="connsiteY35" fmla="*/ 269082 h 295275"/>
              <a:gd name="connsiteX36" fmla="*/ 490537 w 769144"/>
              <a:gd name="connsiteY36" fmla="*/ 273844 h 295275"/>
              <a:gd name="connsiteX37" fmla="*/ 504825 w 769144"/>
              <a:gd name="connsiteY37" fmla="*/ 278607 h 295275"/>
              <a:gd name="connsiteX38" fmla="*/ 571500 w 769144"/>
              <a:gd name="connsiteY38" fmla="*/ 283369 h 295275"/>
              <a:gd name="connsiteX39" fmla="*/ 628650 w 769144"/>
              <a:gd name="connsiteY39" fmla="*/ 285750 h 295275"/>
              <a:gd name="connsiteX40" fmla="*/ 664369 w 769144"/>
              <a:gd name="connsiteY40" fmla="*/ 290513 h 295275"/>
              <a:gd name="connsiteX41" fmla="*/ 673894 w 769144"/>
              <a:gd name="connsiteY41" fmla="*/ 292894 h 295275"/>
              <a:gd name="connsiteX42" fmla="*/ 700087 w 769144"/>
              <a:gd name="connsiteY42" fmla="*/ 295275 h 295275"/>
              <a:gd name="connsiteX43" fmla="*/ 769144 w 769144"/>
              <a:gd name="connsiteY43" fmla="*/ 292894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9144" h="295275">
                <a:moveTo>
                  <a:pt x="0" y="0"/>
                </a:moveTo>
                <a:cubicBezTo>
                  <a:pt x="5822" y="29114"/>
                  <a:pt x="-727" y="-1076"/>
                  <a:pt x="4762" y="19050"/>
                </a:cubicBezTo>
                <a:cubicBezTo>
                  <a:pt x="11058" y="42135"/>
                  <a:pt x="5528" y="32103"/>
                  <a:pt x="14287" y="45244"/>
                </a:cubicBezTo>
                <a:cubicBezTo>
                  <a:pt x="15081" y="51594"/>
                  <a:pt x="15328" y="58037"/>
                  <a:pt x="16669" y="64294"/>
                </a:cubicBezTo>
                <a:cubicBezTo>
                  <a:pt x="19416" y="77113"/>
                  <a:pt x="23007" y="82271"/>
                  <a:pt x="30956" y="92869"/>
                </a:cubicBezTo>
                <a:cubicBezTo>
                  <a:pt x="34257" y="97271"/>
                  <a:pt x="40269" y="106221"/>
                  <a:pt x="45244" y="109538"/>
                </a:cubicBezTo>
                <a:cubicBezTo>
                  <a:pt x="47332" y="110930"/>
                  <a:pt x="50006" y="111125"/>
                  <a:pt x="52387" y="111919"/>
                </a:cubicBezTo>
                <a:cubicBezTo>
                  <a:pt x="54768" y="114300"/>
                  <a:pt x="56944" y="116907"/>
                  <a:pt x="59531" y="119063"/>
                </a:cubicBezTo>
                <a:cubicBezTo>
                  <a:pt x="61730" y="120895"/>
                  <a:pt x="64651" y="121801"/>
                  <a:pt x="66675" y="123825"/>
                </a:cubicBezTo>
                <a:cubicBezTo>
                  <a:pt x="77447" y="134597"/>
                  <a:pt x="64672" y="128714"/>
                  <a:pt x="78581" y="133350"/>
                </a:cubicBezTo>
                <a:cubicBezTo>
                  <a:pt x="80962" y="134938"/>
                  <a:pt x="83526" y="136281"/>
                  <a:pt x="85725" y="138113"/>
                </a:cubicBezTo>
                <a:cubicBezTo>
                  <a:pt x="88312" y="140269"/>
                  <a:pt x="89925" y="143622"/>
                  <a:pt x="92869" y="145257"/>
                </a:cubicBezTo>
                <a:cubicBezTo>
                  <a:pt x="97257" y="147695"/>
                  <a:pt x="107156" y="150019"/>
                  <a:pt x="107156" y="150019"/>
                </a:cubicBezTo>
                <a:cubicBezTo>
                  <a:pt x="109537" y="151607"/>
                  <a:pt x="111685" y="153620"/>
                  <a:pt x="114300" y="154782"/>
                </a:cubicBezTo>
                <a:cubicBezTo>
                  <a:pt x="118887" y="156821"/>
                  <a:pt x="123825" y="157957"/>
                  <a:pt x="128587" y="159544"/>
                </a:cubicBezTo>
                <a:cubicBezTo>
                  <a:pt x="130968" y="160338"/>
                  <a:pt x="133486" y="160802"/>
                  <a:pt x="135731" y="161925"/>
                </a:cubicBezTo>
                <a:cubicBezTo>
                  <a:pt x="149575" y="168847"/>
                  <a:pt x="141754" y="166104"/>
                  <a:pt x="159544" y="169069"/>
                </a:cubicBezTo>
                <a:cubicBezTo>
                  <a:pt x="196415" y="181361"/>
                  <a:pt x="158326" y="167271"/>
                  <a:pt x="180975" y="178594"/>
                </a:cubicBezTo>
                <a:cubicBezTo>
                  <a:pt x="184972" y="180592"/>
                  <a:pt x="193835" y="182214"/>
                  <a:pt x="197644" y="183357"/>
                </a:cubicBezTo>
                <a:cubicBezTo>
                  <a:pt x="202452" y="184800"/>
                  <a:pt x="207169" y="186532"/>
                  <a:pt x="211931" y="188119"/>
                </a:cubicBezTo>
                <a:cubicBezTo>
                  <a:pt x="235937" y="196120"/>
                  <a:pt x="198702" y="183912"/>
                  <a:pt x="228600" y="192882"/>
                </a:cubicBezTo>
                <a:cubicBezTo>
                  <a:pt x="233408" y="194325"/>
                  <a:pt x="238125" y="196057"/>
                  <a:pt x="242887" y="197644"/>
                </a:cubicBezTo>
                <a:cubicBezTo>
                  <a:pt x="245268" y="198438"/>
                  <a:pt x="247536" y="199748"/>
                  <a:pt x="250031" y="200025"/>
                </a:cubicBezTo>
                <a:lnTo>
                  <a:pt x="271462" y="202407"/>
                </a:lnTo>
                <a:cubicBezTo>
                  <a:pt x="290330" y="208696"/>
                  <a:pt x="280798" y="206344"/>
                  <a:pt x="300037" y="209550"/>
                </a:cubicBezTo>
                <a:cubicBezTo>
                  <a:pt x="321144" y="216586"/>
                  <a:pt x="309335" y="213759"/>
                  <a:pt x="335756" y="216694"/>
                </a:cubicBezTo>
                <a:cubicBezTo>
                  <a:pt x="353149" y="222492"/>
                  <a:pt x="345174" y="220240"/>
                  <a:pt x="359569" y="223838"/>
                </a:cubicBezTo>
                <a:lnTo>
                  <a:pt x="373856" y="233363"/>
                </a:lnTo>
                <a:cubicBezTo>
                  <a:pt x="376237" y="234950"/>
                  <a:pt x="378285" y="237220"/>
                  <a:pt x="381000" y="238125"/>
                </a:cubicBezTo>
                <a:lnTo>
                  <a:pt x="395287" y="242888"/>
                </a:lnTo>
                <a:cubicBezTo>
                  <a:pt x="397668" y="245269"/>
                  <a:pt x="399629" y="248164"/>
                  <a:pt x="402431" y="250032"/>
                </a:cubicBezTo>
                <a:cubicBezTo>
                  <a:pt x="404520" y="251424"/>
                  <a:pt x="407330" y="251291"/>
                  <a:pt x="409575" y="252413"/>
                </a:cubicBezTo>
                <a:cubicBezTo>
                  <a:pt x="412135" y="253693"/>
                  <a:pt x="414089" y="256048"/>
                  <a:pt x="416719" y="257175"/>
                </a:cubicBezTo>
                <a:cubicBezTo>
                  <a:pt x="419727" y="258464"/>
                  <a:pt x="423109" y="258617"/>
                  <a:pt x="426244" y="259557"/>
                </a:cubicBezTo>
                <a:cubicBezTo>
                  <a:pt x="477337" y="274886"/>
                  <a:pt x="409029" y="255847"/>
                  <a:pt x="452437" y="266700"/>
                </a:cubicBezTo>
                <a:cubicBezTo>
                  <a:pt x="454872" y="267309"/>
                  <a:pt x="457120" y="268590"/>
                  <a:pt x="459581" y="269082"/>
                </a:cubicBezTo>
                <a:cubicBezTo>
                  <a:pt x="467136" y="270593"/>
                  <a:pt x="482665" y="271876"/>
                  <a:pt x="490537" y="273844"/>
                </a:cubicBezTo>
                <a:cubicBezTo>
                  <a:pt x="495407" y="275062"/>
                  <a:pt x="499819" y="278222"/>
                  <a:pt x="504825" y="278607"/>
                </a:cubicBezTo>
                <a:lnTo>
                  <a:pt x="571500" y="283369"/>
                </a:lnTo>
                <a:lnTo>
                  <a:pt x="628650" y="285750"/>
                </a:lnTo>
                <a:cubicBezTo>
                  <a:pt x="635267" y="286577"/>
                  <a:pt x="657154" y="289201"/>
                  <a:pt x="664369" y="290513"/>
                </a:cubicBezTo>
                <a:cubicBezTo>
                  <a:pt x="667589" y="291098"/>
                  <a:pt x="670650" y="292462"/>
                  <a:pt x="673894" y="292894"/>
                </a:cubicBezTo>
                <a:cubicBezTo>
                  <a:pt x="682584" y="294053"/>
                  <a:pt x="691356" y="294481"/>
                  <a:pt x="700087" y="295275"/>
                </a:cubicBezTo>
                <a:cubicBezTo>
                  <a:pt x="737297" y="291141"/>
                  <a:pt x="714331" y="292894"/>
                  <a:pt x="769144" y="292894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1578504" y="1808698"/>
            <a:ext cx="672823" cy="207469"/>
          </a:xfrm>
          <a:custGeom>
            <a:avLst/>
            <a:gdLst>
              <a:gd name="connsiteX0" fmla="*/ 0 w 769144"/>
              <a:gd name="connsiteY0" fmla="*/ 0 h 295275"/>
              <a:gd name="connsiteX1" fmla="*/ 4762 w 769144"/>
              <a:gd name="connsiteY1" fmla="*/ 19050 h 295275"/>
              <a:gd name="connsiteX2" fmla="*/ 14287 w 769144"/>
              <a:gd name="connsiteY2" fmla="*/ 45244 h 295275"/>
              <a:gd name="connsiteX3" fmla="*/ 16669 w 769144"/>
              <a:gd name="connsiteY3" fmla="*/ 64294 h 295275"/>
              <a:gd name="connsiteX4" fmla="*/ 30956 w 769144"/>
              <a:gd name="connsiteY4" fmla="*/ 92869 h 295275"/>
              <a:gd name="connsiteX5" fmla="*/ 45244 w 769144"/>
              <a:gd name="connsiteY5" fmla="*/ 109538 h 295275"/>
              <a:gd name="connsiteX6" fmla="*/ 52387 w 769144"/>
              <a:gd name="connsiteY6" fmla="*/ 111919 h 295275"/>
              <a:gd name="connsiteX7" fmla="*/ 59531 w 769144"/>
              <a:gd name="connsiteY7" fmla="*/ 119063 h 295275"/>
              <a:gd name="connsiteX8" fmla="*/ 66675 w 769144"/>
              <a:gd name="connsiteY8" fmla="*/ 123825 h 295275"/>
              <a:gd name="connsiteX9" fmla="*/ 78581 w 769144"/>
              <a:gd name="connsiteY9" fmla="*/ 133350 h 295275"/>
              <a:gd name="connsiteX10" fmla="*/ 85725 w 769144"/>
              <a:gd name="connsiteY10" fmla="*/ 138113 h 295275"/>
              <a:gd name="connsiteX11" fmla="*/ 92869 w 769144"/>
              <a:gd name="connsiteY11" fmla="*/ 145257 h 295275"/>
              <a:gd name="connsiteX12" fmla="*/ 107156 w 769144"/>
              <a:gd name="connsiteY12" fmla="*/ 150019 h 295275"/>
              <a:gd name="connsiteX13" fmla="*/ 114300 w 769144"/>
              <a:gd name="connsiteY13" fmla="*/ 154782 h 295275"/>
              <a:gd name="connsiteX14" fmla="*/ 128587 w 769144"/>
              <a:gd name="connsiteY14" fmla="*/ 159544 h 295275"/>
              <a:gd name="connsiteX15" fmla="*/ 135731 w 769144"/>
              <a:gd name="connsiteY15" fmla="*/ 161925 h 295275"/>
              <a:gd name="connsiteX16" fmla="*/ 159544 w 769144"/>
              <a:gd name="connsiteY16" fmla="*/ 169069 h 295275"/>
              <a:gd name="connsiteX17" fmla="*/ 180975 w 769144"/>
              <a:gd name="connsiteY17" fmla="*/ 178594 h 295275"/>
              <a:gd name="connsiteX18" fmla="*/ 197644 w 769144"/>
              <a:gd name="connsiteY18" fmla="*/ 183357 h 295275"/>
              <a:gd name="connsiteX19" fmla="*/ 211931 w 769144"/>
              <a:gd name="connsiteY19" fmla="*/ 188119 h 295275"/>
              <a:gd name="connsiteX20" fmla="*/ 228600 w 769144"/>
              <a:gd name="connsiteY20" fmla="*/ 192882 h 295275"/>
              <a:gd name="connsiteX21" fmla="*/ 242887 w 769144"/>
              <a:gd name="connsiteY21" fmla="*/ 197644 h 295275"/>
              <a:gd name="connsiteX22" fmla="*/ 250031 w 769144"/>
              <a:gd name="connsiteY22" fmla="*/ 200025 h 295275"/>
              <a:gd name="connsiteX23" fmla="*/ 271462 w 769144"/>
              <a:gd name="connsiteY23" fmla="*/ 202407 h 295275"/>
              <a:gd name="connsiteX24" fmla="*/ 300037 w 769144"/>
              <a:gd name="connsiteY24" fmla="*/ 209550 h 295275"/>
              <a:gd name="connsiteX25" fmla="*/ 335756 w 769144"/>
              <a:gd name="connsiteY25" fmla="*/ 216694 h 295275"/>
              <a:gd name="connsiteX26" fmla="*/ 359569 w 769144"/>
              <a:gd name="connsiteY26" fmla="*/ 223838 h 295275"/>
              <a:gd name="connsiteX27" fmla="*/ 373856 w 769144"/>
              <a:gd name="connsiteY27" fmla="*/ 233363 h 295275"/>
              <a:gd name="connsiteX28" fmla="*/ 381000 w 769144"/>
              <a:gd name="connsiteY28" fmla="*/ 238125 h 295275"/>
              <a:gd name="connsiteX29" fmla="*/ 395287 w 769144"/>
              <a:gd name="connsiteY29" fmla="*/ 242888 h 295275"/>
              <a:gd name="connsiteX30" fmla="*/ 402431 w 769144"/>
              <a:gd name="connsiteY30" fmla="*/ 250032 h 295275"/>
              <a:gd name="connsiteX31" fmla="*/ 409575 w 769144"/>
              <a:gd name="connsiteY31" fmla="*/ 252413 h 295275"/>
              <a:gd name="connsiteX32" fmla="*/ 416719 w 769144"/>
              <a:gd name="connsiteY32" fmla="*/ 257175 h 295275"/>
              <a:gd name="connsiteX33" fmla="*/ 426244 w 769144"/>
              <a:gd name="connsiteY33" fmla="*/ 259557 h 295275"/>
              <a:gd name="connsiteX34" fmla="*/ 452437 w 769144"/>
              <a:gd name="connsiteY34" fmla="*/ 266700 h 295275"/>
              <a:gd name="connsiteX35" fmla="*/ 459581 w 769144"/>
              <a:gd name="connsiteY35" fmla="*/ 269082 h 295275"/>
              <a:gd name="connsiteX36" fmla="*/ 490537 w 769144"/>
              <a:gd name="connsiteY36" fmla="*/ 273844 h 295275"/>
              <a:gd name="connsiteX37" fmla="*/ 504825 w 769144"/>
              <a:gd name="connsiteY37" fmla="*/ 278607 h 295275"/>
              <a:gd name="connsiteX38" fmla="*/ 571500 w 769144"/>
              <a:gd name="connsiteY38" fmla="*/ 283369 h 295275"/>
              <a:gd name="connsiteX39" fmla="*/ 628650 w 769144"/>
              <a:gd name="connsiteY39" fmla="*/ 285750 h 295275"/>
              <a:gd name="connsiteX40" fmla="*/ 664369 w 769144"/>
              <a:gd name="connsiteY40" fmla="*/ 290513 h 295275"/>
              <a:gd name="connsiteX41" fmla="*/ 673894 w 769144"/>
              <a:gd name="connsiteY41" fmla="*/ 292894 h 295275"/>
              <a:gd name="connsiteX42" fmla="*/ 700087 w 769144"/>
              <a:gd name="connsiteY42" fmla="*/ 295275 h 295275"/>
              <a:gd name="connsiteX43" fmla="*/ 769144 w 769144"/>
              <a:gd name="connsiteY43" fmla="*/ 292894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9144" h="295275">
                <a:moveTo>
                  <a:pt x="0" y="0"/>
                </a:moveTo>
                <a:cubicBezTo>
                  <a:pt x="5822" y="29114"/>
                  <a:pt x="-727" y="-1076"/>
                  <a:pt x="4762" y="19050"/>
                </a:cubicBezTo>
                <a:cubicBezTo>
                  <a:pt x="11058" y="42135"/>
                  <a:pt x="5528" y="32103"/>
                  <a:pt x="14287" y="45244"/>
                </a:cubicBezTo>
                <a:cubicBezTo>
                  <a:pt x="15081" y="51594"/>
                  <a:pt x="15328" y="58037"/>
                  <a:pt x="16669" y="64294"/>
                </a:cubicBezTo>
                <a:cubicBezTo>
                  <a:pt x="19416" y="77113"/>
                  <a:pt x="23007" y="82271"/>
                  <a:pt x="30956" y="92869"/>
                </a:cubicBezTo>
                <a:cubicBezTo>
                  <a:pt x="34257" y="97271"/>
                  <a:pt x="40269" y="106221"/>
                  <a:pt x="45244" y="109538"/>
                </a:cubicBezTo>
                <a:cubicBezTo>
                  <a:pt x="47332" y="110930"/>
                  <a:pt x="50006" y="111125"/>
                  <a:pt x="52387" y="111919"/>
                </a:cubicBezTo>
                <a:cubicBezTo>
                  <a:pt x="54768" y="114300"/>
                  <a:pt x="56944" y="116907"/>
                  <a:pt x="59531" y="119063"/>
                </a:cubicBezTo>
                <a:cubicBezTo>
                  <a:pt x="61730" y="120895"/>
                  <a:pt x="64651" y="121801"/>
                  <a:pt x="66675" y="123825"/>
                </a:cubicBezTo>
                <a:cubicBezTo>
                  <a:pt x="77447" y="134597"/>
                  <a:pt x="64672" y="128714"/>
                  <a:pt x="78581" y="133350"/>
                </a:cubicBezTo>
                <a:cubicBezTo>
                  <a:pt x="80962" y="134938"/>
                  <a:pt x="83526" y="136281"/>
                  <a:pt x="85725" y="138113"/>
                </a:cubicBezTo>
                <a:cubicBezTo>
                  <a:pt x="88312" y="140269"/>
                  <a:pt x="89925" y="143622"/>
                  <a:pt x="92869" y="145257"/>
                </a:cubicBezTo>
                <a:cubicBezTo>
                  <a:pt x="97257" y="147695"/>
                  <a:pt x="107156" y="150019"/>
                  <a:pt x="107156" y="150019"/>
                </a:cubicBezTo>
                <a:cubicBezTo>
                  <a:pt x="109537" y="151607"/>
                  <a:pt x="111685" y="153620"/>
                  <a:pt x="114300" y="154782"/>
                </a:cubicBezTo>
                <a:cubicBezTo>
                  <a:pt x="118887" y="156821"/>
                  <a:pt x="123825" y="157957"/>
                  <a:pt x="128587" y="159544"/>
                </a:cubicBezTo>
                <a:cubicBezTo>
                  <a:pt x="130968" y="160338"/>
                  <a:pt x="133486" y="160802"/>
                  <a:pt x="135731" y="161925"/>
                </a:cubicBezTo>
                <a:cubicBezTo>
                  <a:pt x="149575" y="168847"/>
                  <a:pt x="141754" y="166104"/>
                  <a:pt x="159544" y="169069"/>
                </a:cubicBezTo>
                <a:cubicBezTo>
                  <a:pt x="196415" y="181361"/>
                  <a:pt x="158326" y="167271"/>
                  <a:pt x="180975" y="178594"/>
                </a:cubicBezTo>
                <a:cubicBezTo>
                  <a:pt x="184972" y="180592"/>
                  <a:pt x="193835" y="182214"/>
                  <a:pt x="197644" y="183357"/>
                </a:cubicBezTo>
                <a:cubicBezTo>
                  <a:pt x="202452" y="184800"/>
                  <a:pt x="207169" y="186532"/>
                  <a:pt x="211931" y="188119"/>
                </a:cubicBezTo>
                <a:cubicBezTo>
                  <a:pt x="235937" y="196120"/>
                  <a:pt x="198702" y="183912"/>
                  <a:pt x="228600" y="192882"/>
                </a:cubicBezTo>
                <a:cubicBezTo>
                  <a:pt x="233408" y="194325"/>
                  <a:pt x="238125" y="196057"/>
                  <a:pt x="242887" y="197644"/>
                </a:cubicBezTo>
                <a:cubicBezTo>
                  <a:pt x="245268" y="198438"/>
                  <a:pt x="247536" y="199748"/>
                  <a:pt x="250031" y="200025"/>
                </a:cubicBezTo>
                <a:lnTo>
                  <a:pt x="271462" y="202407"/>
                </a:lnTo>
                <a:cubicBezTo>
                  <a:pt x="290330" y="208696"/>
                  <a:pt x="280798" y="206344"/>
                  <a:pt x="300037" y="209550"/>
                </a:cubicBezTo>
                <a:cubicBezTo>
                  <a:pt x="321144" y="216586"/>
                  <a:pt x="309335" y="213759"/>
                  <a:pt x="335756" y="216694"/>
                </a:cubicBezTo>
                <a:cubicBezTo>
                  <a:pt x="353149" y="222492"/>
                  <a:pt x="345174" y="220240"/>
                  <a:pt x="359569" y="223838"/>
                </a:cubicBezTo>
                <a:lnTo>
                  <a:pt x="373856" y="233363"/>
                </a:lnTo>
                <a:cubicBezTo>
                  <a:pt x="376237" y="234950"/>
                  <a:pt x="378285" y="237220"/>
                  <a:pt x="381000" y="238125"/>
                </a:cubicBezTo>
                <a:lnTo>
                  <a:pt x="395287" y="242888"/>
                </a:lnTo>
                <a:cubicBezTo>
                  <a:pt x="397668" y="245269"/>
                  <a:pt x="399629" y="248164"/>
                  <a:pt x="402431" y="250032"/>
                </a:cubicBezTo>
                <a:cubicBezTo>
                  <a:pt x="404520" y="251424"/>
                  <a:pt x="407330" y="251291"/>
                  <a:pt x="409575" y="252413"/>
                </a:cubicBezTo>
                <a:cubicBezTo>
                  <a:pt x="412135" y="253693"/>
                  <a:pt x="414089" y="256048"/>
                  <a:pt x="416719" y="257175"/>
                </a:cubicBezTo>
                <a:cubicBezTo>
                  <a:pt x="419727" y="258464"/>
                  <a:pt x="423109" y="258617"/>
                  <a:pt x="426244" y="259557"/>
                </a:cubicBezTo>
                <a:cubicBezTo>
                  <a:pt x="477337" y="274886"/>
                  <a:pt x="409029" y="255847"/>
                  <a:pt x="452437" y="266700"/>
                </a:cubicBezTo>
                <a:cubicBezTo>
                  <a:pt x="454872" y="267309"/>
                  <a:pt x="457120" y="268590"/>
                  <a:pt x="459581" y="269082"/>
                </a:cubicBezTo>
                <a:cubicBezTo>
                  <a:pt x="467136" y="270593"/>
                  <a:pt x="482665" y="271876"/>
                  <a:pt x="490537" y="273844"/>
                </a:cubicBezTo>
                <a:cubicBezTo>
                  <a:pt x="495407" y="275062"/>
                  <a:pt x="499819" y="278222"/>
                  <a:pt x="504825" y="278607"/>
                </a:cubicBezTo>
                <a:lnTo>
                  <a:pt x="571500" y="283369"/>
                </a:lnTo>
                <a:lnTo>
                  <a:pt x="628650" y="285750"/>
                </a:lnTo>
                <a:cubicBezTo>
                  <a:pt x="635267" y="286577"/>
                  <a:pt x="657154" y="289201"/>
                  <a:pt x="664369" y="290513"/>
                </a:cubicBezTo>
                <a:cubicBezTo>
                  <a:pt x="667589" y="291098"/>
                  <a:pt x="670650" y="292462"/>
                  <a:pt x="673894" y="292894"/>
                </a:cubicBezTo>
                <a:cubicBezTo>
                  <a:pt x="682584" y="294053"/>
                  <a:pt x="691356" y="294481"/>
                  <a:pt x="700087" y="295275"/>
                </a:cubicBezTo>
                <a:cubicBezTo>
                  <a:pt x="737297" y="291141"/>
                  <a:pt x="714331" y="292894"/>
                  <a:pt x="769144" y="292894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7" name="Блок-схема: узел 696"/>
          <p:cNvSpPr/>
          <p:nvPr/>
        </p:nvSpPr>
        <p:spPr bwMode="auto">
          <a:xfrm>
            <a:off x="4665351" y="3892443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9" name="AutoShape 19"/>
          <p:cNvSpPr>
            <a:spLocks noChangeArrowheads="1"/>
          </p:cNvSpPr>
          <p:nvPr/>
        </p:nvSpPr>
        <p:spPr bwMode="auto">
          <a:xfrm>
            <a:off x="5209228" y="2384433"/>
            <a:ext cx="492560" cy="9594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арағанды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Полилиния 11"/>
          <p:cNvSpPr/>
          <p:nvPr/>
        </p:nvSpPr>
        <p:spPr>
          <a:xfrm>
            <a:off x="6307075" y="3831326"/>
            <a:ext cx="11110" cy="149467"/>
          </a:xfrm>
          <a:custGeom>
            <a:avLst/>
            <a:gdLst>
              <a:gd name="connsiteX0" fmla="*/ 0 w 12700"/>
              <a:gd name="connsiteY0" fmla="*/ 0 h 212725"/>
              <a:gd name="connsiteX1" fmla="*/ 3175 w 12700"/>
              <a:gd name="connsiteY1" fmla="*/ 57150 h 212725"/>
              <a:gd name="connsiteX2" fmla="*/ 6350 w 12700"/>
              <a:gd name="connsiteY2" fmla="*/ 85725 h 212725"/>
              <a:gd name="connsiteX3" fmla="*/ 9525 w 12700"/>
              <a:gd name="connsiteY3" fmla="*/ 196850 h 212725"/>
              <a:gd name="connsiteX4" fmla="*/ 12700 w 12700"/>
              <a:gd name="connsiteY4" fmla="*/ 212725 h 21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" h="212725">
                <a:moveTo>
                  <a:pt x="0" y="0"/>
                </a:moveTo>
                <a:cubicBezTo>
                  <a:pt x="1058" y="19050"/>
                  <a:pt x="1766" y="38123"/>
                  <a:pt x="3175" y="57150"/>
                </a:cubicBezTo>
                <a:cubicBezTo>
                  <a:pt x="3883" y="66707"/>
                  <a:pt x="5915" y="76151"/>
                  <a:pt x="6350" y="85725"/>
                </a:cubicBezTo>
                <a:cubicBezTo>
                  <a:pt x="8033" y="122744"/>
                  <a:pt x="7674" y="159839"/>
                  <a:pt x="9525" y="196850"/>
                </a:cubicBezTo>
                <a:cubicBezTo>
                  <a:pt x="9794" y="202240"/>
                  <a:pt x="12700" y="212725"/>
                  <a:pt x="12700" y="212725"/>
                </a:cubicBezTo>
              </a:path>
            </a:pathLst>
          </a:custGeom>
          <a:ln w="1016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9770" tIns="34886" rIns="69770" bIns="34886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05" name="Полилиния 704"/>
          <p:cNvSpPr/>
          <p:nvPr/>
        </p:nvSpPr>
        <p:spPr>
          <a:xfrm>
            <a:off x="6287005" y="3852089"/>
            <a:ext cx="11110" cy="149467"/>
          </a:xfrm>
          <a:custGeom>
            <a:avLst/>
            <a:gdLst>
              <a:gd name="connsiteX0" fmla="*/ 0 w 12700"/>
              <a:gd name="connsiteY0" fmla="*/ 0 h 212725"/>
              <a:gd name="connsiteX1" fmla="*/ 3175 w 12700"/>
              <a:gd name="connsiteY1" fmla="*/ 57150 h 212725"/>
              <a:gd name="connsiteX2" fmla="*/ 6350 w 12700"/>
              <a:gd name="connsiteY2" fmla="*/ 85725 h 212725"/>
              <a:gd name="connsiteX3" fmla="*/ 9525 w 12700"/>
              <a:gd name="connsiteY3" fmla="*/ 196850 h 212725"/>
              <a:gd name="connsiteX4" fmla="*/ 12700 w 12700"/>
              <a:gd name="connsiteY4" fmla="*/ 212725 h 21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" h="212725">
                <a:moveTo>
                  <a:pt x="0" y="0"/>
                </a:moveTo>
                <a:cubicBezTo>
                  <a:pt x="1058" y="19050"/>
                  <a:pt x="1766" y="38123"/>
                  <a:pt x="3175" y="57150"/>
                </a:cubicBezTo>
                <a:cubicBezTo>
                  <a:pt x="3883" y="66707"/>
                  <a:pt x="5915" y="76151"/>
                  <a:pt x="6350" y="85725"/>
                </a:cubicBezTo>
                <a:cubicBezTo>
                  <a:pt x="8033" y="122744"/>
                  <a:pt x="7674" y="159839"/>
                  <a:pt x="9525" y="196850"/>
                </a:cubicBezTo>
                <a:cubicBezTo>
                  <a:pt x="9794" y="202240"/>
                  <a:pt x="12700" y="212725"/>
                  <a:pt x="12700" y="21272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06" name="Полилиния 705"/>
          <p:cNvSpPr/>
          <p:nvPr/>
        </p:nvSpPr>
        <p:spPr>
          <a:xfrm>
            <a:off x="6322280" y="3844530"/>
            <a:ext cx="11110" cy="149467"/>
          </a:xfrm>
          <a:custGeom>
            <a:avLst/>
            <a:gdLst>
              <a:gd name="connsiteX0" fmla="*/ 0 w 12700"/>
              <a:gd name="connsiteY0" fmla="*/ 0 h 212725"/>
              <a:gd name="connsiteX1" fmla="*/ 3175 w 12700"/>
              <a:gd name="connsiteY1" fmla="*/ 57150 h 212725"/>
              <a:gd name="connsiteX2" fmla="*/ 6350 w 12700"/>
              <a:gd name="connsiteY2" fmla="*/ 85725 h 212725"/>
              <a:gd name="connsiteX3" fmla="*/ 9525 w 12700"/>
              <a:gd name="connsiteY3" fmla="*/ 196850 h 212725"/>
              <a:gd name="connsiteX4" fmla="*/ 12700 w 12700"/>
              <a:gd name="connsiteY4" fmla="*/ 212725 h 212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" h="212725">
                <a:moveTo>
                  <a:pt x="0" y="0"/>
                </a:moveTo>
                <a:cubicBezTo>
                  <a:pt x="1058" y="19050"/>
                  <a:pt x="1766" y="38123"/>
                  <a:pt x="3175" y="57150"/>
                </a:cubicBezTo>
                <a:cubicBezTo>
                  <a:pt x="3883" y="66707"/>
                  <a:pt x="5915" y="76151"/>
                  <a:pt x="6350" y="85725"/>
                </a:cubicBezTo>
                <a:cubicBezTo>
                  <a:pt x="8033" y="122744"/>
                  <a:pt x="7674" y="159839"/>
                  <a:pt x="9525" y="196850"/>
                </a:cubicBezTo>
                <a:cubicBezTo>
                  <a:pt x="9794" y="202240"/>
                  <a:pt x="12700" y="212725"/>
                  <a:pt x="12700" y="21272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1" name="Блок-схема: узел 590"/>
          <p:cNvSpPr/>
          <p:nvPr/>
        </p:nvSpPr>
        <p:spPr bwMode="auto">
          <a:xfrm>
            <a:off x="6259923" y="3783126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07" name="AutoShape 19"/>
          <p:cNvSpPr>
            <a:spLocks noChangeArrowheads="1"/>
          </p:cNvSpPr>
          <p:nvPr/>
        </p:nvSpPr>
        <p:spPr bwMode="auto">
          <a:xfrm>
            <a:off x="6136118" y="4081321"/>
            <a:ext cx="399980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Бішкек</a:t>
            </a:r>
            <a:endParaRPr lang="ru-RU" sz="7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8" name="Блок-схема: узел 707"/>
          <p:cNvSpPr/>
          <p:nvPr/>
        </p:nvSpPr>
        <p:spPr bwMode="auto">
          <a:xfrm>
            <a:off x="6242124" y="3953040"/>
            <a:ext cx="12594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6" name="AutoShape 19"/>
          <p:cNvSpPr>
            <a:spLocks noChangeArrowheads="1"/>
          </p:cNvSpPr>
          <p:nvPr/>
        </p:nvSpPr>
        <p:spPr bwMode="auto">
          <a:xfrm>
            <a:off x="6494296" y="3155990"/>
            <a:ext cx="589831" cy="89090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алдықорған</a:t>
            </a:r>
            <a:endParaRPr lang="ru-RU" sz="600" b="1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2" name="AutoShape 19"/>
          <p:cNvSpPr>
            <a:spLocks noChangeArrowheads="1"/>
          </p:cNvSpPr>
          <p:nvPr/>
        </p:nvSpPr>
        <p:spPr bwMode="auto">
          <a:xfrm>
            <a:off x="6296398" y="3475288"/>
            <a:ext cx="443509" cy="86630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онаев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7" name="AutoShape 19"/>
          <p:cNvSpPr>
            <a:spLocks noChangeArrowheads="1"/>
          </p:cNvSpPr>
          <p:nvPr/>
        </p:nvSpPr>
        <p:spPr bwMode="auto">
          <a:xfrm>
            <a:off x="6142429" y="3665801"/>
            <a:ext cx="321877" cy="8534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айнар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5" name="AutoShape 19"/>
          <p:cNvSpPr>
            <a:spLocks noChangeArrowheads="1"/>
          </p:cNvSpPr>
          <p:nvPr/>
        </p:nvSpPr>
        <p:spPr bwMode="auto">
          <a:xfrm>
            <a:off x="7233038" y="2208737"/>
            <a:ext cx="452134" cy="8303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Қ</a:t>
            </a: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албатау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8" name="Блок-схема: узел 617"/>
          <p:cNvSpPr/>
          <p:nvPr/>
        </p:nvSpPr>
        <p:spPr bwMode="auto">
          <a:xfrm>
            <a:off x="2461249" y="1984157"/>
            <a:ext cx="125966" cy="101179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40" name="Блок-схема: узел 639"/>
          <p:cNvSpPr/>
          <p:nvPr/>
        </p:nvSpPr>
        <p:spPr bwMode="auto">
          <a:xfrm>
            <a:off x="7400059" y="2111560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11" name="Блок-схема: узел 310"/>
          <p:cNvSpPr/>
          <p:nvPr/>
        </p:nvSpPr>
        <p:spPr bwMode="auto">
          <a:xfrm>
            <a:off x="5950724" y="3890499"/>
            <a:ext cx="125966" cy="101179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7" name="Блок-схема: узел 596"/>
          <p:cNvSpPr/>
          <p:nvPr/>
        </p:nvSpPr>
        <p:spPr bwMode="auto">
          <a:xfrm>
            <a:off x="6653210" y="3784720"/>
            <a:ext cx="12594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17" name="AutoShape 19"/>
          <p:cNvSpPr>
            <a:spLocks noChangeArrowheads="1"/>
          </p:cNvSpPr>
          <p:nvPr/>
        </p:nvSpPr>
        <p:spPr bwMode="auto">
          <a:xfrm>
            <a:off x="5712064" y="3793510"/>
            <a:ext cx="292616" cy="8534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Мерке</a:t>
            </a:r>
          </a:p>
        </p:txBody>
      </p:sp>
      <p:sp>
        <p:nvSpPr>
          <p:cNvPr id="648" name="Блок-схема: узел 647"/>
          <p:cNvSpPr/>
          <p:nvPr/>
        </p:nvSpPr>
        <p:spPr bwMode="auto">
          <a:xfrm>
            <a:off x="1191561" y="2615487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19" name="Полилиния 318"/>
          <p:cNvSpPr/>
          <p:nvPr/>
        </p:nvSpPr>
        <p:spPr>
          <a:xfrm>
            <a:off x="4929521" y="4079515"/>
            <a:ext cx="56232" cy="46859"/>
          </a:xfrm>
          <a:custGeom>
            <a:avLst/>
            <a:gdLst>
              <a:gd name="connsiteX0" fmla="*/ 64293 w 64293"/>
              <a:gd name="connsiteY0" fmla="*/ 66675 h 66675"/>
              <a:gd name="connsiteX1" fmla="*/ 54768 w 64293"/>
              <a:gd name="connsiteY1" fmla="*/ 47625 h 66675"/>
              <a:gd name="connsiteX2" fmla="*/ 45243 w 64293"/>
              <a:gd name="connsiteY2" fmla="*/ 30956 h 66675"/>
              <a:gd name="connsiteX3" fmla="*/ 23812 w 64293"/>
              <a:gd name="connsiteY3" fmla="*/ 16669 h 66675"/>
              <a:gd name="connsiteX4" fmla="*/ 16668 w 64293"/>
              <a:gd name="connsiteY4" fmla="*/ 11906 h 66675"/>
              <a:gd name="connsiteX5" fmla="*/ 9525 w 64293"/>
              <a:gd name="connsiteY5" fmla="*/ 4763 h 66675"/>
              <a:gd name="connsiteX6" fmla="*/ 0 w 64293"/>
              <a:gd name="connsiteY6" fmla="*/ 0 h 66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293" h="66675">
                <a:moveTo>
                  <a:pt x="64293" y="66675"/>
                </a:moveTo>
                <a:cubicBezTo>
                  <a:pt x="59534" y="42877"/>
                  <a:pt x="66203" y="64778"/>
                  <a:pt x="54768" y="47625"/>
                </a:cubicBezTo>
                <a:cubicBezTo>
                  <a:pt x="46184" y="34749"/>
                  <a:pt x="61717" y="45599"/>
                  <a:pt x="45243" y="30956"/>
                </a:cubicBezTo>
                <a:cubicBezTo>
                  <a:pt x="45232" y="30946"/>
                  <a:pt x="27390" y="19054"/>
                  <a:pt x="23812" y="16669"/>
                </a:cubicBezTo>
                <a:cubicBezTo>
                  <a:pt x="21431" y="15081"/>
                  <a:pt x="18692" y="13930"/>
                  <a:pt x="16668" y="11906"/>
                </a:cubicBezTo>
                <a:cubicBezTo>
                  <a:pt x="14287" y="9525"/>
                  <a:pt x="12265" y="6720"/>
                  <a:pt x="9525" y="4763"/>
                </a:cubicBezTo>
                <a:cubicBezTo>
                  <a:pt x="6636" y="2700"/>
                  <a:pt x="0" y="0"/>
                  <a:pt x="0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89" name="Полилиния 688"/>
          <p:cNvSpPr/>
          <p:nvPr/>
        </p:nvSpPr>
        <p:spPr bwMode="auto">
          <a:xfrm>
            <a:off x="1040959" y="3448566"/>
            <a:ext cx="35406" cy="93718"/>
          </a:xfrm>
          <a:custGeom>
            <a:avLst/>
            <a:gdLst>
              <a:gd name="connsiteX0" fmla="*/ 40481 w 40481"/>
              <a:gd name="connsiteY0" fmla="*/ 0 h 133350"/>
              <a:gd name="connsiteX1" fmla="*/ 35719 w 40481"/>
              <a:gd name="connsiteY1" fmla="*/ 11907 h 133350"/>
              <a:gd name="connsiteX2" fmla="*/ 30956 w 40481"/>
              <a:gd name="connsiteY2" fmla="*/ 19050 h 133350"/>
              <a:gd name="connsiteX3" fmla="*/ 23813 w 40481"/>
              <a:gd name="connsiteY3" fmla="*/ 47625 h 133350"/>
              <a:gd name="connsiteX4" fmla="*/ 21431 w 40481"/>
              <a:gd name="connsiteY4" fmla="*/ 54769 h 133350"/>
              <a:gd name="connsiteX5" fmla="*/ 16669 w 40481"/>
              <a:gd name="connsiteY5" fmla="*/ 88107 h 133350"/>
              <a:gd name="connsiteX6" fmla="*/ 11906 w 40481"/>
              <a:gd name="connsiteY6" fmla="*/ 102394 h 133350"/>
              <a:gd name="connsiteX7" fmla="*/ 9525 w 40481"/>
              <a:gd name="connsiteY7" fmla="*/ 109538 h 133350"/>
              <a:gd name="connsiteX8" fmla="*/ 7144 w 40481"/>
              <a:gd name="connsiteY8" fmla="*/ 119063 h 133350"/>
              <a:gd name="connsiteX9" fmla="*/ 2381 w 40481"/>
              <a:gd name="connsiteY9" fmla="*/ 126207 h 133350"/>
              <a:gd name="connsiteX10" fmla="*/ 0 w 40481"/>
              <a:gd name="connsiteY10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481" h="133350">
                <a:moveTo>
                  <a:pt x="40481" y="0"/>
                </a:moveTo>
                <a:cubicBezTo>
                  <a:pt x="38894" y="3969"/>
                  <a:pt x="37631" y="8084"/>
                  <a:pt x="35719" y="11907"/>
                </a:cubicBezTo>
                <a:cubicBezTo>
                  <a:pt x="34439" y="14467"/>
                  <a:pt x="32118" y="16435"/>
                  <a:pt x="30956" y="19050"/>
                </a:cubicBezTo>
                <a:cubicBezTo>
                  <a:pt x="24541" y="33484"/>
                  <a:pt x="27141" y="32651"/>
                  <a:pt x="23813" y="47625"/>
                </a:cubicBezTo>
                <a:cubicBezTo>
                  <a:pt x="23268" y="50075"/>
                  <a:pt x="22040" y="52334"/>
                  <a:pt x="21431" y="54769"/>
                </a:cubicBezTo>
                <a:cubicBezTo>
                  <a:pt x="15064" y="80236"/>
                  <a:pt x="24073" y="51086"/>
                  <a:pt x="16669" y="88107"/>
                </a:cubicBezTo>
                <a:cubicBezTo>
                  <a:pt x="15684" y="93030"/>
                  <a:pt x="13494" y="97632"/>
                  <a:pt x="11906" y="102394"/>
                </a:cubicBezTo>
                <a:lnTo>
                  <a:pt x="9525" y="109538"/>
                </a:lnTo>
                <a:cubicBezTo>
                  <a:pt x="8490" y="112643"/>
                  <a:pt x="8433" y="116055"/>
                  <a:pt x="7144" y="119063"/>
                </a:cubicBezTo>
                <a:cubicBezTo>
                  <a:pt x="6017" y="121694"/>
                  <a:pt x="3969" y="123826"/>
                  <a:pt x="2381" y="126207"/>
                </a:cubicBezTo>
                <a:lnTo>
                  <a:pt x="0" y="13335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69" name="Полилиния 668"/>
          <p:cNvSpPr/>
          <p:nvPr/>
        </p:nvSpPr>
        <p:spPr bwMode="auto">
          <a:xfrm>
            <a:off x="1072266" y="3455131"/>
            <a:ext cx="35406" cy="93718"/>
          </a:xfrm>
          <a:custGeom>
            <a:avLst/>
            <a:gdLst>
              <a:gd name="connsiteX0" fmla="*/ 40481 w 40481"/>
              <a:gd name="connsiteY0" fmla="*/ 0 h 133350"/>
              <a:gd name="connsiteX1" fmla="*/ 35719 w 40481"/>
              <a:gd name="connsiteY1" fmla="*/ 11907 h 133350"/>
              <a:gd name="connsiteX2" fmla="*/ 30956 w 40481"/>
              <a:gd name="connsiteY2" fmla="*/ 19050 h 133350"/>
              <a:gd name="connsiteX3" fmla="*/ 23813 w 40481"/>
              <a:gd name="connsiteY3" fmla="*/ 47625 h 133350"/>
              <a:gd name="connsiteX4" fmla="*/ 21431 w 40481"/>
              <a:gd name="connsiteY4" fmla="*/ 54769 h 133350"/>
              <a:gd name="connsiteX5" fmla="*/ 16669 w 40481"/>
              <a:gd name="connsiteY5" fmla="*/ 88107 h 133350"/>
              <a:gd name="connsiteX6" fmla="*/ 11906 w 40481"/>
              <a:gd name="connsiteY6" fmla="*/ 102394 h 133350"/>
              <a:gd name="connsiteX7" fmla="*/ 9525 w 40481"/>
              <a:gd name="connsiteY7" fmla="*/ 109538 h 133350"/>
              <a:gd name="connsiteX8" fmla="*/ 7144 w 40481"/>
              <a:gd name="connsiteY8" fmla="*/ 119063 h 133350"/>
              <a:gd name="connsiteX9" fmla="*/ 2381 w 40481"/>
              <a:gd name="connsiteY9" fmla="*/ 126207 h 133350"/>
              <a:gd name="connsiteX10" fmla="*/ 0 w 40481"/>
              <a:gd name="connsiteY10" fmla="*/ 133350 h 133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0481" h="133350">
                <a:moveTo>
                  <a:pt x="40481" y="0"/>
                </a:moveTo>
                <a:cubicBezTo>
                  <a:pt x="38894" y="3969"/>
                  <a:pt x="37631" y="8084"/>
                  <a:pt x="35719" y="11907"/>
                </a:cubicBezTo>
                <a:cubicBezTo>
                  <a:pt x="34439" y="14467"/>
                  <a:pt x="32118" y="16435"/>
                  <a:pt x="30956" y="19050"/>
                </a:cubicBezTo>
                <a:cubicBezTo>
                  <a:pt x="24541" y="33484"/>
                  <a:pt x="27141" y="32651"/>
                  <a:pt x="23813" y="47625"/>
                </a:cubicBezTo>
                <a:cubicBezTo>
                  <a:pt x="23268" y="50075"/>
                  <a:pt x="22040" y="52334"/>
                  <a:pt x="21431" y="54769"/>
                </a:cubicBezTo>
                <a:cubicBezTo>
                  <a:pt x="15064" y="80236"/>
                  <a:pt x="24073" y="51086"/>
                  <a:pt x="16669" y="88107"/>
                </a:cubicBezTo>
                <a:cubicBezTo>
                  <a:pt x="15684" y="93030"/>
                  <a:pt x="13494" y="97632"/>
                  <a:pt x="11906" y="102394"/>
                </a:cubicBezTo>
                <a:lnTo>
                  <a:pt x="9525" y="109538"/>
                </a:lnTo>
                <a:cubicBezTo>
                  <a:pt x="8490" y="112643"/>
                  <a:pt x="8433" y="116055"/>
                  <a:pt x="7144" y="119063"/>
                </a:cubicBezTo>
                <a:cubicBezTo>
                  <a:pt x="6017" y="121694"/>
                  <a:pt x="3969" y="123826"/>
                  <a:pt x="2381" y="126207"/>
                </a:cubicBezTo>
                <a:lnTo>
                  <a:pt x="0" y="133350"/>
                </a:ln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6" name="Блок-схема: узел 625"/>
          <p:cNvSpPr/>
          <p:nvPr/>
        </p:nvSpPr>
        <p:spPr bwMode="auto">
          <a:xfrm>
            <a:off x="1064078" y="3382004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grpSp>
        <p:nvGrpSpPr>
          <p:cNvPr id="16" name="Группа 327"/>
          <p:cNvGrpSpPr/>
          <p:nvPr/>
        </p:nvGrpSpPr>
        <p:grpSpPr>
          <a:xfrm>
            <a:off x="902664" y="3493093"/>
            <a:ext cx="125275" cy="96704"/>
            <a:chOff x="522949" y="4668152"/>
            <a:chExt cx="143209" cy="137630"/>
          </a:xfrm>
        </p:grpSpPr>
        <p:grpSp>
          <p:nvGrpSpPr>
            <p:cNvPr id="17" name="Группа 329"/>
            <p:cNvGrpSpPr/>
            <p:nvPr/>
          </p:nvGrpSpPr>
          <p:grpSpPr>
            <a:xfrm>
              <a:off x="522949" y="4668152"/>
              <a:ext cx="143209" cy="137630"/>
              <a:chOff x="592874" y="4636339"/>
              <a:chExt cx="143209" cy="137630"/>
            </a:xfrm>
          </p:grpSpPr>
          <p:sp>
            <p:nvSpPr>
              <p:cNvPr id="332" name="Полилиния 331"/>
              <p:cNvSpPr/>
              <p:nvPr/>
            </p:nvSpPr>
            <p:spPr>
              <a:xfrm>
                <a:off x="592874" y="466872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anchor="ctr"/>
              <a:lstStyle/>
              <a:p>
                <a:pPr algn="ctr" defTabSz="697774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  <p:sp>
            <p:nvSpPr>
              <p:cNvPr id="333" name="Полилиния 332"/>
              <p:cNvSpPr/>
              <p:nvPr/>
            </p:nvSpPr>
            <p:spPr>
              <a:xfrm>
                <a:off x="594554" y="470494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34" name="Полилиния 333"/>
              <p:cNvSpPr/>
              <p:nvPr/>
            </p:nvSpPr>
            <p:spPr>
              <a:xfrm>
                <a:off x="602164" y="4636339"/>
                <a:ext cx="133919" cy="69020"/>
              </a:xfrm>
              <a:custGeom>
                <a:avLst/>
                <a:gdLst>
                  <a:gd name="connsiteX0" fmla="*/ 0 w 123637"/>
                  <a:gd name="connsiteY0" fmla="*/ 2813 h 51753"/>
                  <a:gd name="connsiteX1" fmla="*/ 12879 w 123637"/>
                  <a:gd name="connsiteY1" fmla="*/ 238 h 51753"/>
                  <a:gd name="connsiteX2" fmla="*/ 20606 w 123637"/>
                  <a:gd name="connsiteY2" fmla="*/ 7965 h 51753"/>
                  <a:gd name="connsiteX3" fmla="*/ 33485 w 123637"/>
                  <a:gd name="connsiteY3" fmla="*/ 15692 h 51753"/>
                  <a:gd name="connsiteX4" fmla="*/ 48939 w 123637"/>
                  <a:gd name="connsiteY4" fmla="*/ 25995 h 51753"/>
                  <a:gd name="connsiteX5" fmla="*/ 59242 w 123637"/>
                  <a:gd name="connsiteY5" fmla="*/ 31147 h 51753"/>
                  <a:gd name="connsiteX6" fmla="*/ 66970 w 123637"/>
                  <a:gd name="connsiteY6" fmla="*/ 36298 h 51753"/>
                  <a:gd name="connsiteX7" fmla="*/ 77273 w 123637"/>
                  <a:gd name="connsiteY7" fmla="*/ 38874 h 51753"/>
                  <a:gd name="connsiteX8" fmla="*/ 92728 w 123637"/>
                  <a:gd name="connsiteY8" fmla="*/ 46601 h 51753"/>
                  <a:gd name="connsiteX9" fmla="*/ 123637 w 123637"/>
                  <a:gd name="connsiteY9" fmla="*/ 51753 h 517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23637" h="51753">
                    <a:moveTo>
                      <a:pt x="0" y="2813"/>
                    </a:moveTo>
                    <a:cubicBezTo>
                      <a:pt x="4293" y="1955"/>
                      <a:pt x="8632" y="-824"/>
                      <a:pt x="12879" y="238"/>
                    </a:cubicBezTo>
                    <a:cubicBezTo>
                      <a:pt x="16413" y="1122"/>
                      <a:pt x="17692" y="5780"/>
                      <a:pt x="20606" y="7965"/>
                    </a:cubicBezTo>
                    <a:cubicBezTo>
                      <a:pt x="24611" y="10969"/>
                      <a:pt x="29261" y="13004"/>
                      <a:pt x="33485" y="15692"/>
                    </a:cubicBezTo>
                    <a:cubicBezTo>
                      <a:pt x="38708" y="19016"/>
                      <a:pt x="43402" y="23226"/>
                      <a:pt x="48939" y="25995"/>
                    </a:cubicBezTo>
                    <a:cubicBezTo>
                      <a:pt x="52373" y="27712"/>
                      <a:pt x="55908" y="29242"/>
                      <a:pt x="59242" y="31147"/>
                    </a:cubicBezTo>
                    <a:cubicBezTo>
                      <a:pt x="61930" y="32683"/>
                      <a:pt x="64124" y="35079"/>
                      <a:pt x="66970" y="36298"/>
                    </a:cubicBezTo>
                    <a:cubicBezTo>
                      <a:pt x="70224" y="37692"/>
                      <a:pt x="73839" y="38015"/>
                      <a:pt x="77273" y="38874"/>
                    </a:cubicBezTo>
                    <a:cubicBezTo>
                      <a:pt x="83789" y="43218"/>
                      <a:pt x="85107" y="45077"/>
                      <a:pt x="92728" y="46601"/>
                    </a:cubicBezTo>
                    <a:cubicBezTo>
                      <a:pt x="102970" y="48649"/>
                      <a:pt x="123637" y="51753"/>
                      <a:pt x="123637" y="51753"/>
                    </a:cubicBezTo>
                  </a:path>
                </a:pathLst>
              </a:custGeom>
              <a:noFill/>
              <a:ln w="12700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31" name="Полилиния 330"/>
            <p:cNvSpPr/>
            <p:nvPr/>
          </p:nvSpPr>
          <p:spPr>
            <a:xfrm>
              <a:off x="529268" y="4702662"/>
              <a:ext cx="133919" cy="69020"/>
            </a:xfrm>
            <a:custGeom>
              <a:avLst/>
              <a:gdLst>
                <a:gd name="connsiteX0" fmla="*/ 0 w 123637"/>
                <a:gd name="connsiteY0" fmla="*/ 2813 h 51753"/>
                <a:gd name="connsiteX1" fmla="*/ 12879 w 123637"/>
                <a:gd name="connsiteY1" fmla="*/ 238 h 51753"/>
                <a:gd name="connsiteX2" fmla="*/ 20606 w 123637"/>
                <a:gd name="connsiteY2" fmla="*/ 7965 h 51753"/>
                <a:gd name="connsiteX3" fmla="*/ 33485 w 123637"/>
                <a:gd name="connsiteY3" fmla="*/ 15692 h 51753"/>
                <a:gd name="connsiteX4" fmla="*/ 48939 w 123637"/>
                <a:gd name="connsiteY4" fmla="*/ 25995 h 51753"/>
                <a:gd name="connsiteX5" fmla="*/ 59242 w 123637"/>
                <a:gd name="connsiteY5" fmla="*/ 31147 h 51753"/>
                <a:gd name="connsiteX6" fmla="*/ 66970 w 123637"/>
                <a:gd name="connsiteY6" fmla="*/ 36298 h 51753"/>
                <a:gd name="connsiteX7" fmla="*/ 77273 w 123637"/>
                <a:gd name="connsiteY7" fmla="*/ 38874 h 51753"/>
                <a:gd name="connsiteX8" fmla="*/ 92728 w 123637"/>
                <a:gd name="connsiteY8" fmla="*/ 46601 h 51753"/>
                <a:gd name="connsiteX9" fmla="*/ 123637 w 123637"/>
                <a:gd name="connsiteY9" fmla="*/ 51753 h 51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637" h="51753">
                  <a:moveTo>
                    <a:pt x="0" y="2813"/>
                  </a:moveTo>
                  <a:cubicBezTo>
                    <a:pt x="4293" y="1955"/>
                    <a:pt x="8632" y="-824"/>
                    <a:pt x="12879" y="238"/>
                  </a:cubicBezTo>
                  <a:cubicBezTo>
                    <a:pt x="16413" y="1122"/>
                    <a:pt x="17692" y="5780"/>
                    <a:pt x="20606" y="7965"/>
                  </a:cubicBezTo>
                  <a:cubicBezTo>
                    <a:pt x="24611" y="10969"/>
                    <a:pt x="29261" y="13004"/>
                    <a:pt x="33485" y="15692"/>
                  </a:cubicBezTo>
                  <a:cubicBezTo>
                    <a:pt x="38708" y="19016"/>
                    <a:pt x="43402" y="23226"/>
                    <a:pt x="48939" y="25995"/>
                  </a:cubicBezTo>
                  <a:cubicBezTo>
                    <a:pt x="52373" y="27712"/>
                    <a:pt x="55908" y="29242"/>
                    <a:pt x="59242" y="31147"/>
                  </a:cubicBezTo>
                  <a:cubicBezTo>
                    <a:pt x="61930" y="32683"/>
                    <a:pt x="64124" y="35079"/>
                    <a:pt x="66970" y="36298"/>
                  </a:cubicBezTo>
                  <a:cubicBezTo>
                    <a:pt x="70224" y="37692"/>
                    <a:pt x="73839" y="38015"/>
                    <a:pt x="77273" y="38874"/>
                  </a:cubicBezTo>
                  <a:cubicBezTo>
                    <a:pt x="83789" y="43218"/>
                    <a:pt x="85107" y="45077"/>
                    <a:pt x="92728" y="46601"/>
                  </a:cubicBezTo>
                  <a:cubicBezTo>
                    <a:pt x="102970" y="48649"/>
                    <a:pt x="123637" y="51753"/>
                    <a:pt x="123637" y="51753"/>
                  </a:cubicBezTo>
                </a:path>
              </a:pathLst>
            </a:custGeom>
            <a:noFill/>
            <a:ln w="12700">
              <a:solidFill>
                <a:schemeClr val="bg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287" tIns="53643" rIns="107287" bIns="53643" rtlCol="0" anchor="ctr"/>
            <a:lstStyle/>
            <a:p>
              <a:pPr algn="ctr"/>
              <a:endParaRPr lang="ru-RU"/>
            </a:p>
          </p:txBody>
        </p:sp>
      </p:grpSp>
      <p:sp>
        <p:nvSpPr>
          <p:cNvPr id="607" name="Блок-схема: узел 606"/>
          <p:cNvSpPr/>
          <p:nvPr/>
        </p:nvSpPr>
        <p:spPr bwMode="auto">
          <a:xfrm>
            <a:off x="794131" y="3455720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62" name="Блок-схема: узел 661"/>
          <p:cNvSpPr/>
          <p:nvPr/>
        </p:nvSpPr>
        <p:spPr bwMode="auto">
          <a:xfrm>
            <a:off x="993927" y="3530224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37" name="Блок-схема: узел 336"/>
          <p:cNvSpPr/>
          <p:nvPr/>
        </p:nvSpPr>
        <p:spPr bwMode="auto">
          <a:xfrm>
            <a:off x="4957811" y="4359357"/>
            <a:ext cx="12594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5752078" y="2247936"/>
            <a:ext cx="121100" cy="153964"/>
          </a:xfrm>
          <a:custGeom>
            <a:avLst/>
            <a:gdLst>
              <a:gd name="connsiteX0" fmla="*/ 0 w 138459"/>
              <a:gd name="connsiteY0" fmla="*/ 0 h 219075"/>
              <a:gd name="connsiteX1" fmla="*/ 90487 w 138459"/>
              <a:gd name="connsiteY1" fmla="*/ 14288 h 219075"/>
              <a:gd name="connsiteX2" fmla="*/ 119062 w 138459"/>
              <a:gd name="connsiteY2" fmla="*/ 57150 h 219075"/>
              <a:gd name="connsiteX3" fmla="*/ 138112 w 138459"/>
              <a:gd name="connsiteY3" fmla="*/ 100013 h 219075"/>
              <a:gd name="connsiteX4" fmla="*/ 128587 w 138459"/>
              <a:gd name="connsiteY4" fmla="*/ 171450 h 219075"/>
              <a:gd name="connsiteX5" fmla="*/ 95250 w 138459"/>
              <a:gd name="connsiteY5" fmla="*/ 195263 h 219075"/>
              <a:gd name="connsiteX6" fmla="*/ 66675 w 138459"/>
              <a:gd name="connsiteY6" fmla="*/ 209550 h 219075"/>
              <a:gd name="connsiteX7" fmla="*/ 52387 w 138459"/>
              <a:gd name="connsiteY7" fmla="*/ 219075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459" h="219075">
                <a:moveTo>
                  <a:pt x="0" y="0"/>
                </a:moveTo>
                <a:cubicBezTo>
                  <a:pt x="35321" y="2381"/>
                  <a:pt x="70643" y="4763"/>
                  <a:pt x="90487" y="14288"/>
                </a:cubicBezTo>
                <a:cubicBezTo>
                  <a:pt x="110331" y="23813"/>
                  <a:pt x="111125" y="42863"/>
                  <a:pt x="119062" y="57150"/>
                </a:cubicBezTo>
                <a:cubicBezTo>
                  <a:pt x="126999" y="71437"/>
                  <a:pt x="136525" y="80963"/>
                  <a:pt x="138112" y="100013"/>
                </a:cubicBezTo>
                <a:cubicBezTo>
                  <a:pt x="139699" y="119063"/>
                  <a:pt x="135731" y="155575"/>
                  <a:pt x="128587" y="171450"/>
                </a:cubicBezTo>
                <a:cubicBezTo>
                  <a:pt x="121443" y="187325"/>
                  <a:pt x="105569" y="188913"/>
                  <a:pt x="95250" y="195263"/>
                </a:cubicBezTo>
                <a:cubicBezTo>
                  <a:pt x="84931" y="201613"/>
                  <a:pt x="73819" y="205581"/>
                  <a:pt x="66675" y="209550"/>
                </a:cubicBezTo>
                <a:cubicBezTo>
                  <a:pt x="59531" y="213519"/>
                  <a:pt x="55959" y="216297"/>
                  <a:pt x="52387" y="219075"/>
                </a:cubicBezTo>
              </a:path>
            </a:pathLst>
          </a:custGeom>
          <a:noFill/>
          <a:ln w="1270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8" name="Блок-схема: узел 697"/>
          <p:cNvSpPr/>
          <p:nvPr/>
        </p:nvSpPr>
        <p:spPr bwMode="auto">
          <a:xfrm>
            <a:off x="5701909" y="2273665"/>
            <a:ext cx="125966" cy="101179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39" name="Полилиния 338"/>
          <p:cNvSpPr/>
          <p:nvPr/>
        </p:nvSpPr>
        <p:spPr>
          <a:xfrm>
            <a:off x="5753513" y="2247936"/>
            <a:ext cx="110092" cy="153964"/>
          </a:xfrm>
          <a:custGeom>
            <a:avLst/>
            <a:gdLst>
              <a:gd name="connsiteX0" fmla="*/ 0 w 138459"/>
              <a:gd name="connsiteY0" fmla="*/ 0 h 219075"/>
              <a:gd name="connsiteX1" fmla="*/ 90487 w 138459"/>
              <a:gd name="connsiteY1" fmla="*/ 14288 h 219075"/>
              <a:gd name="connsiteX2" fmla="*/ 119062 w 138459"/>
              <a:gd name="connsiteY2" fmla="*/ 57150 h 219075"/>
              <a:gd name="connsiteX3" fmla="*/ 138112 w 138459"/>
              <a:gd name="connsiteY3" fmla="*/ 100013 h 219075"/>
              <a:gd name="connsiteX4" fmla="*/ 128587 w 138459"/>
              <a:gd name="connsiteY4" fmla="*/ 171450 h 219075"/>
              <a:gd name="connsiteX5" fmla="*/ 95250 w 138459"/>
              <a:gd name="connsiteY5" fmla="*/ 195263 h 219075"/>
              <a:gd name="connsiteX6" fmla="*/ 66675 w 138459"/>
              <a:gd name="connsiteY6" fmla="*/ 209550 h 219075"/>
              <a:gd name="connsiteX7" fmla="*/ 52387 w 138459"/>
              <a:gd name="connsiteY7" fmla="*/ 219075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459" h="219075">
                <a:moveTo>
                  <a:pt x="0" y="0"/>
                </a:moveTo>
                <a:cubicBezTo>
                  <a:pt x="35321" y="2381"/>
                  <a:pt x="70643" y="4763"/>
                  <a:pt x="90487" y="14288"/>
                </a:cubicBezTo>
                <a:cubicBezTo>
                  <a:pt x="110331" y="23813"/>
                  <a:pt x="111125" y="42863"/>
                  <a:pt x="119062" y="57150"/>
                </a:cubicBezTo>
                <a:cubicBezTo>
                  <a:pt x="126999" y="71437"/>
                  <a:pt x="136525" y="80963"/>
                  <a:pt x="138112" y="100013"/>
                </a:cubicBezTo>
                <a:cubicBezTo>
                  <a:pt x="139699" y="119063"/>
                  <a:pt x="135731" y="155575"/>
                  <a:pt x="128587" y="171450"/>
                </a:cubicBezTo>
                <a:cubicBezTo>
                  <a:pt x="121443" y="187325"/>
                  <a:pt x="105569" y="188913"/>
                  <a:pt x="95250" y="195263"/>
                </a:cubicBezTo>
                <a:cubicBezTo>
                  <a:pt x="84931" y="201613"/>
                  <a:pt x="73819" y="205581"/>
                  <a:pt x="66675" y="209550"/>
                </a:cubicBezTo>
                <a:cubicBezTo>
                  <a:pt x="59531" y="213519"/>
                  <a:pt x="55959" y="216297"/>
                  <a:pt x="52387" y="219075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40" name="Полилиния 339"/>
          <p:cNvSpPr/>
          <p:nvPr/>
        </p:nvSpPr>
        <p:spPr>
          <a:xfrm>
            <a:off x="5760274" y="2224551"/>
            <a:ext cx="136918" cy="204123"/>
          </a:xfrm>
          <a:custGeom>
            <a:avLst/>
            <a:gdLst>
              <a:gd name="connsiteX0" fmla="*/ 0 w 138459"/>
              <a:gd name="connsiteY0" fmla="*/ 0 h 219075"/>
              <a:gd name="connsiteX1" fmla="*/ 90487 w 138459"/>
              <a:gd name="connsiteY1" fmla="*/ 14288 h 219075"/>
              <a:gd name="connsiteX2" fmla="*/ 119062 w 138459"/>
              <a:gd name="connsiteY2" fmla="*/ 57150 h 219075"/>
              <a:gd name="connsiteX3" fmla="*/ 138112 w 138459"/>
              <a:gd name="connsiteY3" fmla="*/ 100013 h 219075"/>
              <a:gd name="connsiteX4" fmla="*/ 128587 w 138459"/>
              <a:gd name="connsiteY4" fmla="*/ 171450 h 219075"/>
              <a:gd name="connsiteX5" fmla="*/ 95250 w 138459"/>
              <a:gd name="connsiteY5" fmla="*/ 195263 h 219075"/>
              <a:gd name="connsiteX6" fmla="*/ 66675 w 138459"/>
              <a:gd name="connsiteY6" fmla="*/ 209550 h 219075"/>
              <a:gd name="connsiteX7" fmla="*/ 52387 w 138459"/>
              <a:gd name="connsiteY7" fmla="*/ 219075 h 219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459" h="219075">
                <a:moveTo>
                  <a:pt x="0" y="0"/>
                </a:moveTo>
                <a:cubicBezTo>
                  <a:pt x="35321" y="2381"/>
                  <a:pt x="70643" y="4763"/>
                  <a:pt x="90487" y="14288"/>
                </a:cubicBezTo>
                <a:cubicBezTo>
                  <a:pt x="110331" y="23813"/>
                  <a:pt x="111125" y="42863"/>
                  <a:pt x="119062" y="57150"/>
                </a:cubicBezTo>
                <a:cubicBezTo>
                  <a:pt x="126999" y="71437"/>
                  <a:pt x="136525" y="80963"/>
                  <a:pt x="138112" y="100013"/>
                </a:cubicBezTo>
                <a:cubicBezTo>
                  <a:pt x="139699" y="119063"/>
                  <a:pt x="135731" y="155575"/>
                  <a:pt x="128587" y="171450"/>
                </a:cubicBezTo>
                <a:cubicBezTo>
                  <a:pt x="121443" y="187325"/>
                  <a:pt x="105569" y="188913"/>
                  <a:pt x="95250" y="195263"/>
                </a:cubicBezTo>
                <a:cubicBezTo>
                  <a:pt x="84931" y="201613"/>
                  <a:pt x="73819" y="205581"/>
                  <a:pt x="66675" y="209550"/>
                </a:cubicBezTo>
                <a:cubicBezTo>
                  <a:pt x="59531" y="213519"/>
                  <a:pt x="55959" y="216297"/>
                  <a:pt x="52387" y="2190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1" name="Блок-схема: узел 610"/>
          <p:cNvSpPr/>
          <p:nvPr/>
        </p:nvSpPr>
        <p:spPr bwMode="auto">
          <a:xfrm>
            <a:off x="3276673" y="2990444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6989206" y="3292218"/>
            <a:ext cx="93798" cy="137229"/>
          </a:xfrm>
          <a:custGeom>
            <a:avLst/>
            <a:gdLst>
              <a:gd name="connsiteX0" fmla="*/ 71438 w 107244"/>
              <a:gd name="connsiteY0" fmla="*/ 0 h 195263"/>
              <a:gd name="connsiteX1" fmla="*/ 104775 w 107244"/>
              <a:gd name="connsiteY1" fmla="*/ 57150 h 195263"/>
              <a:gd name="connsiteX2" fmla="*/ 104775 w 107244"/>
              <a:gd name="connsiteY2" fmla="*/ 71438 h 195263"/>
              <a:gd name="connsiteX3" fmla="*/ 104775 w 107244"/>
              <a:gd name="connsiteY3" fmla="*/ 90488 h 195263"/>
              <a:gd name="connsiteX4" fmla="*/ 104775 w 107244"/>
              <a:gd name="connsiteY4" fmla="*/ 109538 h 195263"/>
              <a:gd name="connsiteX5" fmla="*/ 95250 w 107244"/>
              <a:gd name="connsiteY5" fmla="*/ 133350 h 195263"/>
              <a:gd name="connsiteX6" fmla="*/ 80963 w 107244"/>
              <a:gd name="connsiteY6" fmla="*/ 161925 h 195263"/>
              <a:gd name="connsiteX7" fmla="*/ 71438 w 107244"/>
              <a:gd name="connsiteY7" fmla="*/ 161925 h 195263"/>
              <a:gd name="connsiteX8" fmla="*/ 66675 w 107244"/>
              <a:gd name="connsiteY8" fmla="*/ 176213 h 195263"/>
              <a:gd name="connsiteX9" fmla="*/ 57150 w 107244"/>
              <a:gd name="connsiteY9" fmla="*/ 176213 h 195263"/>
              <a:gd name="connsiteX10" fmla="*/ 38100 w 107244"/>
              <a:gd name="connsiteY10" fmla="*/ 185738 h 195263"/>
              <a:gd name="connsiteX11" fmla="*/ 19050 w 107244"/>
              <a:gd name="connsiteY11" fmla="*/ 190500 h 195263"/>
              <a:gd name="connsiteX12" fmla="*/ 0 w 107244"/>
              <a:gd name="connsiteY12" fmla="*/ 195263 h 1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244" h="195263">
                <a:moveTo>
                  <a:pt x="71438" y="0"/>
                </a:moveTo>
                <a:cubicBezTo>
                  <a:pt x="85328" y="22622"/>
                  <a:pt x="99219" y="45244"/>
                  <a:pt x="104775" y="57150"/>
                </a:cubicBezTo>
                <a:cubicBezTo>
                  <a:pt x="110331" y="69056"/>
                  <a:pt x="104775" y="71438"/>
                  <a:pt x="104775" y="71438"/>
                </a:cubicBezTo>
                <a:lnTo>
                  <a:pt x="104775" y="90488"/>
                </a:lnTo>
                <a:cubicBezTo>
                  <a:pt x="104775" y="96838"/>
                  <a:pt x="106363" y="102394"/>
                  <a:pt x="104775" y="109538"/>
                </a:cubicBezTo>
                <a:cubicBezTo>
                  <a:pt x="103188" y="116682"/>
                  <a:pt x="99219" y="124619"/>
                  <a:pt x="95250" y="133350"/>
                </a:cubicBezTo>
                <a:cubicBezTo>
                  <a:pt x="91281" y="142081"/>
                  <a:pt x="84932" y="157163"/>
                  <a:pt x="80963" y="161925"/>
                </a:cubicBezTo>
                <a:cubicBezTo>
                  <a:pt x="76994" y="166687"/>
                  <a:pt x="73819" y="159544"/>
                  <a:pt x="71438" y="161925"/>
                </a:cubicBezTo>
                <a:cubicBezTo>
                  <a:pt x="69057" y="164306"/>
                  <a:pt x="69056" y="173832"/>
                  <a:pt x="66675" y="176213"/>
                </a:cubicBezTo>
                <a:cubicBezTo>
                  <a:pt x="64294" y="178594"/>
                  <a:pt x="61912" y="174626"/>
                  <a:pt x="57150" y="176213"/>
                </a:cubicBezTo>
                <a:cubicBezTo>
                  <a:pt x="52388" y="177800"/>
                  <a:pt x="44450" y="183357"/>
                  <a:pt x="38100" y="185738"/>
                </a:cubicBezTo>
                <a:cubicBezTo>
                  <a:pt x="31750" y="188119"/>
                  <a:pt x="19050" y="190500"/>
                  <a:pt x="19050" y="190500"/>
                </a:cubicBezTo>
                <a:lnTo>
                  <a:pt x="0" y="195263"/>
                </a:ln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43" name="Полилиния 342"/>
          <p:cNvSpPr/>
          <p:nvPr/>
        </p:nvSpPr>
        <p:spPr>
          <a:xfrm>
            <a:off x="6976708" y="3289470"/>
            <a:ext cx="93798" cy="137229"/>
          </a:xfrm>
          <a:custGeom>
            <a:avLst/>
            <a:gdLst>
              <a:gd name="connsiteX0" fmla="*/ 71438 w 107244"/>
              <a:gd name="connsiteY0" fmla="*/ 0 h 195263"/>
              <a:gd name="connsiteX1" fmla="*/ 104775 w 107244"/>
              <a:gd name="connsiteY1" fmla="*/ 57150 h 195263"/>
              <a:gd name="connsiteX2" fmla="*/ 104775 w 107244"/>
              <a:gd name="connsiteY2" fmla="*/ 71438 h 195263"/>
              <a:gd name="connsiteX3" fmla="*/ 104775 w 107244"/>
              <a:gd name="connsiteY3" fmla="*/ 90488 h 195263"/>
              <a:gd name="connsiteX4" fmla="*/ 104775 w 107244"/>
              <a:gd name="connsiteY4" fmla="*/ 109538 h 195263"/>
              <a:gd name="connsiteX5" fmla="*/ 95250 w 107244"/>
              <a:gd name="connsiteY5" fmla="*/ 133350 h 195263"/>
              <a:gd name="connsiteX6" fmla="*/ 80963 w 107244"/>
              <a:gd name="connsiteY6" fmla="*/ 161925 h 195263"/>
              <a:gd name="connsiteX7" fmla="*/ 71438 w 107244"/>
              <a:gd name="connsiteY7" fmla="*/ 161925 h 195263"/>
              <a:gd name="connsiteX8" fmla="*/ 66675 w 107244"/>
              <a:gd name="connsiteY8" fmla="*/ 176213 h 195263"/>
              <a:gd name="connsiteX9" fmla="*/ 57150 w 107244"/>
              <a:gd name="connsiteY9" fmla="*/ 176213 h 195263"/>
              <a:gd name="connsiteX10" fmla="*/ 38100 w 107244"/>
              <a:gd name="connsiteY10" fmla="*/ 185738 h 195263"/>
              <a:gd name="connsiteX11" fmla="*/ 19050 w 107244"/>
              <a:gd name="connsiteY11" fmla="*/ 190500 h 195263"/>
              <a:gd name="connsiteX12" fmla="*/ 0 w 107244"/>
              <a:gd name="connsiteY12" fmla="*/ 195263 h 1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244" h="195263">
                <a:moveTo>
                  <a:pt x="71438" y="0"/>
                </a:moveTo>
                <a:cubicBezTo>
                  <a:pt x="85328" y="22622"/>
                  <a:pt x="99219" y="45244"/>
                  <a:pt x="104775" y="57150"/>
                </a:cubicBezTo>
                <a:cubicBezTo>
                  <a:pt x="110331" y="69056"/>
                  <a:pt x="104775" y="71438"/>
                  <a:pt x="104775" y="71438"/>
                </a:cubicBezTo>
                <a:lnTo>
                  <a:pt x="104775" y="90488"/>
                </a:lnTo>
                <a:cubicBezTo>
                  <a:pt x="104775" y="96838"/>
                  <a:pt x="106363" y="102394"/>
                  <a:pt x="104775" y="109538"/>
                </a:cubicBezTo>
                <a:cubicBezTo>
                  <a:pt x="103188" y="116682"/>
                  <a:pt x="99219" y="124619"/>
                  <a:pt x="95250" y="133350"/>
                </a:cubicBezTo>
                <a:cubicBezTo>
                  <a:pt x="91281" y="142081"/>
                  <a:pt x="84932" y="157163"/>
                  <a:pt x="80963" y="161925"/>
                </a:cubicBezTo>
                <a:cubicBezTo>
                  <a:pt x="76994" y="166687"/>
                  <a:pt x="73819" y="159544"/>
                  <a:pt x="71438" y="161925"/>
                </a:cubicBezTo>
                <a:cubicBezTo>
                  <a:pt x="69057" y="164306"/>
                  <a:pt x="69056" y="173832"/>
                  <a:pt x="66675" y="176213"/>
                </a:cubicBezTo>
                <a:cubicBezTo>
                  <a:pt x="64294" y="178594"/>
                  <a:pt x="61912" y="174626"/>
                  <a:pt x="57150" y="176213"/>
                </a:cubicBezTo>
                <a:cubicBezTo>
                  <a:pt x="52388" y="177800"/>
                  <a:pt x="44450" y="183357"/>
                  <a:pt x="38100" y="185738"/>
                </a:cubicBezTo>
                <a:cubicBezTo>
                  <a:pt x="31750" y="188119"/>
                  <a:pt x="19050" y="190500"/>
                  <a:pt x="19050" y="190500"/>
                </a:cubicBezTo>
                <a:lnTo>
                  <a:pt x="0" y="195263"/>
                </a:lnTo>
              </a:path>
            </a:pathLst>
          </a:cu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45" name="Полилиния 344"/>
          <p:cNvSpPr/>
          <p:nvPr/>
        </p:nvSpPr>
        <p:spPr>
          <a:xfrm>
            <a:off x="7004649" y="3281512"/>
            <a:ext cx="96358" cy="166305"/>
          </a:xfrm>
          <a:custGeom>
            <a:avLst/>
            <a:gdLst>
              <a:gd name="connsiteX0" fmla="*/ 71438 w 107244"/>
              <a:gd name="connsiteY0" fmla="*/ 0 h 195263"/>
              <a:gd name="connsiteX1" fmla="*/ 104775 w 107244"/>
              <a:gd name="connsiteY1" fmla="*/ 57150 h 195263"/>
              <a:gd name="connsiteX2" fmla="*/ 104775 w 107244"/>
              <a:gd name="connsiteY2" fmla="*/ 71438 h 195263"/>
              <a:gd name="connsiteX3" fmla="*/ 104775 w 107244"/>
              <a:gd name="connsiteY3" fmla="*/ 90488 h 195263"/>
              <a:gd name="connsiteX4" fmla="*/ 104775 w 107244"/>
              <a:gd name="connsiteY4" fmla="*/ 109538 h 195263"/>
              <a:gd name="connsiteX5" fmla="*/ 95250 w 107244"/>
              <a:gd name="connsiteY5" fmla="*/ 133350 h 195263"/>
              <a:gd name="connsiteX6" fmla="*/ 80963 w 107244"/>
              <a:gd name="connsiteY6" fmla="*/ 161925 h 195263"/>
              <a:gd name="connsiteX7" fmla="*/ 71438 w 107244"/>
              <a:gd name="connsiteY7" fmla="*/ 161925 h 195263"/>
              <a:gd name="connsiteX8" fmla="*/ 66675 w 107244"/>
              <a:gd name="connsiteY8" fmla="*/ 176213 h 195263"/>
              <a:gd name="connsiteX9" fmla="*/ 57150 w 107244"/>
              <a:gd name="connsiteY9" fmla="*/ 176213 h 195263"/>
              <a:gd name="connsiteX10" fmla="*/ 38100 w 107244"/>
              <a:gd name="connsiteY10" fmla="*/ 185738 h 195263"/>
              <a:gd name="connsiteX11" fmla="*/ 19050 w 107244"/>
              <a:gd name="connsiteY11" fmla="*/ 190500 h 195263"/>
              <a:gd name="connsiteX12" fmla="*/ 0 w 107244"/>
              <a:gd name="connsiteY12" fmla="*/ 195263 h 195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7244" h="195263">
                <a:moveTo>
                  <a:pt x="71438" y="0"/>
                </a:moveTo>
                <a:cubicBezTo>
                  <a:pt x="85328" y="22622"/>
                  <a:pt x="99219" y="45244"/>
                  <a:pt x="104775" y="57150"/>
                </a:cubicBezTo>
                <a:cubicBezTo>
                  <a:pt x="110331" y="69056"/>
                  <a:pt x="104775" y="71438"/>
                  <a:pt x="104775" y="71438"/>
                </a:cubicBezTo>
                <a:lnTo>
                  <a:pt x="104775" y="90488"/>
                </a:lnTo>
                <a:cubicBezTo>
                  <a:pt x="104775" y="96838"/>
                  <a:pt x="106363" y="102394"/>
                  <a:pt x="104775" y="109538"/>
                </a:cubicBezTo>
                <a:cubicBezTo>
                  <a:pt x="103188" y="116682"/>
                  <a:pt x="99219" y="124619"/>
                  <a:pt x="95250" y="133350"/>
                </a:cubicBezTo>
                <a:cubicBezTo>
                  <a:pt x="91281" y="142081"/>
                  <a:pt x="84932" y="157163"/>
                  <a:pt x="80963" y="161925"/>
                </a:cubicBezTo>
                <a:cubicBezTo>
                  <a:pt x="76994" y="166687"/>
                  <a:pt x="73819" y="159544"/>
                  <a:pt x="71438" y="161925"/>
                </a:cubicBezTo>
                <a:cubicBezTo>
                  <a:pt x="69057" y="164306"/>
                  <a:pt x="69056" y="173832"/>
                  <a:pt x="66675" y="176213"/>
                </a:cubicBezTo>
                <a:cubicBezTo>
                  <a:pt x="64294" y="178594"/>
                  <a:pt x="61912" y="174626"/>
                  <a:pt x="57150" y="176213"/>
                </a:cubicBezTo>
                <a:cubicBezTo>
                  <a:pt x="52388" y="177800"/>
                  <a:pt x="44450" y="183357"/>
                  <a:pt x="38100" y="185738"/>
                </a:cubicBezTo>
                <a:cubicBezTo>
                  <a:pt x="31750" y="188119"/>
                  <a:pt x="19050" y="190500"/>
                  <a:pt x="19050" y="190500"/>
                </a:cubicBezTo>
                <a:lnTo>
                  <a:pt x="0" y="195263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93" name="Блок-схема: узел 592"/>
          <p:cNvSpPr/>
          <p:nvPr/>
        </p:nvSpPr>
        <p:spPr bwMode="auto">
          <a:xfrm>
            <a:off x="6907218" y="3293291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олилиния 4"/>
          <p:cNvSpPr/>
          <p:nvPr/>
        </p:nvSpPr>
        <p:spPr>
          <a:xfrm>
            <a:off x="1165952" y="1601952"/>
            <a:ext cx="258256" cy="56947"/>
          </a:xfrm>
          <a:custGeom>
            <a:avLst/>
            <a:gdLst>
              <a:gd name="connsiteX0" fmla="*/ 0 w 295275"/>
              <a:gd name="connsiteY0" fmla="*/ 0 h 81029"/>
              <a:gd name="connsiteX1" fmla="*/ 47625 w 295275"/>
              <a:gd name="connsiteY1" fmla="*/ 52387 h 81029"/>
              <a:gd name="connsiteX2" fmla="*/ 76200 w 295275"/>
              <a:gd name="connsiteY2" fmla="*/ 66675 h 81029"/>
              <a:gd name="connsiteX3" fmla="*/ 104775 w 295275"/>
              <a:gd name="connsiteY3" fmla="*/ 61912 h 81029"/>
              <a:gd name="connsiteX4" fmla="*/ 138113 w 295275"/>
              <a:gd name="connsiteY4" fmla="*/ 66675 h 81029"/>
              <a:gd name="connsiteX5" fmla="*/ 180975 w 295275"/>
              <a:gd name="connsiteY5" fmla="*/ 80962 h 81029"/>
              <a:gd name="connsiteX6" fmla="*/ 219075 w 295275"/>
              <a:gd name="connsiteY6" fmla="*/ 71437 h 81029"/>
              <a:gd name="connsiteX7" fmla="*/ 252413 w 295275"/>
              <a:gd name="connsiteY7" fmla="*/ 57150 h 81029"/>
              <a:gd name="connsiteX8" fmla="*/ 295275 w 295275"/>
              <a:gd name="connsiteY8" fmla="*/ 57150 h 8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275" h="81029">
                <a:moveTo>
                  <a:pt x="0" y="0"/>
                </a:moveTo>
                <a:cubicBezTo>
                  <a:pt x="17462" y="20637"/>
                  <a:pt x="34925" y="41275"/>
                  <a:pt x="47625" y="52387"/>
                </a:cubicBezTo>
                <a:cubicBezTo>
                  <a:pt x="60325" y="63499"/>
                  <a:pt x="66675" y="65088"/>
                  <a:pt x="76200" y="66675"/>
                </a:cubicBezTo>
                <a:cubicBezTo>
                  <a:pt x="85725" y="68263"/>
                  <a:pt x="94456" y="61912"/>
                  <a:pt x="104775" y="61912"/>
                </a:cubicBezTo>
                <a:cubicBezTo>
                  <a:pt x="115094" y="61912"/>
                  <a:pt x="125413" y="63500"/>
                  <a:pt x="138113" y="66675"/>
                </a:cubicBezTo>
                <a:cubicBezTo>
                  <a:pt x="150813" y="69850"/>
                  <a:pt x="167481" y="80168"/>
                  <a:pt x="180975" y="80962"/>
                </a:cubicBezTo>
                <a:cubicBezTo>
                  <a:pt x="194469" y="81756"/>
                  <a:pt x="207169" y="75406"/>
                  <a:pt x="219075" y="71437"/>
                </a:cubicBezTo>
                <a:cubicBezTo>
                  <a:pt x="230981" y="67468"/>
                  <a:pt x="239713" y="59531"/>
                  <a:pt x="252413" y="57150"/>
                </a:cubicBezTo>
                <a:cubicBezTo>
                  <a:pt x="265113" y="54769"/>
                  <a:pt x="280194" y="55959"/>
                  <a:pt x="295275" y="57150"/>
                </a:cubicBezTo>
              </a:path>
            </a:pathLst>
          </a:custGeom>
          <a:noFill/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54" name="Полилиния 253"/>
          <p:cNvSpPr/>
          <p:nvPr/>
        </p:nvSpPr>
        <p:spPr>
          <a:xfrm>
            <a:off x="1182152" y="1592487"/>
            <a:ext cx="258256" cy="56947"/>
          </a:xfrm>
          <a:custGeom>
            <a:avLst/>
            <a:gdLst>
              <a:gd name="connsiteX0" fmla="*/ 0 w 295275"/>
              <a:gd name="connsiteY0" fmla="*/ 0 h 81029"/>
              <a:gd name="connsiteX1" fmla="*/ 47625 w 295275"/>
              <a:gd name="connsiteY1" fmla="*/ 52387 h 81029"/>
              <a:gd name="connsiteX2" fmla="*/ 76200 w 295275"/>
              <a:gd name="connsiteY2" fmla="*/ 66675 h 81029"/>
              <a:gd name="connsiteX3" fmla="*/ 104775 w 295275"/>
              <a:gd name="connsiteY3" fmla="*/ 61912 h 81029"/>
              <a:gd name="connsiteX4" fmla="*/ 138113 w 295275"/>
              <a:gd name="connsiteY4" fmla="*/ 66675 h 81029"/>
              <a:gd name="connsiteX5" fmla="*/ 180975 w 295275"/>
              <a:gd name="connsiteY5" fmla="*/ 80962 h 81029"/>
              <a:gd name="connsiteX6" fmla="*/ 219075 w 295275"/>
              <a:gd name="connsiteY6" fmla="*/ 71437 h 81029"/>
              <a:gd name="connsiteX7" fmla="*/ 252413 w 295275"/>
              <a:gd name="connsiteY7" fmla="*/ 57150 h 81029"/>
              <a:gd name="connsiteX8" fmla="*/ 295275 w 295275"/>
              <a:gd name="connsiteY8" fmla="*/ 57150 h 8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275" h="81029">
                <a:moveTo>
                  <a:pt x="0" y="0"/>
                </a:moveTo>
                <a:cubicBezTo>
                  <a:pt x="17462" y="20637"/>
                  <a:pt x="34925" y="41275"/>
                  <a:pt x="47625" y="52387"/>
                </a:cubicBezTo>
                <a:cubicBezTo>
                  <a:pt x="60325" y="63499"/>
                  <a:pt x="66675" y="65088"/>
                  <a:pt x="76200" y="66675"/>
                </a:cubicBezTo>
                <a:cubicBezTo>
                  <a:pt x="85725" y="68263"/>
                  <a:pt x="94456" y="61912"/>
                  <a:pt x="104775" y="61912"/>
                </a:cubicBezTo>
                <a:cubicBezTo>
                  <a:pt x="115094" y="61912"/>
                  <a:pt x="125413" y="63500"/>
                  <a:pt x="138113" y="66675"/>
                </a:cubicBezTo>
                <a:cubicBezTo>
                  <a:pt x="150813" y="69850"/>
                  <a:pt x="167481" y="80168"/>
                  <a:pt x="180975" y="80962"/>
                </a:cubicBezTo>
                <a:cubicBezTo>
                  <a:pt x="194469" y="81756"/>
                  <a:pt x="207169" y="75406"/>
                  <a:pt x="219075" y="71437"/>
                </a:cubicBezTo>
                <a:cubicBezTo>
                  <a:pt x="230981" y="67468"/>
                  <a:pt x="239713" y="59531"/>
                  <a:pt x="252413" y="57150"/>
                </a:cubicBezTo>
                <a:cubicBezTo>
                  <a:pt x="265113" y="54769"/>
                  <a:pt x="280194" y="55959"/>
                  <a:pt x="295275" y="5715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55" name="Полилиния 254"/>
          <p:cNvSpPr/>
          <p:nvPr/>
        </p:nvSpPr>
        <p:spPr>
          <a:xfrm>
            <a:off x="1169489" y="1617200"/>
            <a:ext cx="258256" cy="56947"/>
          </a:xfrm>
          <a:custGeom>
            <a:avLst/>
            <a:gdLst>
              <a:gd name="connsiteX0" fmla="*/ 0 w 295275"/>
              <a:gd name="connsiteY0" fmla="*/ 0 h 81029"/>
              <a:gd name="connsiteX1" fmla="*/ 47625 w 295275"/>
              <a:gd name="connsiteY1" fmla="*/ 52387 h 81029"/>
              <a:gd name="connsiteX2" fmla="*/ 76200 w 295275"/>
              <a:gd name="connsiteY2" fmla="*/ 66675 h 81029"/>
              <a:gd name="connsiteX3" fmla="*/ 104775 w 295275"/>
              <a:gd name="connsiteY3" fmla="*/ 61912 h 81029"/>
              <a:gd name="connsiteX4" fmla="*/ 138113 w 295275"/>
              <a:gd name="connsiteY4" fmla="*/ 66675 h 81029"/>
              <a:gd name="connsiteX5" fmla="*/ 180975 w 295275"/>
              <a:gd name="connsiteY5" fmla="*/ 80962 h 81029"/>
              <a:gd name="connsiteX6" fmla="*/ 219075 w 295275"/>
              <a:gd name="connsiteY6" fmla="*/ 71437 h 81029"/>
              <a:gd name="connsiteX7" fmla="*/ 252413 w 295275"/>
              <a:gd name="connsiteY7" fmla="*/ 57150 h 81029"/>
              <a:gd name="connsiteX8" fmla="*/ 295275 w 295275"/>
              <a:gd name="connsiteY8" fmla="*/ 57150 h 81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275" h="81029">
                <a:moveTo>
                  <a:pt x="0" y="0"/>
                </a:moveTo>
                <a:cubicBezTo>
                  <a:pt x="17462" y="20637"/>
                  <a:pt x="34925" y="41275"/>
                  <a:pt x="47625" y="52387"/>
                </a:cubicBezTo>
                <a:cubicBezTo>
                  <a:pt x="60325" y="63499"/>
                  <a:pt x="66675" y="65088"/>
                  <a:pt x="76200" y="66675"/>
                </a:cubicBezTo>
                <a:cubicBezTo>
                  <a:pt x="85725" y="68263"/>
                  <a:pt x="94456" y="61912"/>
                  <a:pt x="104775" y="61912"/>
                </a:cubicBezTo>
                <a:cubicBezTo>
                  <a:pt x="115094" y="61912"/>
                  <a:pt x="125413" y="63500"/>
                  <a:pt x="138113" y="66675"/>
                </a:cubicBezTo>
                <a:cubicBezTo>
                  <a:pt x="150813" y="69850"/>
                  <a:pt x="167481" y="80168"/>
                  <a:pt x="180975" y="80962"/>
                </a:cubicBezTo>
                <a:cubicBezTo>
                  <a:pt x="194469" y="81756"/>
                  <a:pt x="207169" y="75406"/>
                  <a:pt x="219075" y="71437"/>
                </a:cubicBezTo>
                <a:cubicBezTo>
                  <a:pt x="230981" y="67468"/>
                  <a:pt x="239713" y="59531"/>
                  <a:pt x="252413" y="57150"/>
                </a:cubicBezTo>
                <a:cubicBezTo>
                  <a:pt x="265113" y="54769"/>
                  <a:pt x="280194" y="55959"/>
                  <a:pt x="295275" y="5715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9" name="Блок-схема: узел 618"/>
          <p:cNvSpPr/>
          <p:nvPr/>
        </p:nvSpPr>
        <p:spPr bwMode="auto">
          <a:xfrm>
            <a:off x="1107669" y="1562627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2" name="Полилиния 261"/>
          <p:cNvSpPr/>
          <p:nvPr/>
        </p:nvSpPr>
        <p:spPr>
          <a:xfrm>
            <a:off x="1437872" y="1682924"/>
            <a:ext cx="101544" cy="142808"/>
          </a:xfrm>
          <a:custGeom>
            <a:avLst/>
            <a:gdLst>
              <a:gd name="connsiteX0" fmla="*/ 0 w 107169"/>
              <a:gd name="connsiteY0" fmla="*/ 0 h 152400"/>
              <a:gd name="connsiteX1" fmla="*/ 7143 w 107169"/>
              <a:gd name="connsiteY1" fmla="*/ 26194 h 152400"/>
              <a:gd name="connsiteX2" fmla="*/ 9525 w 107169"/>
              <a:gd name="connsiteY2" fmla="*/ 33338 h 152400"/>
              <a:gd name="connsiteX3" fmla="*/ 19050 w 107169"/>
              <a:gd name="connsiteY3" fmla="*/ 47625 h 152400"/>
              <a:gd name="connsiteX4" fmla="*/ 23812 w 107169"/>
              <a:gd name="connsiteY4" fmla="*/ 54769 h 152400"/>
              <a:gd name="connsiteX5" fmla="*/ 26193 w 107169"/>
              <a:gd name="connsiteY5" fmla="*/ 61913 h 152400"/>
              <a:gd name="connsiteX6" fmla="*/ 33337 w 107169"/>
              <a:gd name="connsiteY6" fmla="*/ 66675 h 152400"/>
              <a:gd name="connsiteX7" fmla="*/ 47625 w 107169"/>
              <a:gd name="connsiteY7" fmla="*/ 78581 h 152400"/>
              <a:gd name="connsiteX8" fmla="*/ 52387 w 107169"/>
              <a:gd name="connsiteY8" fmla="*/ 85725 h 152400"/>
              <a:gd name="connsiteX9" fmla="*/ 59531 w 107169"/>
              <a:gd name="connsiteY9" fmla="*/ 90488 h 152400"/>
              <a:gd name="connsiteX10" fmla="*/ 61912 w 107169"/>
              <a:gd name="connsiteY10" fmla="*/ 97631 h 152400"/>
              <a:gd name="connsiteX11" fmla="*/ 78581 w 107169"/>
              <a:gd name="connsiteY11" fmla="*/ 109538 h 152400"/>
              <a:gd name="connsiteX12" fmla="*/ 80962 w 107169"/>
              <a:gd name="connsiteY12" fmla="*/ 116681 h 152400"/>
              <a:gd name="connsiteX13" fmla="*/ 92868 w 107169"/>
              <a:gd name="connsiteY13" fmla="*/ 130969 h 152400"/>
              <a:gd name="connsiteX14" fmla="*/ 97631 w 107169"/>
              <a:gd name="connsiteY14" fmla="*/ 138113 h 152400"/>
              <a:gd name="connsiteX15" fmla="*/ 100012 w 107169"/>
              <a:gd name="connsiteY15" fmla="*/ 145256 h 152400"/>
              <a:gd name="connsiteX16" fmla="*/ 107156 w 107169"/>
              <a:gd name="connsiteY16" fmla="*/ 15240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7169" h="152400">
                <a:moveTo>
                  <a:pt x="0" y="0"/>
                </a:moveTo>
                <a:cubicBezTo>
                  <a:pt x="3364" y="16824"/>
                  <a:pt x="1103" y="8073"/>
                  <a:pt x="7143" y="26194"/>
                </a:cubicBezTo>
                <a:cubicBezTo>
                  <a:pt x="7937" y="28575"/>
                  <a:pt x="8133" y="31249"/>
                  <a:pt x="9525" y="33338"/>
                </a:cubicBezTo>
                <a:lnTo>
                  <a:pt x="19050" y="47625"/>
                </a:lnTo>
                <a:cubicBezTo>
                  <a:pt x="20637" y="50006"/>
                  <a:pt x="22907" y="52054"/>
                  <a:pt x="23812" y="54769"/>
                </a:cubicBezTo>
                <a:cubicBezTo>
                  <a:pt x="24606" y="57150"/>
                  <a:pt x="24625" y="59953"/>
                  <a:pt x="26193" y="61913"/>
                </a:cubicBezTo>
                <a:cubicBezTo>
                  <a:pt x="27981" y="64148"/>
                  <a:pt x="31138" y="64843"/>
                  <a:pt x="33337" y="66675"/>
                </a:cubicBezTo>
                <a:cubicBezTo>
                  <a:pt x="51672" y="81954"/>
                  <a:pt x="29888" y="66758"/>
                  <a:pt x="47625" y="78581"/>
                </a:cubicBezTo>
                <a:cubicBezTo>
                  <a:pt x="49212" y="80962"/>
                  <a:pt x="50363" y="83701"/>
                  <a:pt x="52387" y="85725"/>
                </a:cubicBezTo>
                <a:cubicBezTo>
                  <a:pt x="54411" y="87749"/>
                  <a:pt x="57743" y="88253"/>
                  <a:pt x="59531" y="90488"/>
                </a:cubicBezTo>
                <a:cubicBezTo>
                  <a:pt x="61099" y="92448"/>
                  <a:pt x="60453" y="95589"/>
                  <a:pt x="61912" y="97631"/>
                </a:cubicBezTo>
                <a:cubicBezTo>
                  <a:pt x="68974" y="107518"/>
                  <a:pt x="69546" y="106526"/>
                  <a:pt x="78581" y="109538"/>
                </a:cubicBezTo>
                <a:cubicBezTo>
                  <a:pt x="79375" y="111919"/>
                  <a:pt x="79840" y="114436"/>
                  <a:pt x="80962" y="116681"/>
                </a:cubicBezTo>
                <a:cubicBezTo>
                  <a:pt x="85395" y="125547"/>
                  <a:pt x="86287" y="123071"/>
                  <a:pt x="92868" y="130969"/>
                </a:cubicBezTo>
                <a:cubicBezTo>
                  <a:pt x="94700" y="133168"/>
                  <a:pt x="96043" y="135732"/>
                  <a:pt x="97631" y="138113"/>
                </a:cubicBezTo>
                <a:cubicBezTo>
                  <a:pt x="98425" y="140494"/>
                  <a:pt x="98444" y="143296"/>
                  <a:pt x="100012" y="145256"/>
                </a:cubicBezTo>
                <a:cubicBezTo>
                  <a:pt x="107816" y="155011"/>
                  <a:pt x="107156" y="145895"/>
                  <a:pt x="107156" y="1524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3" name="Полилиния 262"/>
          <p:cNvSpPr/>
          <p:nvPr/>
        </p:nvSpPr>
        <p:spPr>
          <a:xfrm>
            <a:off x="1468883" y="1669999"/>
            <a:ext cx="101544" cy="142808"/>
          </a:xfrm>
          <a:custGeom>
            <a:avLst/>
            <a:gdLst>
              <a:gd name="connsiteX0" fmla="*/ 0 w 107169"/>
              <a:gd name="connsiteY0" fmla="*/ 0 h 152400"/>
              <a:gd name="connsiteX1" fmla="*/ 7143 w 107169"/>
              <a:gd name="connsiteY1" fmla="*/ 26194 h 152400"/>
              <a:gd name="connsiteX2" fmla="*/ 9525 w 107169"/>
              <a:gd name="connsiteY2" fmla="*/ 33338 h 152400"/>
              <a:gd name="connsiteX3" fmla="*/ 19050 w 107169"/>
              <a:gd name="connsiteY3" fmla="*/ 47625 h 152400"/>
              <a:gd name="connsiteX4" fmla="*/ 23812 w 107169"/>
              <a:gd name="connsiteY4" fmla="*/ 54769 h 152400"/>
              <a:gd name="connsiteX5" fmla="*/ 26193 w 107169"/>
              <a:gd name="connsiteY5" fmla="*/ 61913 h 152400"/>
              <a:gd name="connsiteX6" fmla="*/ 33337 w 107169"/>
              <a:gd name="connsiteY6" fmla="*/ 66675 h 152400"/>
              <a:gd name="connsiteX7" fmla="*/ 47625 w 107169"/>
              <a:gd name="connsiteY7" fmla="*/ 78581 h 152400"/>
              <a:gd name="connsiteX8" fmla="*/ 52387 w 107169"/>
              <a:gd name="connsiteY8" fmla="*/ 85725 h 152400"/>
              <a:gd name="connsiteX9" fmla="*/ 59531 w 107169"/>
              <a:gd name="connsiteY9" fmla="*/ 90488 h 152400"/>
              <a:gd name="connsiteX10" fmla="*/ 61912 w 107169"/>
              <a:gd name="connsiteY10" fmla="*/ 97631 h 152400"/>
              <a:gd name="connsiteX11" fmla="*/ 78581 w 107169"/>
              <a:gd name="connsiteY11" fmla="*/ 109538 h 152400"/>
              <a:gd name="connsiteX12" fmla="*/ 80962 w 107169"/>
              <a:gd name="connsiteY12" fmla="*/ 116681 h 152400"/>
              <a:gd name="connsiteX13" fmla="*/ 92868 w 107169"/>
              <a:gd name="connsiteY13" fmla="*/ 130969 h 152400"/>
              <a:gd name="connsiteX14" fmla="*/ 97631 w 107169"/>
              <a:gd name="connsiteY14" fmla="*/ 138113 h 152400"/>
              <a:gd name="connsiteX15" fmla="*/ 100012 w 107169"/>
              <a:gd name="connsiteY15" fmla="*/ 145256 h 152400"/>
              <a:gd name="connsiteX16" fmla="*/ 107156 w 107169"/>
              <a:gd name="connsiteY16" fmla="*/ 152400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7169" h="152400">
                <a:moveTo>
                  <a:pt x="0" y="0"/>
                </a:moveTo>
                <a:cubicBezTo>
                  <a:pt x="3364" y="16824"/>
                  <a:pt x="1103" y="8073"/>
                  <a:pt x="7143" y="26194"/>
                </a:cubicBezTo>
                <a:cubicBezTo>
                  <a:pt x="7937" y="28575"/>
                  <a:pt x="8133" y="31249"/>
                  <a:pt x="9525" y="33338"/>
                </a:cubicBezTo>
                <a:lnTo>
                  <a:pt x="19050" y="47625"/>
                </a:lnTo>
                <a:cubicBezTo>
                  <a:pt x="20637" y="50006"/>
                  <a:pt x="22907" y="52054"/>
                  <a:pt x="23812" y="54769"/>
                </a:cubicBezTo>
                <a:cubicBezTo>
                  <a:pt x="24606" y="57150"/>
                  <a:pt x="24625" y="59953"/>
                  <a:pt x="26193" y="61913"/>
                </a:cubicBezTo>
                <a:cubicBezTo>
                  <a:pt x="27981" y="64148"/>
                  <a:pt x="31138" y="64843"/>
                  <a:pt x="33337" y="66675"/>
                </a:cubicBezTo>
                <a:cubicBezTo>
                  <a:pt x="51672" y="81954"/>
                  <a:pt x="29888" y="66758"/>
                  <a:pt x="47625" y="78581"/>
                </a:cubicBezTo>
                <a:cubicBezTo>
                  <a:pt x="49212" y="80962"/>
                  <a:pt x="50363" y="83701"/>
                  <a:pt x="52387" y="85725"/>
                </a:cubicBezTo>
                <a:cubicBezTo>
                  <a:pt x="54411" y="87749"/>
                  <a:pt x="57743" y="88253"/>
                  <a:pt x="59531" y="90488"/>
                </a:cubicBezTo>
                <a:cubicBezTo>
                  <a:pt x="61099" y="92448"/>
                  <a:pt x="60453" y="95589"/>
                  <a:pt x="61912" y="97631"/>
                </a:cubicBezTo>
                <a:cubicBezTo>
                  <a:pt x="68974" y="107518"/>
                  <a:pt x="69546" y="106526"/>
                  <a:pt x="78581" y="109538"/>
                </a:cubicBezTo>
                <a:cubicBezTo>
                  <a:pt x="79375" y="111919"/>
                  <a:pt x="79840" y="114436"/>
                  <a:pt x="80962" y="116681"/>
                </a:cubicBezTo>
                <a:cubicBezTo>
                  <a:pt x="85395" y="125547"/>
                  <a:pt x="86287" y="123071"/>
                  <a:pt x="92868" y="130969"/>
                </a:cubicBezTo>
                <a:cubicBezTo>
                  <a:pt x="94700" y="133168"/>
                  <a:pt x="96043" y="135732"/>
                  <a:pt x="97631" y="138113"/>
                </a:cubicBezTo>
                <a:cubicBezTo>
                  <a:pt x="98425" y="140494"/>
                  <a:pt x="98444" y="143296"/>
                  <a:pt x="100012" y="145256"/>
                </a:cubicBezTo>
                <a:cubicBezTo>
                  <a:pt x="107816" y="155011"/>
                  <a:pt x="107156" y="145895"/>
                  <a:pt x="107156" y="1524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3" name="Блок-схема: узел 632"/>
          <p:cNvSpPr/>
          <p:nvPr/>
        </p:nvSpPr>
        <p:spPr bwMode="auto">
          <a:xfrm>
            <a:off x="1372893" y="1596089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5" name="Полилиния 264"/>
          <p:cNvSpPr/>
          <p:nvPr/>
        </p:nvSpPr>
        <p:spPr>
          <a:xfrm>
            <a:off x="5204698" y="1899839"/>
            <a:ext cx="214146" cy="114636"/>
          </a:xfrm>
          <a:custGeom>
            <a:avLst/>
            <a:gdLst>
              <a:gd name="connsiteX0" fmla="*/ 25767 w 244842"/>
              <a:gd name="connsiteY0" fmla="*/ 0 h 215502"/>
              <a:gd name="connsiteX1" fmla="*/ 1954 w 244842"/>
              <a:gd name="connsiteY1" fmla="*/ 52387 h 215502"/>
              <a:gd name="connsiteX2" fmla="*/ 1954 w 244842"/>
              <a:gd name="connsiteY2" fmla="*/ 71437 h 215502"/>
              <a:gd name="connsiteX3" fmla="*/ 6717 w 244842"/>
              <a:gd name="connsiteY3" fmla="*/ 100012 h 215502"/>
              <a:gd name="connsiteX4" fmla="*/ 25767 w 244842"/>
              <a:gd name="connsiteY4" fmla="*/ 142875 h 215502"/>
              <a:gd name="connsiteX5" fmla="*/ 44817 w 244842"/>
              <a:gd name="connsiteY5" fmla="*/ 171450 h 215502"/>
              <a:gd name="connsiteX6" fmla="*/ 59104 w 244842"/>
              <a:gd name="connsiteY6" fmla="*/ 180975 h 215502"/>
              <a:gd name="connsiteX7" fmla="*/ 82917 w 244842"/>
              <a:gd name="connsiteY7" fmla="*/ 200025 h 215502"/>
              <a:gd name="connsiteX8" fmla="*/ 116254 w 244842"/>
              <a:gd name="connsiteY8" fmla="*/ 204787 h 215502"/>
              <a:gd name="connsiteX9" fmla="*/ 140067 w 244842"/>
              <a:gd name="connsiteY9" fmla="*/ 214312 h 215502"/>
              <a:gd name="connsiteX10" fmla="*/ 178167 w 244842"/>
              <a:gd name="connsiteY10" fmla="*/ 214312 h 215502"/>
              <a:gd name="connsiteX11" fmla="*/ 206742 w 244842"/>
              <a:gd name="connsiteY11" fmla="*/ 204787 h 215502"/>
              <a:gd name="connsiteX12" fmla="*/ 235317 w 244842"/>
              <a:gd name="connsiteY12" fmla="*/ 204787 h 215502"/>
              <a:gd name="connsiteX13" fmla="*/ 244842 w 244842"/>
              <a:gd name="connsiteY13" fmla="*/ 200025 h 21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4842" h="215502">
                <a:moveTo>
                  <a:pt x="25767" y="0"/>
                </a:moveTo>
                <a:cubicBezTo>
                  <a:pt x="15845" y="20240"/>
                  <a:pt x="5923" y="40481"/>
                  <a:pt x="1954" y="52387"/>
                </a:cubicBezTo>
                <a:cubicBezTo>
                  <a:pt x="-2015" y="64293"/>
                  <a:pt x="1160" y="63500"/>
                  <a:pt x="1954" y="71437"/>
                </a:cubicBezTo>
                <a:cubicBezTo>
                  <a:pt x="2748" y="79374"/>
                  <a:pt x="2748" y="88106"/>
                  <a:pt x="6717" y="100012"/>
                </a:cubicBezTo>
                <a:cubicBezTo>
                  <a:pt x="10686" y="111918"/>
                  <a:pt x="19417" y="130969"/>
                  <a:pt x="25767" y="142875"/>
                </a:cubicBezTo>
                <a:cubicBezTo>
                  <a:pt x="32117" y="154781"/>
                  <a:pt x="39261" y="165100"/>
                  <a:pt x="44817" y="171450"/>
                </a:cubicBezTo>
                <a:cubicBezTo>
                  <a:pt x="50373" y="177800"/>
                  <a:pt x="52754" y="176213"/>
                  <a:pt x="59104" y="180975"/>
                </a:cubicBezTo>
                <a:cubicBezTo>
                  <a:pt x="65454" y="185737"/>
                  <a:pt x="73392" y="196056"/>
                  <a:pt x="82917" y="200025"/>
                </a:cubicBezTo>
                <a:cubicBezTo>
                  <a:pt x="92442" y="203994"/>
                  <a:pt x="106729" y="202406"/>
                  <a:pt x="116254" y="204787"/>
                </a:cubicBezTo>
                <a:cubicBezTo>
                  <a:pt x="125779" y="207168"/>
                  <a:pt x="129748" y="212725"/>
                  <a:pt x="140067" y="214312"/>
                </a:cubicBezTo>
                <a:cubicBezTo>
                  <a:pt x="150386" y="215900"/>
                  <a:pt x="167055" y="215899"/>
                  <a:pt x="178167" y="214312"/>
                </a:cubicBezTo>
                <a:cubicBezTo>
                  <a:pt x="189279" y="212725"/>
                  <a:pt x="197217" y="206375"/>
                  <a:pt x="206742" y="204787"/>
                </a:cubicBezTo>
                <a:cubicBezTo>
                  <a:pt x="216267" y="203200"/>
                  <a:pt x="228967" y="205581"/>
                  <a:pt x="235317" y="204787"/>
                </a:cubicBezTo>
                <a:cubicBezTo>
                  <a:pt x="241667" y="203993"/>
                  <a:pt x="243254" y="202009"/>
                  <a:pt x="244842" y="200025"/>
                </a:cubicBezTo>
              </a:path>
            </a:pathLst>
          </a:custGeom>
          <a:noFill/>
          <a:ln w="1270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4" name="Полилиния 263"/>
          <p:cNvSpPr/>
          <p:nvPr/>
        </p:nvSpPr>
        <p:spPr>
          <a:xfrm>
            <a:off x="5184813" y="1895570"/>
            <a:ext cx="238218" cy="142299"/>
          </a:xfrm>
          <a:custGeom>
            <a:avLst/>
            <a:gdLst>
              <a:gd name="connsiteX0" fmla="*/ 25767 w 244842"/>
              <a:gd name="connsiteY0" fmla="*/ 0 h 215502"/>
              <a:gd name="connsiteX1" fmla="*/ 1954 w 244842"/>
              <a:gd name="connsiteY1" fmla="*/ 52387 h 215502"/>
              <a:gd name="connsiteX2" fmla="*/ 1954 w 244842"/>
              <a:gd name="connsiteY2" fmla="*/ 71437 h 215502"/>
              <a:gd name="connsiteX3" fmla="*/ 6717 w 244842"/>
              <a:gd name="connsiteY3" fmla="*/ 100012 h 215502"/>
              <a:gd name="connsiteX4" fmla="*/ 25767 w 244842"/>
              <a:gd name="connsiteY4" fmla="*/ 142875 h 215502"/>
              <a:gd name="connsiteX5" fmla="*/ 44817 w 244842"/>
              <a:gd name="connsiteY5" fmla="*/ 171450 h 215502"/>
              <a:gd name="connsiteX6" fmla="*/ 59104 w 244842"/>
              <a:gd name="connsiteY6" fmla="*/ 180975 h 215502"/>
              <a:gd name="connsiteX7" fmla="*/ 82917 w 244842"/>
              <a:gd name="connsiteY7" fmla="*/ 200025 h 215502"/>
              <a:gd name="connsiteX8" fmla="*/ 116254 w 244842"/>
              <a:gd name="connsiteY8" fmla="*/ 204787 h 215502"/>
              <a:gd name="connsiteX9" fmla="*/ 140067 w 244842"/>
              <a:gd name="connsiteY9" fmla="*/ 214312 h 215502"/>
              <a:gd name="connsiteX10" fmla="*/ 178167 w 244842"/>
              <a:gd name="connsiteY10" fmla="*/ 214312 h 215502"/>
              <a:gd name="connsiteX11" fmla="*/ 206742 w 244842"/>
              <a:gd name="connsiteY11" fmla="*/ 204787 h 215502"/>
              <a:gd name="connsiteX12" fmla="*/ 235317 w 244842"/>
              <a:gd name="connsiteY12" fmla="*/ 204787 h 215502"/>
              <a:gd name="connsiteX13" fmla="*/ 244842 w 244842"/>
              <a:gd name="connsiteY13" fmla="*/ 200025 h 21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4842" h="215502">
                <a:moveTo>
                  <a:pt x="25767" y="0"/>
                </a:moveTo>
                <a:cubicBezTo>
                  <a:pt x="15845" y="20240"/>
                  <a:pt x="5923" y="40481"/>
                  <a:pt x="1954" y="52387"/>
                </a:cubicBezTo>
                <a:cubicBezTo>
                  <a:pt x="-2015" y="64293"/>
                  <a:pt x="1160" y="63500"/>
                  <a:pt x="1954" y="71437"/>
                </a:cubicBezTo>
                <a:cubicBezTo>
                  <a:pt x="2748" y="79374"/>
                  <a:pt x="2748" y="88106"/>
                  <a:pt x="6717" y="100012"/>
                </a:cubicBezTo>
                <a:cubicBezTo>
                  <a:pt x="10686" y="111918"/>
                  <a:pt x="19417" y="130969"/>
                  <a:pt x="25767" y="142875"/>
                </a:cubicBezTo>
                <a:cubicBezTo>
                  <a:pt x="32117" y="154781"/>
                  <a:pt x="39261" y="165100"/>
                  <a:pt x="44817" y="171450"/>
                </a:cubicBezTo>
                <a:cubicBezTo>
                  <a:pt x="50373" y="177800"/>
                  <a:pt x="52754" y="176213"/>
                  <a:pt x="59104" y="180975"/>
                </a:cubicBezTo>
                <a:cubicBezTo>
                  <a:pt x="65454" y="185737"/>
                  <a:pt x="73392" y="196056"/>
                  <a:pt x="82917" y="200025"/>
                </a:cubicBezTo>
                <a:cubicBezTo>
                  <a:pt x="92442" y="203994"/>
                  <a:pt x="106729" y="202406"/>
                  <a:pt x="116254" y="204787"/>
                </a:cubicBezTo>
                <a:cubicBezTo>
                  <a:pt x="125779" y="207168"/>
                  <a:pt x="129748" y="212725"/>
                  <a:pt x="140067" y="214312"/>
                </a:cubicBezTo>
                <a:cubicBezTo>
                  <a:pt x="150386" y="215900"/>
                  <a:pt x="167055" y="215899"/>
                  <a:pt x="178167" y="214312"/>
                </a:cubicBezTo>
                <a:cubicBezTo>
                  <a:pt x="189279" y="212725"/>
                  <a:pt x="197217" y="206375"/>
                  <a:pt x="206742" y="204787"/>
                </a:cubicBezTo>
                <a:cubicBezTo>
                  <a:pt x="216267" y="203200"/>
                  <a:pt x="228967" y="205581"/>
                  <a:pt x="235317" y="204787"/>
                </a:cubicBezTo>
                <a:cubicBezTo>
                  <a:pt x="241667" y="203993"/>
                  <a:pt x="243254" y="202009"/>
                  <a:pt x="244842" y="20002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6" name="Полилиния 265"/>
          <p:cNvSpPr/>
          <p:nvPr/>
        </p:nvSpPr>
        <p:spPr>
          <a:xfrm>
            <a:off x="5216694" y="1916154"/>
            <a:ext cx="209274" cy="92830"/>
          </a:xfrm>
          <a:custGeom>
            <a:avLst/>
            <a:gdLst>
              <a:gd name="connsiteX0" fmla="*/ 25767 w 244842"/>
              <a:gd name="connsiteY0" fmla="*/ 0 h 215502"/>
              <a:gd name="connsiteX1" fmla="*/ 1954 w 244842"/>
              <a:gd name="connsiteY1" fmla="*/ 52387 h 215502"/>
              <a:gd name="connsiteX2" fmla="*/ 1954 w 244842"/>
              <a:gd name="connsiteY2" fmla="*/ 71437 h 215502"/>
              <a:gd name="connsiteX3" fmla="*/ 6717 w 244842"/>
              <a:gd name="connsiteY3" fmla="*/ 100012 h 215502"/>
              <a:gd name="connsiteX4" fmla="*/ 25767 w 244842"/>
              <a:gd name="connsiteY4" fmla="*/ 142875 h 215502"/>
              <a:gd name="connsiteX5" fmla="*/ 44817 w 244842"/>
              <a:gd name="connsiteY5" fmla="*/ 171450 h 215502"/>
              <a:gd name="connsiteX6" fmla="*/ 59104 w 244842"/>
              <a:gd name="connsiteY6" fmla="*/ 180975 h 215502"/>
              <a:gd name="connsiteX7" fmla="*/ 82917 w 244842"/>
              <a:gd name="connsiteY7" fmla="*/ 200025 h 215502"/>
              <a:gd name="connsiteX8" fmla="*/ 116254 w 244842"/>
              <a:gd name="connsiteY8" fmla="*/ 204787 h 215502"/>
              <a:gd name="connsiteX9" fmla="*/ 140067 w 244842"/>
              <a:gd name="connsiteY9" fmla="*/ 214312 h 215502"/>
              <a:gd name="connsiteX10" fmla="*/ 178167 w 244842"/>
              <a:gd name="connsiteY10" fmla="*/ 214312 h 215502"/>
              <a:gd name="connsiteX11" fmla="*/ 206742 w 244842"/>
              <a:gd name="connsiteY11" fmla="*/ 204787 h 215502"/>
              <a:gd name="connsiteX12" fmla="*/ 235317 w 244842"/>
              <a:gd name="connsiteY12" fmla="*/ 204787 h 215502"/>
              <a:gd name="connsiteX13" fmla="*/ 244842 w 244842"/>
              <a:gd name="connsiteY13" fmla="*/ 200025 h 21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4842" h="215502">
                <a:moveTo>
                  <a:pt x="25767" y="0"/>
                </a:moveTo>
                <a:cubicBezTo>
                  <a:pt x="15845" y="20240"/>
                  <a:pt x="5923" y="40481"/>
                  <a:pt x="1954" y="52387"/>
                </a:cubicBezTo>
                <a:cubicBezTo>
                  <a:pt x="-2015" y="64293"/>
                  <a:pt x="1160" y="63500"/>
                  <a:pt x="1954" y="71437"/>
                </a:cubicBezTo>
                <a:cubicBezTo>
                  <a:pt x="2748" y="79374"/>
                  <a:pt x="2748" y="88106"/>
                  <a:pt x="6717" y="100012"/>
                </a:cubicBezTo>
                <a:cubicBezTo>
                  <a:pt x="10686" y="111918"/>
                  <a:pt x="19417" y="130969"/>
                  <a:pt x="25767" y="142875"/>
                </a:cubicBezTo>
                <a:cubicBezTo>
                  <a:pt x="32117" y="154781"/>
                  <a:pt x="39261" y="165100"/>
                  <a:pt x="44817" y="171450"/>
                </a:cubicBezTo>
                <a:cubicBezTo>
                  <a:pt x="50373" y="177800"/>
                  <a:pt x="52754" y="176213"/>
                  <a:pt x="59104" y="180975"/>
                </a:cubicBezTo>
                <a:cubicBezTo>
                  <a:pt x="65454" y="185737"/>
                  <a:pt x="73392" y="196056"/>
                  <a:pt x="82917" y="200025"/>
                </a:cubicBezTo>
                <a:cubicBezTo>
                  <a:pt x="92442" y="203994"/>
                  <a:pt x="106729" y="202406"/>
                  <a:pt x="116254" y="204787"/>
                </a:cubicBezTo>
                <a:cubicBezTo>
                  <a:pt x="125779" y="207168"/>
                  <a:pt x="129748" y="212725"/>
                  <a:pt x="140067" y="214312"/>
                </a:cubicBezTo>
                <a:cubicBezTo>
                  <a:pt x="150386" y="215900"/>
                  <a:pt x="167055" y="215899"/>
                  <a:pt x="178167" y="214312"/>
                </a:cubicBezTo>
                <a:cubicBezTo>
                  <a:pt x="189279" y="212725"/>
                  <a:pt x="197217" y="206375"/>
                  <a:pt x="206742" y="204787"/>
                </a:cubicBezTo>
                <a:cubicBezTo>
                  <a:pt x="216267" y="203200"/>
                  <a:pt x="228967" y="205581"/>
                  <a:pt x="235317" y="204787"/>
                </a:cubicBezTo>
                <a:cubicBezTo>
                  <a:pt x="241667" y="203993"/>
                  <a:pt x="243254" y="202009"/>
                  <a:pt x="244842" y="200025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7" name="Полилиния 266"/>
          <p:cNvSpPr/>
          <p:nvPr/>
        </p:nvSpPr>
        <p:spPr>
          <a:xfrm>
            <a:off x="5249838" y="1916152"/>
            <a:ext cx="164841" cy="71468"/>
          </a:xfrm>
          <a:custGeom>
            <a:avLst/>
            <a:gdLst>
              <a:gd name="connsiteX0" fmla="*/ 25767 w 244842"/>
              <a:gd name="connsiteY0" fmla="*/ 0 h 215502"/>
              <a:gd name="connsiteX1" fmla="*/ 1954 w 244842"/>
              <a:gd name="connsiteY1" fmla="*/ 52387 h 215502"/>
              <a:gd name="connsiteX2" fmla="*/ 1954 w 244842"/>
              <a:gd name="connsiteY2" fmla="*/ 71437 h 215502"/>
              <a:gd name="connsiteX3" fmla="*/ 6717 w 244842"/>
              <a:gd name="connsiteY3" fmla="*/ 100012 h 215502"/>
              <a:gd name="connsiteX4" fmla="*/ 25767 w 244842"/>
              <a:gd name="connsiteY4" fmla="*/ 142875 h 215502"/>
              <a:gd name="connsiteX5" fmla="*/ 44817 w 244842"/>
              <a:gd name="connsiteY5" fmla="*/ 171450 h 215502"/>
              <a:gd name="connsiteX6" fmla="*/ 59104 w 244842"/>
              <a:gd name="connsiteY6" fmla="*/ 180975 h 215502"/>
              <a:gd name="connsiteX7" fmla="*/ 82917 w 244842"/>
              <a:gd name="connsiteY7" fmla="*/ 200025 h 215502"/>
              <a:gd name="connsiteX8" fmla="*/ 116254 w 244842"/>
              <a:gd name="connsiteY8" fmla="*/ 204787 h 215502"/>
              <a:gd name="connsiteX9" fmla="*/ 140067 w 244842"/>
              <a:gd name="connsiteY9" fmla="*/ 214312 h 215502"/>
              <a:gd name="connsiteX10" fmla="*/ 178167 w 244842"/>
              <a:gd name="connsiteY10" fmla="*/ 214312 h 215502"/>
              <a:gd name="connsiteX11" fmla="*/ 206742 w 244842"/>
              <a:gd name="connsiteY11" fmla="*/ 204787 h 215502"/>
              <a:gd name="connsiteX12" fmla="*/ 235317 w 244842"/>
              <a:gd name="connsiteY12" fmla="*/ 204787 h 215502"/>
              <a:gd name="connsiteX13" fmla="*/ 244842 w 244842"/>
              <a:gd name="connsiteY13" fmla="*/ 200025 h 215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44842" h="215502">
                <a:moveTo>
                  <a:pt x="25767" y="0"/>
                </a:moveTo>
                <a:cubicBezTo>
                  <a:pt x="15845" y="20240"/>
                  <a:pt x="5923" y="40481"/>
                  <a:pt x="1954" y="52387"/>
                </a:cubicBezTo>
                <a:cubicBezTo>
                  <a:pt x="-2015" y="64293"/>
                  <a:pt x="1160" y="63500"/>
                  <a:pt x="1954" y="71437"/>
                </a:cubicBezTo>
                <a:cubicBezTo>
                  <a:pt x="2748" y="79374"/>
                  <a:pt x="2748" y="88106"/>
                  <a:pt x="6717" y="100012"/>
                </a:cubicBezTo>
                <a:cubicBezTo>
                  <a:pt x="10686" y="111918"/>
                  <a:pt x="19417" y="130969"/>
                  <a:pt x="25767" y="142875"/>
                </a:cubicBezTo>
                <a:cubicBezTo>
                  <a:pt x="32117" y="154781"/>
                  <a:pt x="39261" y="165100"/>
                  <a:pt x="44817" y="171450"/>
                </a:cubicBezTo>
                <a:cubicBezTo>
                  <a:pt x="50373" y="177800"/>
                  <a:pt x="52754" y="176213"/>
                  <a:pt x="59104" y="180975"/>
                </a:cubicBezTo>
                <a:cubicBezTo>
                  <a:pt x="65454" y="185737"/>
                  <a:pt x="73392" y="196056"/>
                  <a:pt x="82917" y="200025"/>
                </a:cubicBezTo>
                <a:cubicBezTo>
                  <a:pt x="92442" y="203994"/>
                  <a:pt x="106729" y="202406"/>
                  <a:pt x="116254" y="204787"/>
                </a:cubicBezTo>
                <a:cubicBezTo>
                  <a:pt x="125779" y="207168"/>
                  <a:pt x="129748" y="212725"/>
                  <a:pt x="140067" y="214312"/>
                </a:cubicBezTo>
                <a:cubicBezTo>
                  <a:pt x="150386" y="215900"/>
                  <a:pt x="167055" y="215899"/>
                  <a:pt x="178167" y="214312"/>
                </a:cubicBezTo>
                <a:cubicBezTo>
                  <a:pt x="189279" y="212725"/>
                  <a:pt x="197217" y="206375"/>
                  <a:pt x="206742" y="204787"/>
                </a:cubicBezTo>
                <a:cubicBezTo>
                  <a:pt x="216267" y="203200"/>
                  <a:pt x="228967" y="205581"/>
                  <a:pt x="235317" y="204787"/>
                </a:cubicBezTo>
                <a:cubicBezTo>
                  <a:pt x="241667" y="203993"/>
                  <a:pt x="243254" y="202009"/>
                  <a:pt x="244842" y="20002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78" name="Полилиния 577"/>
          <p:cNvSpPr/>
          <p:nvPr/>
        </p:nvSpPr>
        <p:spPr>
          <a:xfrm>
            <a:off x="4765919" y="1753171"/>
            <a:ext cx="525710" cy="156239"/>
          </a:xfrm>
          <a:custGeom>
            <a:avLst/>
            <a:gdLst>
              <a:gd name="connsiteX0" fmla="*/ 0 w 554831"/>
              <a:gd name="connsiteY0" fmla="*/ 2409 h 166733"/>
              <a:gd name="connsiteX1" fmla="*/ 130968 w 554831"/>
              <a:gd name="connsiteY1" fmla="*/ 4790 h 166733"/>
              <a:gd name="connsiteX2" fmla="*/ 145256 w 554831"/>
              <a:gd name="connsiteY2" fmla="*/ 9552 h 166733"/>
              <a:gd name="connsiteX3" fmla="*/ 152400 w 554831"/>
              <a:gd name="connsiteY3" fmla="*/ 11934 h 166733"/>
              <a:gd name="connsiteX4" fmla="*/ 161925 w 554831"/>
              <a:gd name="connsiteY4" fmla="*/ 14315 h 166733"/>
              <a:gd name="connsiteX5" fmla="*/ 169068 w 554831"/>
              <a:gd name="connsiteY5" fmla="*/ 16696 h 166733"/>
              <a:gd name="connsiteX6" fmla="*/ 176212 w 554831"/>
              <a:gd name="connsiteY6" fmla="*/ 21459 h 166733"/>
              <a:gd name="connsiteX7" fmla="*/ 200025 w 554831"/>
              <a:gd name="connsiteY7" fmla="*/ 26221 h 166733"/>
              <a:gd name="connsiteX8" fmla="*/ 221456 w 554831"/>
              <a:gd name="connsiteY8" fmla="*/ 33365 h 166733"/>
              <a:gd name="connsiteX9" fmla="*/ 228600 w 554831"/>
              <a:gd name="connsiteY9" fmla="*/ 38127 h 166733"/>
              <a:gd name="connsiteX10" fmla="*/ 238125 w 554831"/>
              <a:gd name="connsiteY10" fmla="*/ 40509 h 166733"/>
              <a:gd name="connsiteX11" fmla="*/ 247650 w 554831"/>
              <a:gd name="connsiteY11" fmla="*/ 92896 h 166733"/>
              <a:gd name="connsiteX12" fmla="*/ 271462 w 554831"/>
              <a:gd name="connsiteY12" fmla="*/ 116709 h 166733"/>
              <a:gd name="connsiteX13" fmla="*/ 285750 w 554831"/>
              <a:gd name="connsiteY13" fmla="*/ 126234 h 166733"/>
              <a:gd name="connsiteX14" fmla="*/ 300037 w 554831"/>
              <a:gd name="connsiteY14" fmla="*/ 130996 h 166733"/>
              <a:gd name="connsiteX15" fmla="*/ 307181 w 554831"/>
              <a:gd name="connsiteY15" fmla="*/ 135759 h 166733"/>
              <a:gd name="connsiteX16" fmla="*/ 354806 w 554831"/>
              <a:gd name="connsiteY16" fmla="*/ 135759 h 166733"/>
              <a:gd name="connsiteX17" fmla="*/ 364331 w 554831"/>
              <a:gd name="connsiteY17" fmla="*/ 130996 h 166733"/>
              <a:gd name="connsiteX18" fmla="*/ 402431 w 554831"/>
              <a:gd name="connsiteY18" fmla="*/ 126234 h 166733"/>
              <a:gd name="connsiteX19" fmla="*/ 440531 w 554831"/>
              <a:gd name="connsiteY19" fmla="*/ 126234 h 166733"/>
              <a:gd name="connsiteX20" fmla="*/ 466725 w 554831"/>
              <a:gd name="connsiteY20" fmla="*/ 133377 h 166733"/>
              <a:gd name="connsiteX21" fmla="*/ 476250 w 554831"/>
              <a:gd name="connsiteY21" fmla="*/ 138140 h 166733"/>
              <a:gd name="connsiteX22" fmla="*/ 485775 w 554831"/>
              <a:gd name="connsiteY22" fmla="*/ 140521 h 166733"/>
              <a:gd name="connsiteX23" fmla="*/ 511968 w 554831"/>
              <a:gd name="connsiteY23" fmla="*/ 147665 h 166733"/>
              <a:gd name="connsiteX24" fmla="*/ 521493 w 554831"/>
              <a:gd name="connsiteY24" fmla="*/ 152427 h 166733"/>
              <a:gd name="connsiteX25" fmla="*/ 535781 w 554831"/>
              <a:gd name="connsiteY25" fmla="*/ 157190 h 166733"/>
              <a:gd name="connsiteX26" fmla="*/ 554831 w 554831"/>
              <a:gd name="connsiteY26" fmla="*/ 166715 h 16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54831" h="166733">
                <a:moveTo>
                  <a:pt x="0" y="2409"/>
                </a:moveTo>
                <a:cubicBezTo>
                  <a:pt x="61049" y="-34"/>
                  <a:pt x="66548" y="-2368"/>
                  <a:pt x="130968" y="4790"/>
                </a:cubicBezTo>
                <a:cubicBezTo>
                  <a:pt x="135958" y="5344"/>
                  <a:pt x="140493" y="7964"/>
                  <a:pt x="145256" y="9552"/>
                </a:cubicBezTo>
                <a:lnTo>
                  <a:pt x="152400" y="11934"/>
                </a:lnTo>
                <a:cubicBezTo>
                  <a:pt x="155505" y="12969"/>
                  <a:pt x="158778" y="13416"/>
                  <a:pt x="161925" y="14315"/>
                </a:cubicBezTo>
                <a:cubicBezTo>
                  <a:pt x="164338" y="15004"/>
                  <a:pt x="166687" y="15902"/>
                  <a:pt x="169068" y="16696"/>
                </a:cubicBezTo>
                <a:cubicBezTo>
                  <a:pt x="171449" y="18284"/>
                  <a:pt x="173652" y="20179"/>
                  <a:pt x="176212" y="21459"/>
                </a:cubicBezTo>
                <a:cubicBezTo>
                  <a:pt x="182861" y="24783"/>
                  <a:pt x="193885" y="25344"/>
                  <a:pt x="200025" y="26221"/>
                </a:cubicBezTo>
                <a:lnTo>
                  <a:pt x="221456" y="33365"/>
                </a:lnTo>
                <a:cubicBezTo>
                  <a:pt x="224171" y="34270"/>
                  <a:pt x="225970" y="37000"/>
                  <a:pt x="228600" y="38127"/>
                </a:cubicBezTo>
                <a:cubicBezTo>
                  <a:pt x="231608" y="39416"/>
                  <a:pt x="234950" y="39715"/>
                  <a:pt x="238125" y="40509"/>
                </a:cubicBezTo>
                <a:cubicBezTo>
                  <a:pt x="259977" y="55077"/>
                  <a:pt x="236885" y="36919"/>
                  <a:pt x="247650" y="92896"/>
                </a:cubicBezTo>
                <a:cubicBezTo>
                  <a:pt x="249985" y="105036"/>
                  <a:pt x="262777" y="110919"/>
                  <a:pt x="271462" y="116709"/>
                </a:cubicBezTo>
                <a:lnTo>
                  <a:pt x="285750" y="126234"/>
                </a:lnTo>
                <a:cubicBezTo>
                  <a:pt x="289927" y="129019"/>
                  <a:pt x="300037" y="130996"/>
                  <a:pt x="300037" y="130996"/>
                </a:cubicBezTo>
                <a:cubicBezTo>
                  <a:pt x="302418" y="132584"/>
                  <a:pt x="304440" y="134937"/>
                  <a:pt x="307181" y="135759"/>
                </a:cubicBezTo>
                <a:cubicBezTo>
                  <a:pt x="322873" y="140467"/>
                  <a:pt x="338946" y="136979"/>
                  <a:pt x="354806" y="135759"/>
                </a:cubicBezTo>
                <a:cubicBezTo>
                  <a:pt x="357981" y="134171"/>
                  <a:pt x="360963" y="132119"/>
                  <a:pt x="364331" y="130996"/>
                </a:cubicBezTo>
                <a:cubicBezTo>
                  <a:pt x="373556" y="127921"/>
                  <a:pt x="396638" y="126761"/>
                  <a:pt x="402431" y="126234"/>
                </a:cubicBezTo>
                <a:cubicBezTo>
                  <a:pt x="418769" y="120787"/>
                  <a:pt x="409644" y="122802"/>
                  <a:pt x="440531" y="126234"/>
                </a:cubicBezTo>
                <a:cubicBezTo>
                  <a:pt x="447249" y="126980"/>
                  <a:pt x="461139" y="130584"/>
                  <a:pt x="466725" y="133377"/>
                </a:cubicBezTo>
                <a:cubicBezTo>
                  <a:pt x="469900" y="134965"/>
                  <a:pt x="472926" y="136894"/>
                  <a:pt x="476250" y="138140"/>
                </a:cubicBezTo>
                <a:cubicBezTo>
                  <a:pt x="479314" y="139289"/>
                  <a:pt x="482580" y="139811"/>
                  <a:pt x="485775" y="140521"/>
                </a:cubicBezTo>
                <a:cubicBezTo>
                  <a:pt x="495186" y="142612"/>
                  <a:pt x="503042" y="143203"/>
                  <a:pt x="511968" y="147665"/>
                </a:cubicBezTo>
                <a:cubicBezTo>
                  <a:pt x="515143" y="149252"/>
                  <a:pt x="518197" y="151109"/>
                  <a:pt x="521493" y="152427"/>
                </a:cubicBezTo>
                <a:cubicBezTo>
                  <a:pt x="526154" y="154291"/>
                  <a:pt x="531604" y="154405"/>
                  <a:pt x="535781" y="157190"/>
                </a:cubicBezTo>
                <a:cubicBezTo>
                  <a:pt x="551389" y="167596"/>
                  <a:pt x="544344" y="166715"/>
                  <a:pt x="554831" y="166715"/>
                </a:cubicBezTo>
              </a:path>
            </a:pathLst>
          </a:custGeom>
          <a:solidFill>
            <a:srgbClr val="00B050"/>
          </a:solidFill>
          <a:ln w="1016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1" name="Полилиния 710"/>
          <p:cNvSpPr/>
          <p:nvPr/>
        </p:nvSpPr>
        <p:spPr>
          <a:xfrm>
            <a:off x="4791124" y="1742859"/>
            <a:ext cx="525710" cy="156239"/>
          </a:xfrm>
          <a:custGeom>
            <a:avLst/>
            <a:gdLst>
              <a:gd name="connsiteX0" fmla="*/ 0 w 554831"/>
              <a:gd name="connsiteY0" fmla="*/ 2409 h 166733"/>
              <a:gd name="connsiteX1" fmla="*/ 130968 w 554831"/>
              <a:gd name="connsiteY1" fmla="*/ 4790 h 166733"/>
              <a:gd name="connsiteX2" fmla="*/ 145256 w 554831"/>
              <a:gd name="connsiteY2" fmla="*/ 9552 h 166733"/>
              <a:gd name="connsiteX3" fmla="*/ 152400 w 554831"/>
              <a:gd name="connsiteY3" fmla="*/ 11934 h 166733"/>
              <a:gd name="connsiteX4" fmla="*/ 161925 w 554831"/>
              <a:gd name="connsiteY4" fmla="*/ 14315 h 166733"/>
              <a:gd name="connsiteX5" fmla="*/ 169068 w 554831"/>
              <a:gd name="connsiteY5" fmla="*/ 16696 h 166733"/>
              <a:gd name="connsiteX6" fmla="*/ 176212 w 554831"/>
              <a:gd name="connsiteY6" fmla="*/ 21459 h 166733"/>
              <a:gd name="connsiteX7" fmla="*/ 200025 w 554831"/>
              <a:gd name="connsiteY7" fmla="*/ 26221 h 166733"/>
              <a:gd name="connsiteX8" fmla="*/ 221456 w 554831"/>
              <a:gd name="connsiteY8" fmla="*/ 33365 h 166733"/>
              <a:gd name="connsiteX9" fmla="*/ 228600 w 554831"/>
              <a:gd name="connsiteY9" fmla="*/ 38127 h 166733"/>
              <a:gd name="connsiteX10" fmla="*/ 238125 w 554831"/>
              <a:gd name="connsiteY10" fmla="*/ 40509 h 166733"/>
              <a:gd name="connsiteX11" fmla="*/ 247650 w 554831"/>
              <a:gd name="connsiteY11" fmla="*/ 92896 h 166733"/>
              <a:gd name="connsiteX12" fmla="*/ 271462 w 554831"/>
              <a:gd name="connsiteY12" fmla="*/ 116709 h 166733"/>
              <a:gd name="connsiteX13" fmla="*/ 285750 w 554831"/>
              <a:gd name="connsiteY13" fmla="*/ 126234 h 166733"/>
              <a:gd name="connsiteX14" fmla="*/ 300037 w 554831"/>
              <a:gd name="connsiteY14" fmla="*/ 130996 h 166733"/>
              <a:gd name="connsiteX15" fmla="*/ 307181 w 554831"/>
              <a:gd name="connsiteY15" fmla="*/ 135759 h 166733"/>
              <a:gd name="connsiteX16" fmla="*/ 354806 w 554831"/>
              <a:gd name="connsiteY16" fmla="*/ 135759 h 166733"/>
              <a:gd name="connsiteX17" fmla="*/ 364331 w 554831"/>
              <a:gd name="connsiteY17" fmla="*/ 130996 h 166733"/>
              <a:gd name="connsiteX18" fmla="*/ 402431 w 554831"/>
              <a:gd name="connsiteY18" fmla="*/ 126234 h 166733"/>
              <a:gd name="connsiteX19" fmla="*/ 440531 w 554831"/>
              <a:gd name="connsiteY19" fmla="*/ 126234 h 166733"/>
              <a:gd name="connsiteX20" fmla="*/ 466725 w 554831"/>
              <a:gd name="connsiteY20" fmla="*/ 133377 h 166733"/>
              <a:gd name="connsiteX21" fmla="*/ 476250 w 554831"/>
              <a:gd name="connsiteY21" fmla="*/ 138140 h 166733"/>
              <a:gd name="connsiteX22" fmla="*/ 485775 w 554831"/>
              <a:gd name="connsiteY22" fmla="*/ 140521 h 166733"/>
              <a:gd name="connsiteX23" fmla="*/ 511968 w 554831"/>
              <a:gd name="connsiteY23" fmla="*/ 147665 h 166733"/>
              <a:gd name="connsiteX24" fmla="*/ 521493 w 554831"/>
              <a:gd name="connsiteY24" fmla="*/ 152427 h 166733"/>
              <a:gd name="connsiteX25" fmla="*/ 535781 w 554831"/>
              <a:gd name="connsiteY25" fmla="*/ 157190 h 166733"/>
              <a:gd name="connsiteX26" fmla="*/ 554831 w 554831"/>
              <a:gd name="connsiteY26" fmla="*/ 166715 h 16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54831" h="166733">
                <a:moveTo>
                  <a:pt x="0" y="2409"/>
                </a:moveTo>
                <a:cubicBezTo>
                  <a:pt x="61049" y="-34"/>
                  <a:pt x="66548" y="-2368"/>
                  <a:pt x="130968" y="4790"/>
                </a:cubicBezTo>
                <a:cubicBezTo>
                  <a:pt x="135958" y="5344"/>
                  <a:pt x="140493" y="7964"/>
                  <a:pt x="145256" y="9552"/>
                </a:cubicBezTo>
                <a:lnTo>
                  <a:pt x="152400" y="11934"/>
                </a:lnTo>
                <a:cubicBezTo>
                  <a:pt x="155505" y="12969"/>
                  <a:pt x="158778" y="13416"/>
                  <a:pt x="161925" y="14315"/>
                </a:cubicBezTo>
                <a:cubicBezTo>
                  <a:pt x="164338" y="15004"/>
                  <a:pt x="166687" y="15902"/>
                  <a:pt x="169068" y="16696"/>
                </a:cubicBezTo>
                <a:cubicBezTo>
                  <a:pt x="171449" y="18284"/>
                  <a:pt x="173652" y="20179"/>
                  <a:pt x="176212" y="21459"/>
                </a:cubicBezTo>
                <a:cubicBezTo>
                  <a:pt x="182861" y="24783"/>
                  <a:pt x="193885" y="25344"/>
                  <a:pt x="200025" y="26221"/>
                </a:cubicBezTo>
                <a:lnTo>
                  <a:pt x="221456" y="33365"/>
                </a:lnTo>
                <a:cubicBezTo>
                  <a:pt x="224171" y="34270"/>
                  <a:pt x="225970" y="37000"/>
                  <a:pt x="228600" y="38127"/>
                </a:cubicBezTo>
                <a:cubicBezTo>
                  <a:pt x="231608" y="39416"/>
                  <a:pt x="234950" y="39715"/>
                  <a:pt x="238125" y="40509"/>
                </a:cubicBezTo>
                <a:cubicBezTo>
                  <a:pt x="259977" y="55077"/>
                  <a:pt x="236885" y="36919"/>
                  <a:pt x="247650" y="92896"/>
                </a:cubicBezTo>
                <a:cubicBezTo>
                  <a:pt x="249985" y="105036"/>
                  <a:pt x="262777" y="110919"/>
                  <a:pt x="271462" y="116709"/>
                </a:cubicBezTo>
                <a:lnTo>
                  <a:pt x="285750" y="126234"/>
                </a:lnTo>
                <a:cubicBezTo>
                  <a:pt x="289927" y="129019"/>
                  <a:pt x="300037" y="130996"/>
                  <a:pt x="300037" y="130996"/>
                </a:cubicBezTo>
                <a:cubicBezTo>
                  <a:pt x="302418" y="132584"/>
                  <a:pt x="304440" y="134937"/>
                  <a:pt x="307181" y="135759"/>
                </a:cubicBezTo>
                <a:cubicBezTo>
                  <a:pt x="322873" y="140467"/>
                  <a:pt x="338946" y="136979"/>
                  <a:pt x="354806" y="135759"/>
                </a:cubicBezTo>
                <a:cubicBezTo>
                  <a:pt x="357981" y="134171"/>
                  <a:pt x="360963" y="132119"/>
                  <a:pt x="364331" y="130996"/>
                </a:cubicBezTo>
                <a:cubicBezTo>
                  <a:pt x="373556" y="127921"/>
                  <a:pt x="396638" y="126761"/>
                  <a:pt x="402431" y="126234"/>
                </a:cubicBezTo>
                <a:cubicBezTo>
                  <a:pt x="418769" y="120787"/>
                  <a:pt x="409644" y="122802"/>
                  <a:pt x="440531" y="126234"/>
                </a:cubicBezTo>
                <a:cubicBezTo>
                  <a:pt x="447249" y="126980"/>
                  <a:pt x="461139" y="130584"/>
                  <a:pt x="466725" y="133377"/>
                </a:cubicBezTo>
                <a:cubicBezTo>
                  <a:pt x="469900" y="134965"/>
                  <a:pt x="472926" y="136894"/>
                  <a:pt x="476250" y="138140"/>
                </a:cubicBezTo>
                <a:cubicBezTo>
                  <a:pt x="479314" y="139289"/>
                  <a:pt x="482580" y="139811"/>
                  <a:pt x="485775" y="140521"/>
                </a:cubicBezTo>
                <a:cubicBezTo>
                  <a:pt x="495186" y="142612"/>
                  <a:pt x="503042" y="143203"/>
                  <a:pt x="511968" y="147665"/>
                </a:cubicBezTo>
                <a:cubicBezTo>
                  <a:pt x="515143" y="149252"/>
                  <a:pt x="518197" y="151109"/>
                  <a:pt x="521493" y="152427"/>
                </a:cubicBezTo>
                <a:cubicBezTo>
                  <a:pt x="526154" y="154291"/>
                  <a:pt x="531604" y="154405"/>
                  <a:pt x="535781" y="157190"/>
                </a:cubicBezTo>
                <a:cubicBezTo>
                  <a:pt x="551389" y="167596"/>
                  <a:pt x="544344" y="166715"/>
                  <a:pt x="554831" y="16671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0" name="Полилиния 709"/>
          <p:cNvSpPr/>
          <p:nvPr/>
        </p:nvSpPr>
        <p:spPr>
          <a:xfrm>
            <a:off x="4759037" y="1768525"/>
            <a:ext cx="525710" cy="156239"/>
          </a:xfrm>
          <a:custGeom>
            <a:avLst/>
            <a:gdLst>
              <a:gd name="connsiteX0" fmla="*/ 0 w 554831"/>
              <a:gd name="connsiteY0" fmla="*/ 2409 h 166733"/>
              <a:gd name="connsiteX1" fmla="*/ 130968 w 554831"/>
              <a:gd name="connsiteY1" fmla="*/ 4790 h 166733"/>
              <a:gd name="connsiteX2" fmla="*/ 145256 w 554831"/>
              <a:gd name="connsiteY2" fmla="*/ 9552 h 166733"/>
              <a:gd name="connsiteX3" fmla="*/ 152400 w 554831"/>
              <a:gd name="connsiteY3" fmla="*/ 11934 h 166733"/>
              <a:gd name="connsiteX4" fmla="*/ 161925 w 554831"/>
              <a:gd name="connsiteY4" fmla="*/ 14315 h 166733"/>
              <a:gd name="connsiteX5" fmla="*/ 169068 w 554831"/>
              <a:gd name="connsiteY5" fmla="*/ 16696 h 166733"/>
              <a:gd name="connsiteX6" fmla="*/ 176212 w 554831"/>
              <a:gd name="connsiteY6" fmla="*/ 21459 h 166733"/>
              <a:gd name="connsiteX7" fmla="*/ 200025 w 554831"/>
              <a:gd name="connsiteY7" fmla="*/ 26221 h 166733"/>
              <a:gd name="connsiteX8" fmla="*/ 221456 w 554831"/>
              <a:gd name="connsiteY8" fmla="*/ 33365 h 166733"/>
              <a:gd name="connsiteX9" fmla="*/ 228600 w 554831"/>
              <a:gd name="connsiteY9" fmla="*/ 38127 h 166733"/>
              <a:gd name="connsiteX10" fmla="*/ 238125 w 554831"/>
              <a:gd name="connsiteY10" fmla="*/ 40509 h 166733"/>
              <a:gd name="connsiteX11" fmla="*/ 247650 w 554831"/>
              <a:gd name="connsiteY11" fmla="*/ 92896 h 166733"/>
              <a:gd name="connsiteX12" fmla="*/ 271462 w 554831"/>
              <a:gd name="connsiteY12" fmla="*/ 116709 h 166733"/>
              <a:gd name="connsiteX13" fmla="*/ 285750 w 554831"/>
              <a:gd name="connsiteY13" fmla="*/ 126234 h 166733"/>
              <a:gd name="connsiteX14" fmla="*/ 300037 w 554831"/>
              <a:gd name="connsiteY14" fmla="*/ 130996 h 166733"/>
              <a:gd name="connsiteX15" fmla="*/ 307181 w 554831"/>
              <a:gd name="connsiteY15" fmla="*/ 135759 h 166733"/>
              <a:gd name="connsiteX16" fmla="*/ 354806 w 554831"/>
              <a:gd name="connsiteY16" fmla="*/ 135759 h 166733"/>
              <a:gd name="connsiteX17" fmla="*/ 364331 w 554831"/>
              <a:gd name="connsiteY17" fmla="*/ 130996 h 166733"/>
              <a:gd name="connsiteX18" fmla="*/ 402431 w 554831"/>
              <a:gd name="connsiteY18" fmla="*/ 126234 h 166733"/>
              <a:gd name="connsiteX19" fmla="*/ 440531 w 554831"/>
              <a:gd name="connsiteY19" fmla="*/ 126234 h 166733"/>
              <a:gd name="connsiteX20" fmla="*/ 466725 w 554831"/>
              <a:gd name="connsiteY20" fmla="*/ 133377 h 166733"/>
              <a:gd name="connsiteX21" fmla="*/ 476250 w 554831"/>
              <a:gd name="connsiteY21" fmla="*/ 138140 h 166733"/>
              <a:gd name="connsiteX22" fmla="*/ 485775 w 554831"/>
              <a:gd name="connsiteY22" fmla="*/ 140521 h 166733"/>
              <a:gd name="connsiteX23" fmla="*/ 511968 w 554831"/>
              <a:gd name="connsiteY23" fmla="*/ 147665 h 166733"/>
              <a:gd name="connsiteX24" fmla="*/ 521493 w 554831"/>
              <a:gd name="connsiteY24" fmla="*/ 152427 h 166733"/>
              <a:gd name="connsiteX25" fmla="*/ 535781 w 554831"/>
              <a:gd name="connsiteY25" fmla="*/ 157190 h 166733"/>
              <a:gd name="connsiteX26" fmla="*/ 554831 w 554831"/>
              <a:gd name="connsiteY26" fmla="*/ 166715 h 1667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554831" h="166733">
                <a:moveTo>
                  <a:pt x="0" y="2409"/>
                </a:moveTo>
                <a:cubicBezTo>
                  <a:pt x="61049" y="-34"/>
                  <a:pt x="66548" y="-2368"/>
                  <a:pt x="130968" y="4790"/>
                </a:cubicBezTo>
                <a:cubicBezTo>
                  <a:pt x="135958" y="5344"/>
                  <a:pt x="140493" y="7964"/>
                  <a:pt x="145256" y="9552"/>
                </a:cubicBezTo>
                <a:lnTo>
                  <a:pt x="152400" y="11934"/>
                </a:lnTo>
                <a:cubicBezTo>
                  <a:pt x="155505" y="12969"/>
                  <a:pt x="158778" y="13416"/>
                  <a:pt x="161925" y="14315"/>
                </a:cubicBezTo>
                <a:cubicBezTo>
                  <a:pt x="164338" y="15004"/>
                  <a:pt x="166687" y="15902"/>
                  <a:pt x="169068" y="16696"/>
                </a:cubicBezTo>
                <a:cubicBezTo>
                  <a:pt x="171449" y="18284"/>
                  <a:pt x="173652" y="20179"/>
                  <a:pt x="176212" y="21459"/>
                </a:cubicBezTo>
                <a:cubicBezTo>
                  <a:pt x="182861" y="24783"/>
                  <a:pt x="193885" y="25344"/>
                  <a:pt x="200025" y="26221"/>
                </a:cubicBezTo>
                <a:lnTo>
                  <a:pt x="221456" y="33365"/>
                </a:lnTo>
                <a:cubicBezTo>
                  <a:pt x="224171" y="34270"/>
                  <a:pt x="225970" y="37000"/>
                  <a:pt x="228600" y="38127"/>
                </a:cubicBezTo>
                <a:cubicBezTo>
                  <a:pt x="231608" y="39416"/>
                  <a:pt x="234950" y="39715"/>
                  <a:pt x="238125" y="40509"/>
                </a:cubicBezTo>
                <a:cubicBezTo>
                  <a:pt x="259977" y="55077"/>
                  <a:pt x="236885" y="36919"/>
                  <a:pt x="247650" y="92896"/>
                </a:cubicBezTo>
                <a:cubicBezTo>
                  <a:pt x="249985" y="105036"/>
                  <a:pt x="262777" y="110919"/>
                  <a:pt x="271462" y="116709"/>
                </a:cubicBezTo>
                <a:lnTo>
                  <a:pt x="285750" y="126234"/>
                </a:lnTo>
                <a:cubicBezTo>
                  <a:pt x="289927" y="129019"/>
                  <a:pt x="300037" y="130996"/>
                  <a:pt x="300037" y="130996"/>
                </a:cubicBezTo>
                <a:cubicBezTo>
                  <a:pt x="302418" y="132584"/>
                  <a:pt x="304440" y="134937"/>
                  <a:pt x="307181" y="135759"/>
                </a:cubicBezTo>
                <a:cubicBezTo>
                  <a:pt x="322873" y="140467"/>
                  <a:pt x="338946" y="136979"/>
                  <a:pt x="354806" y="135759"/>
                </a:cubicBezTo>
                <a:cubicBezTo>
                  <a:pt x="357981" y="134171"/>
                  <a:pt x="360963" y="132119"/>
                  <a:pt x="364331" y="130996"/>
                </a:cubicBezTo>
                <a:cubicBezTo>
                  <a:pt x="373556" y="127921"/>
                  <a:pt x="396638" y="126761"/>
                  <a:pt x="402431" y="126234"/>
                </a:cubicBezTo>
                <a:cubicBezTo>
                  <a:pt x="418769" y="120787"/>
                  <a:pt x="409644" y="122802"/>
                  <a:pt x="440531" y="126234"/>
                </a:cubicBezTo>
                <a:cubicBezTo>
                  <a:pt x="447249" y="126980"/>
                  <a:pt x="461139" y="130584"/>
                  <a:pt x="466725" y="133377"/>
                </a:cubicBezTo>
                <a:cubicBezTo>
                  <a:pt x="469900" y="134965"/>
                  <a:pt x="472926" y="136894"/>
                  <a:pt x="476250" y="138140"/>
                </a:cubicBezTo>
                <a:cubicBezTo>
                  <a:pt x="479314" y="139289"/>
                  <a:pt x="482580" y="139811"/>
                  <a:pt x="485775" y="140521"/>
                </a:cubicBezTo>
                <a:cubicBezTo>
                  <a:pt x="495186" y="142612"/>
                  <a:pt x="503042" y="143203"/>
                  <a:pt x="511968" y="147665"/>
                </a:cubicBezTo>
                <a:cubicBezTo>
                  <a:pt x="515143" y="149252"/>
                  <a:pt x="518197" y="151109"/>
                  <a:pt x="521493" y="152427"/>
                </a:cubicBezTo>
                <a:cubicBezTo>
                  <a:pt x="526154" y="154291"/>
                  <a:pt x="531604" y="154405"/>
                  <a:pt x="535781" y="157190"/>
                </a:cubicBezTo>
                <a:cubicBezTo>
                  <a:pt x="551389" y="167596"/>
                  <a:pt x="544344" y="166715"/>
                  <a:pt x="554831" y="16671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8" name="Блок-схема: узел 597"/>
          <p:cNvSpPr/>
          <p:nvPr/>
        </p:nvSpPr>
        <p:spPr bwMode="auto">
          <a:xfrm>
            <a:off x="5263421" y="1847757"/>
            <a:ext cx="12594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21" name="Блок-схема: узел 620"/>
          <p:cNvSpPr/>
          <p:nvPr/>
        </p:nvSpPr>
        <p:spPr bwMode="auto">
          <a:xfrm>
            <a:off x="4684985" y="1713040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4927328" y="1360966"/>
            <a:ext cx="91639" cy="83677"/>
          </a:xfrm>
          <a:custGeom>
            <a:avLst/>
            <a:gdLst>
              <a:gd name="connsiteX0" fmla="*/ 0 w 104775"/>
              <a:gd name="connsiteY0" fmla="*/ 0 h 119062"/>
              <a:gd name="connsiteX1" fmla="*/ 38100 w 104775"/>
              <a:gd name="connsiteY1" fmla="*/ 52387 h 119062"/>
              <a:gd name="connsiteX2" fmla="*/ 57150 w 104775"/>
              <a:gd name="connsiteY2" fmla="*/ 90487 h 119062"/>
              <a:gd name="connsiteX3" fmla="*/ 104775 w 104775"/>
              <a:gd name="connsiteY3" fmla="*/ 119062 h 11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19062">
                <a:moveTo>
                  <a:pt x="0" y="0"/>
                </a:moveTo>
                <a:cubicBezTo>
                  <a:pt x="14287" y="18653"/>
                  <a:pt x="28575" y="37306"/>
                  <a:pt x="38100" y="52387"/>
                </a:cubicBezTo>
                <a:cubicBezTo>
                  <a:pt x="47625" y="67468"/>
                  <a:pt x="46038" y="79375"/>
                  <a:pt x="57150" y="90487"/>
                </a:cubicBezTo>
                <a:cubicBezTo>
                  <a:pt x="68262" y="101599"/>
                  <a:pt x="86518" y="110330"/>
                  <a:pt x="104775" y="119062"/>
                </a:cubicBezTo>
              </a:path>
            </a:pathLst>
          </a:custGeom>
          <a:noFill/>
          <a:ln w="1016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3" tIns="38962" rIns="77923" bIns="38962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9" name="Полилиния 268"/>
          <p:cNvSpPr/>
          <p:nvPr/>
        </p:nvSpPr>
        <p:spPr>
          <a:xfrm>
            <a:off x="4953395" y="1349725"/>
            <a:ext cx="91639" cy="83677"/>
          </a:xfrm>
          <a:custGeom>
            <a:avLst/>
            <a:gdLst>
              <a:gd name="connsiteX0" fmla="*/ 0 w 104775"/>
              <a:gd name="connsiteY0" fmla="*/ 0 h 119062"/>
              <a:gd name="connsiteX1" fmla="*/ 38100 w 104775"/>
              <a:gd name="connsiteY1" fmla="*/ 52387 h 119062"/>
              <a:gd name="connsiteX2" fmla="*/ 57150 w 104775"/>
              <a:gd name="connsiteY2" fmla="*/ 90487 h 119062"/>
              <a:gd name="connsiteX3" fmla="*/ 104775 w 104775"/>
              <a:gd name="connsiteY3" fmla="*/ 119062 h 11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19062">
                <a:moveTo>
                  <a:pt x="0" y="0"/>
                </a:moveTo>
                <a:cubicBezTo>
                  <a:pt x="14287" y="18653"/>
                  <a:pt x="28575" y="37306"/>
                  <a:pt x="38100" y="52387"/>
                </a:cubicBezTo>
                <a:cubicBezTo>
                  <a:pt x="47625" y="67468"/>
                  <a:pt x="46038" y="79375"/>
                  <a:pt x="57150" y="90487"/>
                </a:cubicBezTo>
                <a:cubicBezTo>
                  <a:pt x="68262" y="101599"/>
                  <a:pt x="86518" y="110330"/>
                  <a:pt x="104775" y="119062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0" name="Полилиния 269"/>
          <p:cNvSpPr/>
          <p:nvPr/>
        </p:nvSpPr>
        <p:spPr>
          <a:xfrm>
            <a:off x="4927538" y="1357618"/>
            <a:ext cx="91639" cy="83677"/>
          </a:xfrm>
          <a:custGeom>
            <a:avLst/>
            <a:gdLst>
              <a:gd name="connsiteX0" fmla="*/ 0 w 104775"/>
              <a:gd name="connsiteY0" fmla="*/ 0 h 119062"/>
              <a:gd name="connsiteX1" fmla="*/ 38100 w 104775"/>
              <a:gd name="connsiteY1" fmla="*/ 52387 h 119062"/>
              <a:gd name="connsiteX2" fmla="*/ 57150 w 104775"/>
              <a:gd name="connsiteY2" fmla="*/ 90487 h 119062"/>
              <a:gd name="connsiteX3" fmla="*/ 104775 w 104775"/>
              <a:gd name="connsiteY3" fmla="*/ 119062 h 11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19062">
                <a:moveTo>
                  <a:pt x="0" y="0"/>
                </a:moveTo>
                <a:cubicBezTo>
                  <a:pt x="14287" y="18653"/>
                  <a:pt x="28575" y="37306"/>
                  <a:pt x="38100" y="52387"/>
                </a:cubicBezTo>
                <a:cubicBezTo>
                  <a:pt x="47625" y="67468"/>
                  <a:pt x="46038" y="79375"/>
                  <a:pt x="57150" y="90487"/>
                </a:cubicBezTo>
                <a:cubicBezTo>
                  <a:pt x="68262" y="101599"/>
                  <a:pt x="86518" y="110330"/>
                  <a:pt x="104775" y="119062"/>
                </a:cubicBezTo>
              </a:path>
            </a:pathLst>
          </a:cu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1" name="Полилиния 270"/>
          <p:cNvSpPr/>
          <p:nvPr/>
        </p:nvSpPr>
        <p:spPr>
          <a:xfrm>
            <a:off x="4906632" y="1374418"/>
            <a:ext cx="91639" cy="83677"/>
          </a:xfrm>
          <a:custGeom>
            <a:avLst/>
            <a:gdLst>
              <a:gd name="connsiteX0" fmla="*/ 0 w 104775"/>
              <a:gd name="connsiteY0" fmla="*/ 0 h 119062"/>
              <a:gd name="connsiteX1" fmla="*/ 38100 w 104775"/>
              <a:gd name="connsiteY1" fmla="*/ 52387 h 119062"/>
              <a:gd name="connsiteX2" fmla="*/ 57150 w 104775"/>
              <a:gd name="connsiteY2" fmla="*/ 90487 h 119062"/>
              <a:gd name="connsiteX3" fmla="*/ 104775 w 104775"/>
              <a:gd name="connsiteY3" fmla="*/ 119062 h 119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775" h="119062">
                <a:moveTo>
                  <a:pt x="0" y="0"/>
                </a:moveTo>
                <a:cubicBezTo>
                  <a:pt x="14287" y="18653"/>
                  <a:pt x="28575" y="37306"/>
                  <a:pt x="38100" y="52387"/>
                </a:cubicBezTo>
                <a:cubicBezTo>
                  <a:pt x="47625" y="67468"/>
                  <a:pt x="46038" y="79375"/>
                  <a:pt x="57150" y="90487"/>
                </a:cubicBezTo>
                <a:cubicBezTo>
                  <a:pt x="68262" y="101599"/>
                  <a:pt x="86518" y="110330"/>
                  <a:pt x="104775" y="119062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5" name="Блок-схема: узел 654"/>
          <p:cNvSpPr/>
          <p:nvPr/>
        </p:nvSpPr>
        <p:spPr bwMode="auto">
          <a:xfrm>
            <a:off x="5014097" y="1450530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66" name="Блок-схема: узел 665"/>
          <p:cNvSpPr/>
          <p:nvPr/>
        </p:nvSpPr>
        <p:spPr bwMode="auto">
          <a:xfrm>
            <a:off x="4848906" y="1292210"/>
            <a:ext cx="125966" cy="101179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14" name="Блок-схема: узел 613"/>
          <p:cNvSpPr/>
          <p:nvPr/>
        </p:nvSpPr>
        <p:spPr bwMode="auto">
          <a:xfrm>
            <a:off x="3021568" y="2145321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6" name="Полилиния 275"/>
          <p:cNvSpPr/>
          <p:nvPr/>
        </p:nvSpPr>
        <p:spPr>
          <a:xfrm>
            <a:off x="6254238" y="1434655"/>
            <a:ext cx="58392" cy="127332"/>
          </a:xfrm>
          <a:custGeom>
            <a:avLst/>
            <a:gdLst>
              <a:gd name="connsiteX0" fmla="*/ 66763 w 66763"/>
              <a:gd name="connsiteY0" fmla="*/ 0 h 181180"/>
              <a:gd name="connsiteX1" fmla="*/ 4850 w 66763"/>
              <a:gd name="connsiteY1" fmla="*/ 66675 h 181180"/>
              <a:gd name="connsiteX2" fmla="*/ 4850 w 66763"/>
              <a:gd name="connsiteY2" fmla="*/ 85725 h 181180"/>
              <a:gd name="connsiteX3" fmla="*/ 88 w 66763"/>
              <a:gd name="connsiteY3" fmla="*/ 128588 h 181180"/>
              <a:gd name="connsiteX4" fmla="*/ 9613 w 66763"/>
              <a:gd name="connsiteY4" fmla="*/ 147638 h 181180"/>
              <a:gd name="connsiteX5" fmla="*/ 14375 w 66763"/>
              <a:gd name="connsiteY5" fmla="*/ 176213 h 181180"/>
              <a:gd name="connsiteX6" fmla="*/ 23900 w 66763"/>
              <a:gd name="connsiteY6" fmla="*/ 180975 h 181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763" h="181180">
                <a:moveTo>
                  <a:pt x="66763" y="0"/>
                </a:moveTo>
                <a:cubicBezTo>
                  <a:pt x="40966" y="26194"/>
                  <a:pt x="15169" y="52388"/>
                  <a:pt x="4850" y="66675"/>
                </a:cubicBezTo>
                <a:cubicBezTo>
                  <a:pt x="-5469" y="80962"/>
                  <a:pt x="5644" y="75406"/>
                  <a:pt x="4850" y="85725"/>
                </a:cubicBezTo>
                <a:cubicBezTo>
                  <a:pt x="4056" y="96044"/>
                  <a:pt x="-706" y="118269"/>
                  <a:pt x="88" y="128588"/>
                </a:cubicBezTo>
                <a:cubicBezTo>
                  <a:pt x="882" y="138907"/>
                  <a:pt x="7232" y="139701"/>
                  <a:pt x="9613" y="147638"/>
                </a:cubicBezTo>
                <a:cubicBezTo>
                  <a:pt x="11994" y="155575"/>
                  <a:pt x="11994" y="170657"/>
                  <a:pt x="14375" y="176213"/>
                </a:cubicBezTo>
                <a:cubicBezTo>
                  <a:pt x="16756" y="181769"/>
                  <a:pt x="20328" y="181372"/>
                  <a:pt x="23900" y="180975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36" name="Блок-схема: узел 635"/>
          <p:cNvSpPr/>
          <p:nvPr/>
        </p:nvSpPr>
        <p:spPr bwMode="auto">
          <a:xfrm>
            <a:off x="6265888" y="1472745"/>
            <a:ext cx="125966" cy="10120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8" name="Блок-схема: узел 267"/>
          <p:cNvSpPr/>
          <p:nvPr/>
        </p:nvSpPr>
        <p:spPr bwMode="auto">
          <a:xfrm>
            <a:off x="1958164" y="3370835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2" name="Блок-схема: узел 271"/>
          <p:cNvSpPr/>
          <p:nvPr/>
        </p:nvSpPr>
        <p:spPr bwMode="auto">
          <a:xfrm>
            <a:off x="7474010" y="3421119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4" name="Блок-схема: узел 273"/>
          <p:cNvSpPr/>
          <p:nvPr/>
        </p:nvSpPr>
        <p:spPr bwMode="auto">
          <a:xfrm>
            <a:off x="6708755" y="3595299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5" name="Блок-схема: узел 274"/>
          <p:cNvSpPr/>
          <p:nvPr/>
        </p:nvSpPr>
        <p:spPr bwMode="auto">
          <a:xfrm>
            <a:off x="5607314" y="2149807"/>
            <a:ext cx="94475" cy="75884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80" name="AutoShape 19"/>
          <p:cNvSpPr>
            <a:spLocks noChangeArrowheads="1"/>
          </p:cNvSpPr>
          <p:nvPr/>
        </p:nvSpPr>
        <p:spPr bwMode="auto">
          <a:xfrm>
            <a:off x="6076691" y="1158788"/>
            <a:ext cx="463712" cy="9125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00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Омбыға</a:t>
            </a:r>
            <a:endParaRPr lang="ru-RU" sz="600" dirty="0">
              <a:solidFill>
                <a:prstClr val="black">
                  <a:lumMod val="75000"/>
                  <a:lumOff val="25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6" name="AutoShape 19"/>
          <p:cNvSpPr>
            <a:spLocks noChangeArrowheads="1"/>
          </p:cNvSpPr>
          <p:nvPr/>
        </p:nvSpPr>
        <p:spPr bwMode="auto">
          <a:xfrm>
            <a:off x="4684985" y="4536880"/>
            <a:ext cx="478917" cy="841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340" tIns="30678" rIns="15340" bIns="30678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itchFamily="34" charset="0"/>
                <a:cs typeface="Arial" pitchFamily="34" charset="0"/>
              </a:rPr>
              <a:t>Ташкент</a:t>
            </a:r>
          </a:p>
        </p:txBody>
      </p:sp>
      <p:sp>
        <p:nvSpPr>
          <p:cNvPr id="252" name="Полилиния 251"/>
          <p:cNvSpPr/>
          <p:nvPr/>
        </p:nvSpPr>
        <p:spPr>
          <a:xfrm>
            <a:off x="1554759" y="1842334"/>
            <a:ext cx="672823" cy="207469"/>
          </a:xfrm>
          <a:custGeom>
            <a:avLst/>
            <a:gdLst>
              <a:gd name="connsiteX0" fmla="*/ 0 w 769144"/>
              <a:gd name="connsiteY0" fmla="*/ 0 h 295275"/>
              <a:gd name="connsiteX1" fmla="*/ 4762 w 769144"/>
              <a:gd name="connsiteY1" fmla="*/ 19050 h 295275"/>
              <a:gd name="connsiteX2" fmla="*/ 14287 w 769144"/>
              <a:gd name="connsiteY2" fmla="*/ 45244 h 295275"/>
              <a:gd name="connsiteX3" fmla="*/ 16669 w 769144"/>
              <a:gd name="connsiteY3" fmla="*/ 64294 h 295275"/>
              <a:gd name="connsiteX4" fmla="*/ 30956 w 769144"/>
              <a:gd name="connsiteY4" fmla="*/ 92869 h 295275"/>
              <a:gd name="connsiteX5" fmla="*/ 45244 w 769144"/>
              <a:gd name="connsiteY5" fmla="*/ 109538 h 295275"/>
              <a:gd name="connsiteX6" fmla="*/ 52387 w 769144"/>
              <a:gd name="connsiteY6" fmla="*/ 111919 h 295275"/>
              <a:gd name="connsiteX7" fmla="*/ 59531 w 769144"/>
              <a:gd name="connsiteY7" fmla="*/ 119063 h 295275"/>
              <a:gd name="connsiteX8" fmla="*/ 66675 w 769144"/>
              <a:gd name="connsiteY8" fmla="*/ 123825 h 295275"/>
              <a:gd name="connsiteX9" fmla="*/ 78581 w 769144"/>
              <a:gd name="connsiteY9" fmla="*/ 133350 h 295275"/>
              <a:gd name="connsiteX10" fmla="*/ 85725 w 769144"/>
              <a:gd name="connsiteY10" fmla="*/ 138113 h 295275"/>
              <a:gd name="connsiteX11" fmla="*/ 92869 w 769144"/>
              <a:gd name="connsiteY11" fmla="*/ 145257 h 295275"/>
              <a:gd name="connsiteX12" fmla="*/ 107156 w 769144"/>
              <a:gd name="connsiteY12" fmla="*/ 150019 h 295275"/>
              <a:gd name="connsiteX13" fmla="*/ 114300 w 769144"/>
              <a:gd name="connsiteY13" fmla="*/ 154782 h 295275"/>
              <a:gd name="connsiteX14" fmla="*/ 128587 w 769144"/>
              <a:gd name="connsiteY14" fmla="*/ 159544 h 295275"/>
              <a:gd name="connsiteX15" fmla="*/ 135731 w 769144"/>
              <a:gd name="connsiteY15" fmla="*/ 161925 h 295275"/>
              <a:gd name="connsiteX16" fmla="*/ 159544 w 769144"/>
              <a:gd name="connsiteY16" fmla="*/ 169069 h 295275"/>
              <a:gd name="connsiteX17" fmla="*/ 180975 w 769144"/>
              <a:gd name="connsiteY17" fmla="*/ 178594 h 295275"/>
              <a:gd name="connsiteX18" fmla="*/ 197644 w 769144"/>
              <a:gd name="connsiteY18" fmla="*/ 183357 h 295275"/>
              <a:gd name="connsiteX19" fmla="*/ 211931 w 769144"/>
              <a:gd name="connsiteY19" fmla="*/ 188119 h 295275"/>
              <a:gd name="connsiteX20" fmla="*/ 228600 w 769144"/>
              <a:gd name="connsiteY20" fmla="*/ 192882 h 295275"/>
              <a:gd name="connsiteX21" fmla="*/ 242887 w 769144"/>
              <a:gd name="connsiteY21" fmla="*/ 197644 h 295275"/>
              <a:gd name="connsiteX22" fmla="*/ 250031 w 769144"/>
              <a:gd name="connsiteY22" fmla="*/ 200025 h 295275"/>
              <a:gd name="connsiteX23" fmla="*/ 271462 w 769144"/>
              <a:gd name="connsiteY23" fmla="*/ 202407 h 295275"/>
              <a:gd name="connsiteX24" fmla="*/ 300037 w 769144"/>
              <a:gd name="connsiteY24" fmla="*/ 209550 h 295275"/>
              <a:gd name="connsiteX25" fmla="*/ 335756 w 769144"/>
              <a:gd name="connsiteY25" fmla="*/ 216694 h 295275"/>
              <a:gd name="connsiteX26" fmla="*/ 359569 w 769144"/>
              <a:gd name="connsiteY26" fmla="*/ 223838 h 295275"/>
              <a:gd name="connsiteX27" fmla="*/ 373856 w 769144"/>
              <a:gd name="connsiteY27" fmla="*/ 233363 h 295275"/>
              <a:gd name="connsiteX28" fmla="*/ 381000 w 769144"/>
              <a:gd name="connsiteY28" fmla="*/ 238125 h 295275"/>
              <a:gd name="connsiteX29" fmla="*/ 395287 w 769144"/>
              <a:gd name="connsiteY29" fmla="*/ 242888 h 295275"/>
              <a:gd name="connsiteX30" fmla="*/ 402431 w 769144"/>
              <a:gd name="connsiteY30" fmla="*/ 250032 h 295275"/>
              <a:gd name="connsiteX31" fmla="*/ 409575 w 769144"/>
              <a:gd name="connsiteY31" fmla="*/ 252413 h 295275"/>
              <a:gd name="connsiteX32" fmla="*/ 416719 w 769144"/>
              <a:gd name="connsiteY32" fmla="*/ 257175 h 295275"/>
              <a:gd name="connsiteX33" fmla="*/ 426244 w 769144"/>
              <a:gd name="connsiteY33" fmla="*/ 259557 h 295275"/>
              <a:gd name="connsiteX34" fmla="*/ 452437 w 769144"/>
              <a:gd name="connsiteY34" fmla="*/ 266700 h 295275"/>
              <a:gd name="connsiteX35" fmla="*/ 459581 w 769144"/>
              <a:gd name="connsiteY35" fmla="*/ 269082 h 295275"/>
              <a:gd name="connsiteX36" fmla="*/ 490537 w 769144"/>
              <a:gd name="connsiteY36" fmla="*/ 273844 h 295275"/>
              <a:gd name="connsiteX37" fmla="*/ 504825 w 769144"/>
              <a:gd name="connsiteY37" fmla="*/ 278607 h 295275"/>
              <a:gd name="connsiteX38" fmla="*/ 571500 w 769144"/>
              <a:gd name="connsiteY38" fmla="*/ 283369 h 295275"/>
              <a:gd name="connsiteX39" fmla="*/ 628650 w 769144"/>
              <a:gd name="connsiteY39" fmla="*/ 285750 h 295275"/>
              <a:gd name="connsiteX40" fmla="*/ 664369 w 769144"/>
              <a:gd name="connsiteY40" fmla="*/ 290513 h 295275"/>
              <a:gd name="connsiteX41" fmla="*/ 673894 w 769144"/>
              <a:gd name="connsiteY41" fmla="*/ 292894 h 295275"/>
              <a:gd name="connsiteX42" fmla="*/ 700087 w 769144"/>
              <a:gd name="connsiteY42" fmla="*/ 295275 h 295275"/>
              <a:gd name="connsiteX43" fmla="*/ 769144 w 769144"/>
              <a:gd name="connsiteY43" fmla="*/ 292894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769144" h="295275">
                <a:moveTo>
                  <a:pt x="0" y="0"/>
                </a:moveTo>
                <a:cubicBezTo>
                  <a:pt x="5822" y="29114"/>
                  <a:pt x="-727" y="-1076"/>
                  <a:pt x="4762" y="19050"/>
                </a:cubicBezTo>
                <a:cubicBezTo>
                  <a:pt x="11058" y="42135"/>
                  <a:pt x="5528" y="32103"/>
                  <a:pt x="14287" y="45244"/>
                </a:cubicBezTo>
                <a:cubicBezTo>
                  <a:pt x="15081" y="51594"/>
                  <a:pt x="15328" y="58037"/>
                  <a:pt x="16669" y="64294"/>
                </a:cubicBezTo>
                <a:cubicBezTo>
                  <a:pt x="19416" y="77113"/>
                  <a:pt x="23007" y="82271"/>
                  <a:pt x="30956" y="92869"/>
                </a:cubicBezTo>
                <a:cubicBezTo>
                  <a:pt x="34257" y="97271"/>
                  <a:pt x="40269" y="106221"/>
                  <a:pt x="45244" y="109538"/>
                </a:cubicBezTo>
                <a:cubicBezTo>
                  <a:pt x="47332" y="110930"/>
                  <a:pt x="50006" y="111125"/>
                  <a:pt x="52387" y="111919"/>
                </a:cubicBezTo>
                <a:cubicBezTo>
                  <a:pt x="54768" y="114300"/>
                  <a:pt x="56944" y="116907"/>
                  <a:pt x="59531" y="119063"/>
                </a:cubicBezTo>
                <a:cubicBezTo>
                  <a:pt x="61730" y="120895"/>
                  <a:pt x="64651" y="121801"/>
                  <a:pt x="66675" y="123825"/>
                </a:cubicBezTo>
                <a:cubicBezTo>
                  <a:pt x="77447" y="134597"/>
                  <a:pt x="64672" y="128714"/>
                  <a:pt x="78581" y="133350"/>
                </a:cubicBezTo>
                <a:cubicBezTo>
                  <a:pt x="80962" y="134938"/>
                  <a:pt x="83526" y="136281"/>
                  <a:pt x="85725" y="138113"/>
                </a:cubicBezTo>
                <a:cubicBezTo>
                  <a:pt x="88312" y="140269"/>
                  <a:pt x="89925" y="143622"/>
                  <a:pt x="92869" y="145257"/>
                </a:cubicBezTo>
                <a:cubicBezTo>
                  <a:pt x="97257" y="147695"/>
                  <a:pt x="107156" y="150019"/>
                  <a:pt x="107156" y="150019"/>
                </a:cubicBezTo>
                <a:cubicBezTo>
                  <a:pt x="109537" y="151607"/>
                  <a:pt x="111685" y="153620"/>
                  <a:pt x="114300" y="154782"/>
                </a:cubicBezTo>
                <a:cubicBezTo>
                  <a:pt x="118887" y="156821"/>
                  <a:pt x="123825" y="157957"/>
                  <a:pt x="128587" y="159544"/>
                </a:cubicBezTo>
                <a:cubicBezTo>
                  <a:pt x="130968" y="160338"/>
                  <a:pt x="133486" y="160802"/>
                  <a:pt x="135731" y="161925"/>
                </a:cubicBezTo>
                <a:cubicBezTo>
                  <a:pt x="149575" y="168847"/>
                  <a:pt x="141754" y="166104"/>
                  <a:pt x="159544" y="169069"/>
                </a:cubicBezTo>
                <a:cubicBezTo>
                  <a:pt x="196415" y="181361"/>
                  <a:pt x="158326" y="167271"/>
                  <a:pt x="180975" y="178594"/>
                </a:cubicBezTo>
                <a:cubicBezTo>
                  <a:pt x="184972" y="180592"/>
                  <a:pt x="193835" y="182214"/>
                  <a:pt x="197644" y="183357"/>
                </a:cubicBezTo>
                <a:cubicBezTo>
                  <a:pt x="202452" y="184800"/>
                  <a:pt x="207169" y="186532"/>
                  <a:pt x="211931" y="188119"/>
                </a:cubicBezTo>
                <a:cubicBezTo>
                  <a:pt x="235937" y="196120"/>
                  <a:pt x="198702" y="183912"/>
                  <a:pt x="228600" y="192882"/>
                </a:cubicBezTo>
                <a:cubicBezTo>
                  <a:pt x="233408" y="194325"/>
                  <a:pt x="238125" y="196057"/>
                  <a:pt x="242887" y="197644"/>
                </a:cubicBezTo>
                <a:cubicBezTo>
                  <a:pt x="245268" y="198438"/>
                  <a:pt x="247536" y="199748"/>
                  <a:pt x="250031" y="200025"/>
                </a:cubicBezTo>
                <a:lnTo>
                  <a:pt x="271462" y="202407"/>
                </a:lnTo>
                <a:cubicBezTo>
                  <a:pt x="290330" y="208696"/>
                  <a:pt x="280798" y="206344"/>
                  <a:pt x="300037" y="209550"/>
                </a:cubicBezTo>
                <a:cubicBezTo>
                  <a:pt x="321144" y="216586"/>
                  <a:pt x="309335" y="213759"/>
                  <a:pt x="335756" y="216694"/>
                </a:cubicBezTo>
                <a:cubicBezTo>
                  <a:pt x="353149" y="222492"/>
                  <a:pt x="345174" y="220240"/>
                  <a:pt x="359569" y="223838"/>
                </a:cubicBezTo>
                <a:lnTo>
                  <a:pt x="373856" y="233363"/>
                </a:lnTo>
                <a:cubicBezTo>
                  <a:pt x="376237" y="234950"/>
                  <a:pt x="378285" y="237220"/>
                  <a:pt x="381000" y="238125"/>
                </a:cubicBezTo>
                <a:lnTo>
                  <a:pt x="395287" y="242888"/>
                </a:lnTo>
                <a:cubicBezTo>
                  <a:pt x="397668" y="245269"/>
                  <a:pt x="399629" y="248164"/>
                  <a:pt x="402431" y="250032"/>
                </a:cubicBezTo>
                <a:cubicBezTo>
                  <a:pt x="404520" y="251424"/>
                  <a:pt x="407330" y="251291"/>
                  <a:pt x="409575" y="252413"/>
                </a:cubicBezTo>
                <a:cubicBezTo>
                  <a:pt x="412135" y="253693"/>
                  <a:pt x="414089" y="256048"/>
                  <a:pt x="416719" y="257175"/>
                </a:cubicBezTo>
                <a:cubicBezTo>
                  <a:pt x="419727" y="258464"/>
                  <a:pt x="423109" y="258617"/>
                  <a:pt x="426244" y="259557"/>
                </a:cubicBezTo>
                <a:cubicBezTo>
                  <a:pt x="477337" y="274886"/>
                  <a:pt x="409029" y="255847"/>
                  <a:pt x="452437" y="266700"/>
                </a:cubicBezTo>
                <a:cubicBezTo>
                  <a:pt x="454872" y="267309"/>
                  <a:pt x="457120" y="268590"/>
                  <a:pt x="459581" y="269082"/>
                </a:cubicBezTo>
                <a:cubicBezTo>
                  <a:pt x="467136" y="270593"/>
                  <a:pt x="482665" y="271876"/>
                  <a:pt x="490537" y="273844"/>
                </a:cubicBezTo>
                <a:cubicBezTo>
                  <a:pt x="495407" y="275062"/>
                  <a:pt x="499819" y="278222"/>
                  <a:pt x="504825" y="278607"/>
                </a:cubicBezTo>
                <a:lnTo>
                  <a:pt x="571500" y="283369"/>
                </a:lnTo>
                <a:lnTo>
                  <a:pt x="628650" y="285750"/>
                </a:lnTo>
                <a:cubicBezTo>
                  <a:pt x="635267" y="286577"/>
                  <a:pt x="657154" y="289201"/>
                  <a:pt x="664369" y="290513"/>
                </a:cubicBezTo>
                <a:cubicBezTo>
                  <a:pt x="667589" y="291098"/>
                  <a:pt x="670650" y="292462"/>
                  <a:pt x="673894" y="292894"/>
                </a:cubicBezTo>
                <a:cubicBezTo>
                  <a:pt x="682584" y="294053"/>
                  <a:pt x="691356" y="294481"/>
                  <a:pt x="700087" y="295275"/>
                </a:cubicBezTo>
                <a:cubicBezTo>
                  <a:pt x="737297" y="291141"/>
                  <a:pt x="714331" y="292894"/>
                  <a:pt x="769144" y="292894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anchor="ctr"/>
          <a:lstStyle/>
          <a:p>
            <a:pPr algn="ctr" defTabSz="697774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253" name="Прямая соединительная линия 252"/>
          <p:cNvCxnSpPr/>
          <p:nvPr/>
        </p:nvCxnSpPr>
        <p:spPr>
          <a:xfrm>
            <a:off x="1379948" y="1536732"/>
            <a:ext cx="28947" cy="75362"/>
          </a:xfrm>
          <a:prstGeom prst="line">
            <a:avLst/>
          </a:pr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84" name="TextBox 319"/>
          <p:cNvSpPr txBox="1">
            <a:spLocks noChangeArrowheads="1"/>
          </p:cNvSpPr>
          <p:nvPr/>
        </p:nvSpPr>
        <p:spPr bwMode="auto">
          <a:xfrm>
            <a:off x="48472" y="322414"/>
            <a:ext cx="2972243" cy="1100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9770" tIns="34886" rIns="69770" bIns="348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</a:rPr>
              <a:t>2021 </a:t>
            </a:r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ылдың</a:t>
            </a:r>
            <a:r>
              <a:rPr lang="ru-RU" sz="10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Arial" panose="020B0604020202020204" pitchFamily="34" charset="0"/>
              </a:rPr>
              <a:t>қорытындысы</a:t>
            </a:r>
            <a:endParaRPr lang="ru-RU" sz="1000" b="1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1,5 </a:t>
            </a:r>
            <a:r>
              <a:rPr lang="ru-RU" sz="1100" b="1" dirty="0" err="1">
                <a:solidFill>
                  <a:srgbClr val="00B050"/>
                </a:solidFill>
                <a:latin typeface="Arial" pitchFamily="34" charset="0"/>
              </a:rPr>
              <a:t>мың</a:t>
            </a: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 км </a:t>
            </a:r>
            <a:r>
              <a:rPr 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қылы</a:t>
            </a:r>
            <a:r>
              <a:rPr 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жол</a:t>
            </a:r>
            <a:r>
              <a:rPr 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енгізілді</a:t>
            </a:r>
            <a:r>
              <a:rPr 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:</a:t>
            </a: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2060"/>
                </a:solidFill>
                <a:latin typeface="Arial" panose="020B0604020202020204" pitchFamily="34" charset="0"/>
              </a:rPr>
              <a:t>                  </a:t>
            </a: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существ.   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ақыл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учаскелер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	– 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0,7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мың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. км</a:t>
            </a:r>
          </a:p>
          <a:p>
            <a:pPr defTabSz="697774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                 </a:t>
            </a:r>
            <a:r>
              <a:rPr lang="en-US" sz="900" dirty="0">
                <a:solidFill>
                  <a:srgbClr val="002060"/>
                </a:solidFill>
                <a:latin typeface="Arial" pitchFamily="34" charset="0"/>
              </a:rPr>
              <a:t>I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санаттағ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учаскелер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	– 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1,5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мың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. км</a:t>
            </a:r>
          </a:p>
          <a:p>
            <a:pPr defTabSz="697774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Алымдар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- </a:t>
            </a: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8,1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млрд. тг.</a:t>
            </a:r>
            <a:endParaRPr lang="ru-RU" sz="900" dirty="0">
              <a:solidFill>
                <a:srgbClr val="002060"/>
              </a:solidFill>
              <a:latin typeface="Arial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19855" y="805344"/>
            <a:ext cx="501326" cy="144748"/>
            <a:chOff x="106790" y="712983"/>
            <a:chExt cx="597413" cy="144000"/>
          </a:xfrm>
        </p:grpSpPr>
        <p:grpSp>
          <p:nvGrpSpPr>
            <p:cNvPr id="14" name="Группа 322"/>
            <p:cNvGrpSpPr/>
            <p:nvPr/>
          </p:nvGrpSpPr>
          <p:grpSpPr>
            <a:xfrm>
              <a:off x="106790" y="712983"/>
              <a:ext cx="597413" cy="144000"/>
              <a:chOff x="7006724" y="6366710"/>
              <a:chExt cx="839710" cy="144000"/>
            </a:xfrm>
            <a:solidFill>
              <a:srgbClr val="00B050"/>
            </a:solidFill>
          </p:grpSpPr>
          <p:cxnSp>
            <p:nvCxnSpPr>
              <p:cNvPr id="324" name="Прямая соединительная линия 323"/>
              <p:cNvCxnSpPr/>
              <p:nvPr/>
            </p:nvCxnSpPr>
            <p:spPr>
              <a:xfrm rot="10800000" flipH="1" flipV="1">
                <a:off x="7176395" y="6403190"/>
                <a:ext cx="590821" cy="239"/>
              </a:xfrm>
              <a:prstGeom prst="line">
                <a:avLst/>
              </a:prstGeom>
              <a:grpFill/>
              <a:ln w="15875">
                <a:solidFill>
                  <a:schemeClr val="bg1"/>
                </a:solidFill>
                <a:prstDash val="lg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5" name="Прямоугольник 324"/>
              <p:cNvSpPr/>
              <p:nvPr/>
            </p:nvSpPr>
            <p:spPr>
              <a:xfrm>
                <a:off x="7006724" y="6366710"/>
                <a:ext cx="816786" cy="144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7287" tIns="53643" rIns="107287" bIns="53643"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326" name="Прямая соединительная линия 325"/>
              <p:cNvCxnSpPr/>
              <p:nvPr/>
            </p:nvCxnSpPr>
            <p:spPr>
              <a:xfrm flipV="1">
                <a:off x="7029648" y="6473525"/>
                <a:ext cx="816786" cy="3128"/>
              </a:xfrm>
              <a:prstGeom prst="line">
                <a:avLst/>
              </a:prstGeom>
              <a:grpFill/>
              <a:ln w="158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7" name="Прямая соединительная линия 326"/>
              <p:cNvCxnSpPr/>
              <p:nvPr/>
            </p:nvCxnSpPr>
            <p:spPr>
              <a:xfrm>
                <a:off x="7025774" y="6396981"/>
                <a:ext cx="807096" cy="1686"/>
              </a:xfrm>
              <a:prstGeom prst="line">
                <a:avLst/>
              </a:prstGeom>
              <a:grpFill/>
              <a:ln w="15875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44" name="Прямая соединительная линия 343"/>
            <p:cNvCxnSpPr/>
            <p:nvPr/>
          </p:nvCxnSpPr>
          <p:spPr>
            <a:xfrm>
              <a:off x="108689" y="784849"/>
              <a:ext cx="581104" cy="0"/>
            </a:xfrm>
            <a:prstGeom prst="line">
              <a:avLst/>
            </a:prstGeom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3"/>
          <p:cNvGrpSpPr/>
          <p:nvPr/>
        </p:nvGrpSpPr>
        <p:grpSpPr>
          <a:xfrm>
            <a:off x="126393" y="987211"/>
            <a:ext cx="505828" cy="154743"/>
            <a:chOff x="106790" y="1000999"/>
            <a:chExt cx="602778" cy="144000"/>
          </a:xfrm>
        </p:grpSpPr>
        <p:sp>
          <p:nvSpPr>
            <p:cNvPr id="680" name="Прямоугольник 679"/>
            <p:cNvSpPr/>
            <p:nvPr/>
          </p:nvSpPr>
          <p:spPr>
            <a:xfrm>
              <a:off x="106790" y="1000999"/>
              <a:ext cx="581104" cy="14400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287" tIns="53643" rIns="107287" bIns="53643" rtlCol="0" anchor="ctr"/>
            <a:lstStyle/>
            <a:p>
              <a:pPr algn="ctr"/>
              <a:endParaRPr lang="ru-RU"/>
            </a:p>
          </p:txBody>
        </p:sp>
        <p:cxnSp>
          <p:nvCxnSpPr>
            <p:cNvPr id="681" name="Прямая соединительная линия 680"/>
            <p:cNvCxnSpPr>
              <a:stCxn id="680" idx="1"/>
              <a:endCxn id="680" idx="3"/>
            </p:cNvCxnSpPr>
            <p:nvPr/>
          </p:nvCxnSpPr>
          <p:spPr>
            <a:xfrm>
              <a:off x="106790" y="1072999"/>
              <a:ext cx="581104" cy="0"/>
            </a:xfrm>
            <a:prstGeom prst="line">
              <a:avLst/>
            </a:prstGeom>
            <a:ln w="158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2" name="Прямая соединительная линия 681"/>
            <p:cNvCxnSpPr/>
            <p:nvPr/>
          </p:nvCxnSpPr>
          <p:spPr>
            <a:xfrm flipV="1">
              <a:off x="128464" y="1033093"/>
              <a:ext cx="581104" cy="3128"/>
            </a:xfrm>
            <a:prstGeom prst="line">
              <a:avLst/>
            </a:prstGeom>
            <a:ln w="158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5" name="Прямая соединительная линия 334"/>
            <p:cNvCxnSpPr/>
            <p:nvPr/>
          </p:nvCxnSpPr>
          <p:spPr>
            <a:xfrm flipV="1">
              <a:off x="128464" y="1103346"/>
              <a:ext cx="581104" cy="3128"/>
            </a:xfrm>
            <a:prstGeom prst="line">
              <a:avLst/>
            </a:prstGeom>
            <a:ln w="158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Группа 19"/>
          <p:cNvGrpSpPr/>
          <p:nvPr/>
        </p:nvGrpSpPr>
        <p:grpSpPr>
          <a:xfrm>
            <a:off x="6792865" y="805344"/>
            <a:ext cx="495248" cy="131430"/>
            <a:chOff x="106790" y="1289031"/>
            <a:chExt cx="590171" cy="144000"/>
          </a:xfrm>
        </p:grpSpPr>
        <p:cxnSp>
          <p:nvCxnSpPr>
            <p:cNvPr id="671" name="Прямая соединительная линия 670"/>
            <p:cNvCxnSpPr/>
            <p:nvPr/>
          </p:nvCxnSpPr>
          <p:spPr>
            <a:xfrm rot="10800000" flipH="1" flipV="1">
              <a:off x="227503" y="1325511"/>
              <a:ext cx="420341" cy="239"/>
            </a:xfrm>
            <a:prstGeom prst="line">
              <a:avLst/>
            </a:prstGeom>
            <a:solidFill>
              <a:srgbClr val="00B0F0"/>
            </a:solidFill>
            <a:ln w="15875">
              <a:solidFill>
                <a:schemeClr val="bg1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2" name="Прямоугольник 671"/>
            <p:cNvSpPr/>
            <p:nvPr/>
          </p:nvSpPr>
          <p:spPr>
            <a:xfrm>
              <a:off x="106790" y="1289031"/>
              <a:ext cx="581104" cy="1440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7287" tIns="53643" rIns="107287" bIns="53643" rtlCol="0" anchor="ctr"/>
            <a:lstStyle/>
            <a:p>
              <a:pPr algn="ctr"/>
              <a:endParaRPr lang="ru-RU"/>
            </a:p>
          </p:txBody>
        </p:sp>
        <p:cxnSp>
          <p:nvCxnSpPr>
            <p:cNvPr id="673" name="Прямая соединительная линия 672"/>
            <p:cNvCxnSpPr/>
            <p:nvPr/>
          </p:nvCxnSpPr>
          <p:spPr>
            <a:xfrm flipV="1">
              <a:off x="115857" y="1389948"/>
              <a:ext cx="581104" cy="3128"/>
            </a:xfrm>
            <a:prstGeom prst="line">
              <a:avLst/>
            </a:prstGeom>
            <a:ln w="158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4" name="Прямая соединительная линия 673"/>
            <p:cNvCxnSpPr/>
            <p:nvPr/>
          </p:nvCxnSpPr>
          <p:spPr>
            <a:xfrm flipV="1">
              <a:off x="115857" y="1323876"/>
              <a:ext cx="581104" cy="2844"/>
            </a:xfrm>
            <a:prstGeom prst="line">
              <a:avLst/>
            </a:prstGeom>
            <a:ln w="15875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4" name="TextBox 4"/>
          <p:cNvSpPr txBox="1">
            <a:spLocks noChangeArrowheads="1"/>
          </p:cNvSpPr>
          <p:nvPr/>
        </p:nvSpPr>
        <p:spPr bwMode="auto">
          <a:xfrm>
            <a:off x="10519" y="4423779"/>
            <a:ext cx="4549542" cy="740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019" tIns="46510" rIns="93019" bIns="4651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171450" indent="-171450" defTabSz="930294" eaLnBrk="1" fontAlgn="base" hangingPunct="1">
              <a:lnSpc>
                <a:spcPct val="150000"/>
              </a:lnSpc>
              <a:spcAft>
                <a:spcPct val="0"/>
              </a:spcAft>
              <a:buFontTx/>
              <a:buChar char="-"/>
            </a:pP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Астана-Щучинск" 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2013 </a:t>
            </a:r>
            <a:r>
              <a:rPr lang="ru-RU" sz="700" dirty="0" err="1">
                <a:solidFill>
                  <a:srgbClr val="00B050"/>
                </a:solidFill>
                <a:latin typeface="Arial" pitchFamily="34" charset="0"/>
              </a:rPr>
              <a:t>жылы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 </a:t>
            </a:r>
            <a:r>
              <a:rPr lang="ru-RU" sz="700" dirty="0" err="1">
                <a:solidFill>
                  <a:srgbClr val="00B050"/>
                </a:solidFill>
                <a:latin typeface="Arial" pitchFamily="34" charset="0"/>
              </a:rPr>
              <a:t>енгізілді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 (211 км) </a:t>
            </a:r>
          </a:p>
          <a:p>
            <a:pPr marL="171450" indent="-171450" defTabSz="930294" eaLnBrk="1" fontAlgn="base" hangingPunct="1">
              <a:lnSpc>
                <a:spcPct val="150000"/>
              </a:lnSpc>
              <a:spcAft>
                <a:spcPct val="0"/>
              </a:spcAft>
              <a:buFontTx/>
              <a:buChar char="-"/>
            </a:pP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 "Астана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Теміртау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Алматы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Қапшағай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Алматы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Қорғас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 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2019 </a:t>
            </a:r>
            <a:r>
              <a:rPr lang="ru-RU" sz="700" dirty="0" err="1">
                <a:solidFill>
                  <a:srgbClr val="00B050"/>
                </a:solidFill>
                <a:latin typeface="Arial" pitchFamily="34" charset="0"/>
              </a:rPr>
              <a:t>жылы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 </a:t>
            </a:r>
            <a:r>
              <a:rPr lang="ru-RU" sz="700" dirty="0" err="1">
                <a:solidFill>
                  <a:srgbClr val="00B050"/>
                </a:solidFill>
                <a:latin typeface="Arial" pitchFamily="34" charset="0"/>
              </a:rPr>
              <a:t>енгізілді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 (471 км)</a:t>
            </a:r>
          </a:p>
          <a:p>
            <a:pPr marL="171450" indent="-171450" defTabSz="930294" eaLnBrk="1" fontAlgn="base" hangingPunct="1">
              <a:lnSpc>
                <a:spcPct val="150000"/>
              </a:lnSpc>
              <a:spcAft>
                <a:spcPct val="0"/>
              </a:spcAft>
              <a:buFontTx/>
              <a:buChar char="-"/>
            </a:pP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Қапшағай-Талдықорған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Тараз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Қайнар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Шымкент-Тараз", "Шымкент-Ташкент",     "Шымкент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Қызылорда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Щучинск-</a:t>
            </a:r>
            <a:r>
              <a:rPr lang="ru-RU" sz="700" dirty="0" err="1">
                <a:solidFill>
                  <a:srgbClr val="002060"/>
                </a:solidFill>
                <a:latin typeface="Arial" pitchFamily="34" charset="0"/>
              </a:rPr>
              <a:t>Көкшетау</a:t>
            </a:r>
            <a:r>
              <a:rPr lang="ru-RU" sz="700" dirty="0">
                <a:solidFill>
                  <a:srgbClr val="002060"/>
                </a:solidFill>
                <a:latin typeface="Arial" pitchFamily="34" charset="0"/>
              </a:rPr>
              <a:t>", "Астана-Павлодар" 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23.11.2021 ж. </a:t>
            </a:r>
            <a:r>
              <a:rPr lang="ru-RU" sz="700" dirty="0" err="1">
                <a:solidFill>
                  <a:srgbClr val="00B050"/>
                </a:solidFill>
                <a:latin typeface="Arial" pitchFamily="34" charset="0"/>
              </a:rPr>
              <a:t>бастап</a:t>
            </a:r>
            <a:r>
              <a:rPr lang="ru-RU" sz="700" dirty="0">
                <a:solidFill>
                  <a:srgbClr val="00B050"/>
                </a:solidFill>
                <a:latin typeface="Arial" pitchFamily="34" charset="0"/>
              </a:rPr>
              <a:t> (1 479 км)</a:t>
            </a:r>
          </a:p>
        </p:txBody>
      </p:sp>
      <p:sp>
        <p:nvSpPr>
          <p:cNvPr id="244" name="TextBox 319"/>
          <p:cNvSpPr txBox="1">
            <a:spLocks noChangeArrowheads="1"/>
          </p:cNvSpPr>
          <p:nvPr/>
        </p:nvSpPr>
        <p:spPr bwMode="auto">
          <a:xfrm>
            <a:off x="6694140" y="310087"/>
            <a:ext cx="2952328" cy="893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9770" tIns="34886" rIns="69770" bIns="34886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002060"/>
                </a:solidFill>
                <a:latin typeface="Arial Black" pitchFamily="34" charset="0"/>
              </a:rPr>
              <a:t>2022 </a:t>
            </a:r>
            <a:r>
              <a:rPr lang="ru-RU" sz="1000" dirty="0" err="1">
                <a:solidFill>
                  <a:srgbClr val="002060"/>
                </a:solidFill>
                <a:latin typeface="Arial Black" pitchFamily="34" charset="0"/>
              </a:rPr>
              <a:t>жоспарлары</a:t>
            </a:r>
            <a:endParaRPr lang="ru-RU" sz="1000" dirty="0">
              <a:solidFill>
                <a:srgbClr val="002060"/>
              </a:solidFill>
              <a:latin typeface="Arial Black" pitchFamily="34" charset="0"/>
            </a:endParaRP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2,5 </a:t>
            </a:r>
            <a:r>
              <a:rPr lang="ru-RU" sz="1100" b="1" dirty="0" err="1">
                <a:solidFill>
                  <a:srgbClr val="00B050"/>
                </a:solidFill>
                <a:latin typeface="Arial" pitchFamily="34" charset="0"/>
              </a:rPr>
              <a:t>мың</a:t>
            </a: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 км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ақылылықты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енгізу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:</a:t>
            </a: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900" b="1" dirty="0">
              <a:solidFill>
                <a:srgbClr val="002060"/>
              </a:solidFill>
              <a:latin typeface="Arial" pitchFamily="34" charset="0"/>
            </a:endParaRPr>
          </a:p>
          <a:p>
            <a:pPr defTabSz="697774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                </a:t>
            </a:r>
            <a:r>
              <a:rPr lang="en-US" sz="900" dirty="0">
                <a:solidFill>
                  <a:srgbClr val="002060"/>
                </a:solidFill>
                <a:latin typeface="Arial" pitchFamily="34" charset="0"/>
              </a:rPr>
              <a:t>II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санатт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учаскелер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– 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2,5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тыс. км</a:t>
            </a:r>
          </a:p>
          <a:p>
            <a:pPr defTabSz="697774" eaLnBrk="1" fontAlgn="base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Болжалды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алымдар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- </a:t>
            </a:r>
            <a:r>
              <a:rPr lang="ru-RU" sz="1100" b="1" dirty="0">
                <a:solidFill>
                  <a:srgbClr val="00B050"/>
                </a:solidFill>
                <a:latin typeface="Arial" pitchFamily="34" charset="0"/>
              </a:rPr>
              <a:t>25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млрд. тг.</a:t>
            </a:r>
            <a:endParaRPr lang="ru-RU" sz="900" dirty="0">
              <a:solidFill>
                <a:srgbClr val="002060"/>
              </a:solidFill>
              <a:latin typeface="Arial" pitchFamily="34" charset="0"/>
            </a:endParaRPr>
          </a:p>
        </p:txBody>
      </p:sp>
      <p:sp>
        <p:nvSpPr>
          <p:cNvPr id="246" name="TextBox 4"/>
          <p:cNvSpPr txBox="1">
            <a:spLocks noChangeArrowheads="1"/>
          </p:cNvSpPr>
          <p:nvPr/>
        </p:nvSpPr>
        <p:spPr bwMode="auto">
          <a:xfrm>
            <a:off x="5104000" y="4299942"/>
            <a:ext cx="4179936" cy="899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019" tIns="46510" rIns="93019" bIns="4651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defTabSz="930294" eaLnBrk="1" fontAlgn="base" hangingPunct="1">
              <a:lnSpc>
                <a:spcPct val="150000"/>
              </a:lnSpc>
              <a:spcAft>
                <a:spcPct val="0"/>
              </a:spcAft>
            </a:pP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2022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жылға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арналған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b="1" dirty="0" err="1">
                <a:solidFill>
                  <a:srgbClr val="002060"/>
                </a:solidFill>
                <a:latin typeface="Arial" pitchFamily="34" charset="0"/>
              </a:rPr>
              <a:t>жоспарлар</a:t>
            </a:r>
            <a:r>
              <a:rPr lang="ru-RU" sz="900" b="1" dirty="0">
                <a:solidFill>
                  <a:srgbClr val="002060"/>
                </a:solidFill>
                <a:latin typeface="Arial" pitchFamily="34" charset="0"/>
              </a:rPr>
              <a:t>: 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Ақтөбе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-Орал", "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Ақтөбе-Орынбор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Қайнар-Бішкек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Жетібай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-Бейнеу-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Ақжігіт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Павлодар-Семей", "Астана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Қарағанд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ққ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.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айналма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 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жол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Орал-Саратов", "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Көкшетау-Петропавл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Астана-Атбасар", "Павлодар-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Омбы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", "Семей-</a:t>
            </a:r>
            <a:r>
              <a:rPr lang="ru-RU" sz="900" dirty="0" err="1">
                <a:solidFill>
                  <a:srgbClr val="002060"/>
                </a:solidFill>
                <a:latin typeface="Arial" pitchFamily="34" charset="0"/>
              </a:rPr>
              <a:t>Қалбатау</a:t>
            </a:r>
            <a:r>
              <a:rPr lang="ru-RU" sz="900" dirty="0">
                <a:solidFill>
                  <a:srgbClr val="002060"/>
                </a:solidFill>
                <a:latin typeface="Arial" pitchFamily="34" charset="0"/>
              </a:rPr>
              <a:t>« </a:t>
            </a:r>
            <a:r>
              <a:rPr lang="ru-RU" sz="900" dirty="0">
                <a:solidFill>
                  <a:srgbClr val="00B050"/>
                </a:solidFill>
                <a:latin typeface="Arial" pitchFamily="34" charset="0"/>
              </a:rPr>
              <a:t>(2 579 км)</a:t>
            </a:r>
            <a:endParaRPr lang="ru-RU" sz="800" dirty="0">
              <a:solidFill>
                <a:srgbClr val="00B050"/>
              </a:solidFill>
              <a:latin typeface="Arial" pitchFamily="34" charset="0"/>
            </a:endParaRPr>
          </a:p>
        </p:txBody>
      </p:sp>
      <p:sp>
        <p:nvSpPr>
          <p:cNvPr id="245" name="TextBox 244"/>
          <p:cNvSpPr txBox="1"/>
          <p:nvPr/>
        </p:nvSpPr>
        <p:spPr>
          <a:xfrm>
            <a:off x="8830382" y="4910484"/>
            <a:ext cx="365760" cy="276999"/>
          </a:xfrm>
          <a:prstGeom prst="rect">
            <a:avLst/>
          </a:prstGeom>
        </p:spPr>
        <p:txBody>
          <a:bodyPr vert="horz" lIns="91336" tIns="45666" rIns="91336" bIns="45666" rtlCol="0" anchor="ctr">
            <a:normAutofit/>
          </a:bodyPr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z="1100" dirty="0"/>
              <a:t>14</a:t>
            </a:r>
          </a:p>
        </p:txBody>
      </p:sp>
      <p:cxnSp>
        <p:nvCxnSpPr>
          <p:cNvPr id="243" name="Прямая соединительная линия 242"/>
          <p:cNvCxnSpPr/>
          <p:nvPr/>
        </p:nvCxnSpPr>
        <p:spPr>
          <a:xfrm>
            <a:off x="2321" y="339502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293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-18644" y="0"/>
            <a:ext cx="9098114" cy="2522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7" tIns="45708" rIns="91417" bIns="45708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" pitchFamily="34" charset="0"/>
              </a:rPr>
              <a:t>2022 ЖЫЛҒА АРНАЛҒАН ЖОЛ БИТУМЫН ҚАМТАМАСЫЗ ЕТУ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8970" y="1690372"/>
            <a:ext cx="1992845" cy="561674"/>
          </a:xfrm>
          <a:prstGeom prst="rect">
            <a:avLst/>
          </a:prstGeom>
          <a:noFill/>
        </p:spPr>
        <p:txBody>
          <a:bodyPr wrap="square" lIns="68563" tIns="34281" rIns="68563" bIns="34281">
            <a:spAutoFit/>
          </a:bodyPr>
          <a:lstStyle/>
          <a:p>
            <a:pPr algn="ctr"/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ТОО «</a:t>
            </a:r>
            <a:r>
              <a:rPr lang="en-US" sz="1200" b="1" dirty="0" err="1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Qazaq</a:t>
            </a:r>
            <a:r>
              <a:rPr lang="en-US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200" b="1" dirty="0" err="1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bitum</a:t>
            </a:r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»</a:t>
            </a:r>
          </a:p>
          <a:p>
            <a:pPr algn="ctr"/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0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құны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700" b="1" i="1" dirty="0">
                <a:solidFill>
                  <a:srgbClr val="FF0000"/>
                </a:solidFill>
                <a:latin typeface="Arial" panose="020B0604020202020204" pitchFamily="34" charset="0"/>
                <a:cs typeface="Arial" pitchFamily="34" charset="0"/>
              </a:rPr>
              <a:t>225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мың.тг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/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70532" y="831518"/>
            <a:ext cx="1904994" cy="561674"/>
          </a:xfrm>
          <a:prstGeom prst="rect">
            <a:avLst/>
          </a:prstGeom>
          <a:noFill/>
        </p:spPr>
        <p:txBody>
          <a:bodyPr wrap="square" lIns="68563" tIns="34281" rIns="68563" bIns="34281">
            <a:spAutoFit/>
          </a:bodyPr>
          <a:lstStyle/>
          <a:p>
            <a:pPr algn="ctr"/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ТОО «ПНХЗ»</a:t>
            </a:r>
          </a:p>
          <a:p>
            <a:pPr algn="ctr"/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0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құны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110 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мың.тг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/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171958" y="838993"/>
            <a:ext cx="2301175" cy="561674"/>
          </a:xfrm>
          <a:prstGeom prst="rect">
            <a:avLst/>
          </a:prstGeom>
          <a:noFill/>
        </p:spPr>
        <p:txBody>
          <a:bodyPr wrap="square" lIns="68563" tIns="34281" rIns="68563" bIns="34281">
            <a:spAutoFit/>
          </a:bodyPr>
          <a:lstStyle/>
          <a:p>
            <a:pPr algn="ctr"/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ТОО «СП «</a:t>
            </a:r>
            <a:r>
              <a:rPr lang="en-US" sz="1200" b="1" dirty="0" err="1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CaspiBitum</a:t>
            </a:r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»</a:t>
            </a:r>
          </a:p>
          <a:p>
            <a:pPr algn="ctr"/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60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құны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108 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мың.тг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/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)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2021261" y="1708246"/>
            <a:ext cx="2611482" cy="730951"/>
          </a:xfrm>
          <a:prstGeom prst="rect">
            <a:avLst/>
          </a:prstGeom>
          <a:noFill/>
        </p:spPr>
        <p:txBody>
          <a:bodyPr wrap="square" lIns="68563" tIns="34281" rIns="68563" bIns="34281">
            <a:spAutoFit/>
          </a:bodyPr>
          <a:lstStyle/>
          <a:p>
            <a:pPr algn="ctr"/>
            <a:r>
              <a:rPr lang="ru-RU" sz="1200" b="1" dirty="0">
                <a:solidFill>
                  <a:srgbClr val="003399"/>
                </a:solidFill>
                <a:latin typeface="Arial" panose="020B0604020202020204" pitchFamily="34" charset="0"/>
                <a:cs typeface="Arial" pitchFamily="34" charset="0"/>
              </a:rPr>
              <a:t>ТОО «Асфальтобетон 1»</a:t>
            </a:r>
          </a:p>
          <a:p>
            <a:pPr algn="ctr"/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b="1" dirty="0" err="1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1200" b="1" dirty="0">
                <a:solidFill>
                  <a:srgbClr val="7030A0"/>
                </a:solidFill>
                <a:latin typeface="Arial" panose="020B0604020202020204" pitchFamily="34" charset="0"/>
                <a:cs typeface="Arial" pitchFamily="34" charset="0"/>
              </a:rPr>
              <a:t>.</a:t>
            </a:r>
          </a:p>
          <a:p>
            <a:pPr algn="ctr"/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(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құны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700" b="1" i="1" dirty="0">
                <a:solidFill>
                  <a:srgbClr val="FF0000"/>
                </a:solidFill>
                <a:latin typeface="Arial" panose="020B0604020202020204" pitchFamily="34" charset="0"/>
                <a:cs typeface="Arial" pitchFamily="34" charset="0"/>
              </a:rPr>
              <a:t>184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мың.тг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/</a:t>
            </a:r>
            <a:r>
              <a:rPr lang="ru-RU" sz="700" b="1" i="1" dirty="0" err="1">
                <a:latin typeface="Arial" panose="020B0604020202020204" pitchFamily="34" charset="0"/>
                <a:cs typeface="Arial" pitchFamily="34" charset="0"/>
              </a:rPr>
              <a:t>тн</a:t>
            </a:r>
            <a:r>
              <a:rPr lang="ru-RU" sz="700" b="1" i="1" dirty="0">
                <a:latin typeface="Arial" panose="020B0604020202020204" pitchFamily="34" charset="0"/>
                <a:cs typeface="Arial" pitchFamily="34" charset="0"/>
              </a:rPr>
              <a:t>.)</a:t>
            </a:r>
          </a:p>
          <a:p>
            <a:pPr algn="ctr"/>
            <a:endParaRPr lang="ru-RU" sz="1200" b="1" dirty="0">
              <a:solidFill>
                <a:srgbClr val="7030A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1E62261-4D4B-4EAB-892A-3BB3FCF96C25}"/>
              </a:ext>
            </a:extLst>
          </p:cNvPr>
          <p:cNvCxnSpPr>
            <a:cxnSpLocks/>
          </p:cNvCxnSpPr>
          <p:nvPr/>
        </p:nvCxnSpPr>
        <p:spPr>
          <a:xfrm>
            <a:off x="4574504" y="390133"/>
            <a:ext cx="0" cy="199800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dashDot"/>
            <a:miter lim="800000"/>
          </a:ln>
          <a:effectLst/>
        </p:spPr>
      </p:cxn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id="{C32B8967-C4A1-4C42-94B0-424E1F3CEE92}"/>
              </a:ext>
            </a:extLst>
          </p:cNvPr>
          <p:cNvCxnSpPr>
            <a:cxnSpLocks/>
          </p:cNvCxnSpPr>
          <p:nvPr/>
        </p:nvCxnSpPr>
        <p:spPr>
          <a:xfrm>
            <a:off x="1654" y="289119"/>
            <a:ext cx="9140694" cy="0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B3A09968-8A00-4452-9D74-06CB0B798A5E}"/>
              </a:ext>
            </a:extLst>
          </p:cNvPr>
          <p:cNvSpPr/>
          <p:nvPr/>
        </p:nvSpPr>
        <p:spPr bwMode="auto">
          <a:xfrm>
            <a:off x="7347471" y="350820"/>
            <a:ext cx="2096734" cy="242934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26994" tIns="34273" rIns="26994" bIns="34273" anchor="ctr"/>
          <a:lstStyle/>
          <a:p>
            <a:pPr algn="ctr">
              <a:defRPr/>
            </a:pPr>
            <a:endParaRPr lang="ru-RU" alt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7C2B6006-1DA8-4C5F-A1AE-7B04E4A422D7}"/>
              </a:ext>
            </a:extLst>
          </p:cNvPr>
          <p:cNvSpPr/>
          <p:nvPr/>
        </p:nvSpPr>
        <p:spPr bwMode="auto">
          <a:xfrm>
            <a:off x="5751531" y="1211831"/>
            <a:ext cx="2119542" cy="603116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26994" tIns="34273" rIns="26994" bIns="34273" anchor="ctr"/>
          <a:lstStyle/>
          <a:p>
            <a:pPr algn="ctr">
              <a:defRPr/>
            </a:pPr>
            <a:r>
              <a:rPr lang="ru-RU" altLang="ru-RU" b="1" dirty="0">
                <a:solidFill>
                  <a:srgbClr val="003399"/>
                </a:solidFill>
                <a:latin typeface="Arial" pitchFamily="34" charset="0"/>
                <a:cs typeface="Arial" pitchFamily="34" charset="0"/>
              </a:rPr>
              <a:t>        </a:t>
            </a:r>
          </a:p>
          <a:p>
            <a:pPr algn="ctr">
              <a:defRPr/>
            </a:pPr>
            <a:r>
              <a:rPr lang="en-US" altLang="ru-R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kk-KZ" altLang="ru-R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 мың</a:t>
            </a:r>
            <a:r>
              <a:rPr lang="ru-RU" altLang="ru-R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altLang="ru-R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тн</a:t>
            </a:r>
            <a:r>
              <a:rPr lang="ru-RU" altLang="ru-R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ctr">
              <a:defRPr/>
            </a:pPr>
            <a:endParaRPr lang="ru-RU" altLang="ru-RU" sz="2000" b="1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endParaRPr lang="ru-RU" altLang="ru-RU" sz="1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861C7711-F5F9-4D5E-81C4-06B0461E6ED6}"/>
              </a:ext>
            </a:extLst>
          </p:cNvPr>
          <p:cNvSpPr/>
          <p:nvPr/>
        </p:nvSpPr>
        <p:spPr>
          <a:xfrm>
            <a:off x="5276389" y="2002900"/>
            <a:ext cx="3022658" cy="548753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26994" tIns="34273" rIns="26994" bIns="34273" anchor="ctr"/>
          <a:lstStyle/>
          <a:p>
            <a:pPr marL="14285" algn="ctr">
              <a:defRPr/>
            </a:pPr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</a:t>
            </a:r>
            <a:r>
              <a:rPr lang="ru-RU" b="1" dirty="0">
                <a:solidFill>
                  <a:schemeClr val="tx2"/>
                </a:solidFill>
                <a:latin typeface="Agency FB" pitchFamily="34" charset="0"/>
              </a:rPr>
              <a:t> </a:t>
            </a:r>
            <a:r>
              <a:rPr lang="ru-R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тн</a:t>
            </a:r>
            <a:r>
              <a:rPr lang="ru-R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marL="14285" algn="ctr">
              <a:defRPr/>
            </a:pPr>
            <a:endParaRPr lang="ru-RU" sz="400" b="1" dirty="0">
              <a:solidFill>
                <a:srgbClr val="00339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7E9081D-8157-49CD-98B5-B59A51ECD910}"/>
              </a:ext>
            </a:extLst>
          </p:cNvPr>
          <p:cNvSpPr txBox="1"/>
          <p:nvPr/>
        </p:nvSpPr>
        <p:spPr>
          <a:xfrm>
            <a:off x="4690984" y="907573"/>
            <a:ext cx="4358261" cy="28469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19050" algn="ctr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altLang="ru-RU" sz="1400" dirty="0"/>
              <a:t>РЕСПУБЛИКАЛЫҚ ЖЕЛІ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6AB12F2-51CA-4A5C-B6C1-AB6FFE632D01}"/>
              </a:ext>
            </a:extLst>
          </p:cNvPr>
          <p:cNvSpPr txBox="1"/>
          <p:nvPr/>
        </p:nvSpPr>
        <p:spPr>
          <a:xfrm>
            <a:off x="4690984" y="1732933"/>
            <a:ext cx="4363268" cy="28469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lIns="68580" tIns="34290" rIns="68580" bIns="34290">
            <a:spAutoFit/>
          </a:bodyPr>
          <a:lstStyle/>
          <a:p>
            <a:pPr marL="14285" algn="ctr">
              <a:defRPr/>
            </a:pPr>
            <a:r>
              <a:rPr lang="ru-RU" altLang="ru-RU" sz="1400" b="1" dirty="0">
                <a:latin typeface="Arial" pitchFamily="34" charset="0"/>
                <a:cs typeface="Arial" pitchFamily="34" charset="0"/>
              </a:rPr>
              <a:t>ЖЕРГІЛІКТІ ЖЕЛІ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65B6208-2589-49D1-880F-C63C27C6CE34}"/>
              </a:ext>
            </a:extLst>
          </p:cNvPr>
          <p:cNvSpPr txBox="1"/>
          <p:nvPr/>
        </p:nvSpPr>
        <p:spPr>
          <a:xfrm>
            <a:off x="4695994" y="339492"/>
            <a:ext cx="4358262" cy="284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68580" tIns="34290" rIns="68580" bIns="34290">
            <a:spAutoFit/>
          </a:bodyPr>
          <a:lstStyle/>
          <a:p>
            <a:pPr algn="ctr">
              <a:defRPr/>
            </a:pPr>
            <a:r>
              <a:rPr lang="ru-RU" altLang="ru-RU" sz="1400" b="1" dirty="0">
                <a:latin typeface="Arial" pitchFamily="34" charset="0"/>
                <a:cs typeface="Arial" pitchFamily="34" charset="0"/>
              </a:rPr>
              <a:t>ЖАЛПЫ ҚАЖЕТТІЛІК </a:t>
            </a:r>
            <a:r>
              <a:rPr lang="ru-RU" altLang="ru-RU" sz="1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,1 МЛН. ТН.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A01D917-9F86-4256-A7D0-E8A24333A1D5}"/>
              </a:ext>
            </a:extLst>
          </p:cNvPr>
          <p:cNvSpPr txBox="1"/>
          <p:nvPr/>
        </p:nvSpPr>
        <p:spPr>
          <a:xfrm>
            <a:off x="49212" y="340072"/>
            <a:ext cx="4408812" cy="284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itchFamily="34" charset="0"/>
              </a:rPr>
              <a:t>МӨЗ ЖАЛПЫ ҚУАТЫ </a:t>
            </a:r>
            <a:r>
              <a:rPr lang="ru-RU" sz="14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1 МЛН. ТН. </a:t>
            </a:r>
            <a:r>
              <a:rPr lang="ru-RU" sz="1400" b="1" dirty="0">
                <a:latin typeface="Arial" panose="020B0604020202020204" pitchFamily="34" charset="0"/>
                <a:cs typeface="Arial" pitchFamily="34" charset="0"/>
              </a:rPr>
              <a:t>ЖЫЛЫНА</a:t>
            </a:r>
          </a:p>
        </p:txBody>
      </p:sp>
      <p:sp>
        <p:nvSpPr>
          <p:cNvPr id="2" name="Стрелка: шеврон 1">
            <a:extLst>
              <a:ext uri="{FF2B5EF4-FFF2-40B4-BE49-F238E27FC236}">
                <a16:creationId xmlns:a16="http://schemas.microsoft.com/office/drawing/2014/main" id="{CC482859-A840-453A-8D7A-F52E9183AA01}"/>
              </a:ext>
            </a:extLst>
          </p:cNvPr>
          <p:cNvSpPr/>
          <p:nvPr/>
        </p:nvSpPr>
        <p:spPr>
          <a:xfrm>
            <a:off x="8135572" y="1737695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25" name="Стрелка: шеврон 24">
            <a:extLst>
              <a:ext uri="{FF2B5EF4-FFF2-40B4-BE49-F238E27FC236}">
                <a16:creationId xmlns:a16="http://schemas.microsoft.com/office/drawing/2014/main" id="{A492056D-B245-4652-BFF3-D1CC121D4B96}"/>
              </a:ext>
            </a:extLst>
          </p:cNvPr>
          <p:cNvSpPr/>
          <p:nvPr/>
        </p:nvSpPr>
        <p:spPr>
          <a:xfrm>
            <a:off x="8274447" y="1733857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26" name="Стрелка: шеврон 25">
            <a:extLst>
              <a:ext uri="{FF2B5EF4-FFF2-40B4-BE49-F238E27FC236}">
                <a16:creationId xmlns:a16="http://schemas.microsoft.com/office/drawing/2014/main" id="{42D560B2-D109-459C-870F-1089ACF2A9E0}"/>
              </a:ext>
            </a:extLst>
          </p:cNvPr>
          <p:cNvSpPr/>
          <p:nvPr/>
        </p:nvSpPr>
        <p:spPr>
          <a:xfrm rot="10800000">
            <a:off x="5239768" y="1740825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27" name="Стрелка: шеврон 26">
            <a:extLst>
              <a:ext uri="{FF2B5EF4-FFF2-40B4-BE49-F238E27FC236}">
                <a16:creationId xmlns:a16="http://schemas.microsoft.com/office/drawing/2014/main" id="{3A1E270E-DA62-4D5F-AA20-2A629B77E407}"/>
              </a:ext>
            </a:extLst>
          </p:cNvPr>
          <p:cNvSpPr/>
          <p:nvPr/>
        </p:nvSpPr>
        <p:spPr>
          <a:xfrm rot="10800000">
            <a:off x="5378642" y="1741750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28" name="Стрелка: шеврон 27">
            <a:extLst>
              <a:ext uri="{FF2B5EF4-FFF2-40B4-BE49-F238E27FC236}">
                <a16:creationId xmlns:a16="http://schemas.microsoft.com/office/drawing/2014/main" id="{7663B477-CD4E-4456-9B91-0E993F046657}"/>
              </a:ext>
            </a:extLst>
          </p:cNvPr>
          <p:cNvSpPr/>
          <p:nvPr/>
        </p:nvSpPr>
        <p:spPr>
          <a:xfrm>
            <a:off x="8135572" y="909014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30" name="Стрелка: шеврон 29">
            <a:extLst>
              <a:ext uri="{FF2B5EF4-FFF2-40B4-BE49-F238E27FC236}">
                <a16:creationId xmlns:a16="http://schemas.microsoft.com/office/drawing/2014/main" id="{84602325-EA90-4B17-9037-4DA52F7E109A}"/>
              </a:ext>
            </a:extLst>
          </p:cNvPr>
          <p:cNvSpPr/>
          <p:nvPr/>
        </p:nvSpPr>
        <p:spPr>
          <a:xfrm>
            <a:off x="8274447" y="909939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31" name="Стрелка: шеврон 30">
            <a:extLst>
              <a:ext uri="{FF2B5EF4-FFF2-40B4-BE49-F238E27FC236}">
                <a16:creationId xmlns:a16="http://schemas.microsoft.com/office/drawing/2014/main" id="{52DEC2F8-9F67-4815-A31E-DF721FC2147F}"/>
              </a:ext>
            </a:extLst>
          </p:cNvPr>
          <p:cNvSpPr/>
          <p:nvPr/>
        </p:nvSpPr>
        <p:spPr>
          <a:xfrm rot="10800000">
            <a:off x="5239768" y="908934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sp>
        <p:nvSpPr>
          <p:cNvPr id="33" name="Стрелка: шеврон 32">
            <a:extLst>
              <a:ext uri="{FF2B5EF4-FFF2-40B4-BE49-F238E27FC236}">
                <a16:creationId xmlns:a16="http://schemas.microsoft.com/office/drawing/2014/main" id="{62722A0E-D3E7-4AB2-AFC7-F78A5FBE6776}"/>
              </a:ext>
            </a:extLst>
          </p:cNvPr>
          <p:cNvSpPr/>
          <p:nvPr/>
        </p:nvSpPr>
        <p:spPr>
          <a:xfrm rot="10800000">
            <a:off x="5378642" y="909859"/>
            <a:ext cx="163475" cy="268118"/>
          </a:xfrm>
          <a:prstGeom prst="chevron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x-none" sz="1400">
              <a:solidFill>
                <a:schemeClr val="tx1"/>
              </a:solidFill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97473CD4-2033-4FD5-93AF-1137073ECB04}"/>
              </a:ext>
            </a:extLst>
          </p:cNvPr>
          <p:cNvCxnSpPr/>
          <p:nvPr/>
        </p:nvCxnSpPr>
        <p:spPr>
          <a:xfrm flipH="1">
            <a:off x="2042248" y="858781"/>
            <a:ext cx="0" cy="1539000"/>
          </a:xfrm>
          <a:prstGeom prst="line">
            <a:avLst/>
          </a:prstGeom>
          <a:ln w="28575">
            <a:prstDash val="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76C7E5BD-06EF-4BED-AC8B-45B18567DCE9}"/>
              </a:ext>
            </a:extLst>
          </p:cNvPr>
          <p:cNvCxnSpPr>
            <a:cxnSpLocks/>
          </p:cNvCxnSpPr>
          <p:nvPr/>
        </p:nvCxnSpPr>
        <p:spPr>
          <a:xfrm flipH="1" flipV="1">
            <a:off x="170532" y="1627334"/>
            <a:ext cx="4152491" cy="0"/>
          </a:xfrm>
          <a:prstGeom prst="line">
            <a:avLst/>
          </a:prstGeom>
          <a:ln w="28575">
            <a:prstDash val="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155DF22-C7C1-4320-91DE-C1B0E57878EE}"/>
              </a:ext>
            </a:extLst>
          </p:cNvPr>
          <p:cNvGrpSpPr/>
          <p:nvPr/>
        </p:nvGrpSpPr>
        <p:grpSpPr>
          <a:xfrm>
            <a:off x="-70602" y="2729680"/>
            <a:ext cx="4507415" cy="2168321"/>
            <a:chOff x="11797" y="3037171"/>
            <a:chExt cx="8095589" cy="3469128"/>
          </a:xfrm>
        </p:grpSpPr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4B377456-5342-4EB0-A034-0E78831226D4}"/>
                </a:ext>
              </a:extLst>
            </p:cNvPr>
            <p:cNvGrpSpPr/>
            <p:nvPr/>
          </p:nvGrpSpPr>
          <p:grpSpPr>
            <a:xfrm>
              <a:off x="11797" y="3854016"/>
              <a:ext cx="1786677" cy="1652058"/>
              <a:chOff x="4775200" y="722456"/>
              <a:chExt cx="1930400" cy="1951839"/>
            </a:xfrm>
          </p:grpSpPr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id="{E5748AB6-14F1-4964-8380-823D53C9E71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8875" t="66150" b="13086"/>
              <a:stretch/>
            </p:blipFill>
            <p:spPr>
              <a:xfrm>
                <a:off x="4914852" y="722456"/>
                <a:ext cx="1517698" cy="1697250"/>
              </a:xfrm>
              <a:prstGeom prst="rect">
                <a:avLst/>
              </a:prstGeom>
            </p:spPr>
          </p:pic>
          <p:sp>
            <p:nvSpPr>
              <p:cNvPr id="63" name="Прямоугольник 62">
                <a:extLst>
                  <a:ext uri="{FF2B5EF4-FFF2-40B4-BE49-F238E27FC236}">
                    <a16:creationId xmlns:a16="http://schemas.microsoft.com/office/drawing/2014/main" id="{81BDC580-754E-4683-AD04-141EC55862DE}"/>
                  </a:ext>
                </a:extLst>
              </p:cNvPr>
              <p:cNvSpPr/>
              <p:nvPr/>
            </p:nvSpPr>
            <p:spPr>
              <a:xfrm>
                <a:off x="4775200" y="2210745"/>
                <a:ext cx="1930400" cy="4635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000" b="1" kern="0" dirty="0" smtClean="0">
                    <a:solidFill>
                      <a:schemeClr val="accent5">
                        <a:lumMod val="75000"/>
                      </a:schemeClr>
                    </a:solidFill>
                    <a:latin typeface="Arial" pitchFamily="34" charset="0"/>
                    <a:cs typeface="Arial" pitchFamily="34" charset="0"/>
                  </a:rPr>
                  <a:t>ЗАУЫТ</a:t>
                </a:r>
                <a:endParaRPr lang="ru-RU" sz="1000" b="1" kern="0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pic>
          <p:nvPicPr>
            <p:cNvPr id="64" name="Рисунок 63">
              <a:extLst>
                <a:ext uri="{FF2B5EF4-FFF2-40B4-BE49-F238E27FC236}">
                  <a16:creationId xmlns:a16="http://schemas.microsoft.com/office/drawing/2014/main" id="{9E551BA8-D66A-4832-8DAC-A9A462BEB8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254412" y="4178081"/>
              <a:ext cx="1015712" cy="1007605"/>
            </a:xfrm>
            <a:prstGeom prst="rect">
              <a:avLst/>
            </a:prstGeom>
          </p:spPr>
        </p:pic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id="{A33D3662-5DA3-409E-B3DE-50C7F0979160}"/>
                </a:ext>
              </a:extLst>
            </p:cNvPr>
            <p:cNvSpPr/>
            <p:nvPr/>
          </p:nvSpPr>
          <p:spPr>
            <a:xfrm>
              <a:off x="2941259" y="5312393"/>
              <a:ext cx="1535490" cy="2735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kk-KZ" sz="1000" b="1" kern="0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РЕСУРС ҰСТАУШЫ</a:t>
              </a:r>
              <a:endParaRPr lang="ru-RU" sz="1000" b="1" kern="0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C302D9F1-0B90-4EE0-91E1-034FA73381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57087" t="38800" r="27951" b="47200"/>
            <a:stretch/>
          </p:blipFill>
          <p:spPr>
            <a:xfrm>
              <a:off x="6360108" y="3037171"/>
              <a:ext cx="1747278" cy="919620"/>
            </a:xfrm>
            <a:prstGeom prst="rect">
              <a:avLst/>
            </a:prstGeom>
          </p:spPr>
        </p:pic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id="{0586C81B-BAE4-4155-9525-37246ED26BF1}"/>
                </a:ext>
              </a:extLst>
            </p:cNvPr>
            <p:cNvSpPr/>
            <p:nvPr/>
          </p:nvSpPr>
          <p:spPr>
            <a:xfrm>
              <a:off x="6156965" y="6213200"/>
              <a:ext cx="1832674" cy="2930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kern="0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МЕРДІГЕР</a:t>
              </a:r>
            </a:p>
          </p:txBody>
        </p:sp>
        <p:cxnSp>
          <p:nvCxnSpPr>
            <p:cNvPr id="68" name="Прямая со стрелкой 67">
              <a:extLst>
                <a:ext uri="{FF2B5EF4-FFF2-40B4-BE49-F238E27FC236}">
                  <a16:creationId xmlns:a16="http://schemas.microsoft.com/office/drawing/2014/main" id="{98E25F92-BAB7-4EDC-A820-24E8FD1C1D05}"/>
                </a:ext>
              </a:extLst>
            </p:cNvPr>
            <p:cNvCxnSpPr>
              <a:cxnSpLocks/>
            </p:cNvCxnSpPr>
            <p:nvPr/>
          </p:nvCxnSpPr>
          <p:spPr>
            <a:xfrm>
              <a:off x="1708555" y="5047640"/>
              <a:ext cx="1535490" cy="0"/>
            </a:xfrm>
            <a:prstGeom prst="straightConnector1">
              <a:avLst/>
            </a:prstGeom>
            <a:ln w="25400">
              <a:solidFill>
                <a:srgbClr val="FF0000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 стрелкой 68">
              <a:extLst>
                <a:ext uri="{FF2B5EF4-FFF2-40B4-BE49-F238E27FC236}">
                  <a16:creationId xmlns:a16="http://schemas.microsoft.com/office/drawing/2014/main" id="{067D2DA5-A7D8-45C7-9383-6A9C61E2D6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07817" y="3805847"/>
              <a:ext cx="1330363" cy="682915"/>
            </a:xfrm>
            <a:prstGeom prst="straightConnector1">
              <a:avLst/>
            </a:prstGeom>
            <a:ln w="25400">
              <a:solidFill>
                <a:srgbClr val="FF0000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 стрелкой 69">
              <a:extLst>
                <a:ext uri="{FF2B5EF4-FFF2-40B4-BE49-F238E27FC236}">
                  <a16:creationId xmlns:a16="http://schemas.microsoft.com/office/drawing/2014/main" id="{0D4BE1B7-3A87-4A70-8603-BC13C6571725}"/>
                </a:ext>
              </a:extLst>
            </p:cNvPr>
            <p:cNvCxnSpPr>
              <a:cxnSpLocks/>
            </p:cNvCxnSpPr>
            <p:nvPr/>
          </p:nvCxnSpPr>
          <p:spPr>
            <a:xfrm>
              <a:off x="7125623" y="4211217"/>
              <a:ext cx="0" cy="862431"/>
            </a:xfrm>
            <a:prstGeom prst="straightConnector1">
              <a:avLst/>
            </a:prstGeom>
            <a:ln w="25400">
              <a:solidFill>
                <a:srgbClr val="FF0000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1" name="Picture 3" descr="C:\Users\akhmetzhanov_z\Desktop\2018\Общая\иконки\Иконки для слайдов\road_work_ahead_256.png">
              <a:extLst>
                <a:ext uri="{FF2B5EF4-FFF2-40B4-BE49-F238E27FC236}">
                  <a16:creationId xmlns:a16="http://schemas.microsoft.com/office/drawing/2014/main" id="{EBAF07BF-0E5D-4997-A9A4-5512606C144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/>
            <a:srcRect l="4014" t="-2345" r="3252" b="7471"/>
            <a:stretch/>
          </p:blipFill>
          <p:spPr bwMode="auto">
            <a:xfrm>
              <a:off x="6397060" y="5020510"/>
              <a:ext cx="1426389" cy="12050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556C3433-41C8-405F-82A3-6F12C4B65B41}"/>
                </a:ext>
              </a:extLst>
            </p:cNvPr>
            <p:cNvSpPr/>
            <p:nvPr/>
          </p:nvSpPr>
          <p:spPr>
            <a:xfrm>
              <a:off x="1978815" y="4271113"/>
              <a:ext cx="1133201" cy="393933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342380">
                <a:defRPr/>
              </a:pPr>
              <a:r>
                <a:rPr lang="kk-KZ" altLang="ru-RU" sz="1000" i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Мұнай</a:t>
              </a:r>
              <a:endParaRPr lang="ru-RU" altLang="ru-RU" sz="10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 Narrow" panose="020B0606020202030204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0D58BF20-382E-440C-B8CA-E39AF351E2BB}"/>
                </a:ext>
              </a:extLst>
            </p:cNvPr>
            <p:cNvSpPr/>
            <p:nvPr/>
          </p:nvSpPr>
          <p:spPr>
            <a:xfrm rot="9034788" flipV="1">
              <a:off x="4000622" y="3556305"/>
              <a:ext cx="2533142" cy="492417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342380">
                <a:defRPr/>
              </a:pPr>
              <a:r>
                <a:rPr lang="ru-RU" altLang="ru-RU" sz="700" i="1" dirty="0" err="1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Аффилиирленген</a:t>
              </a:r>
              <a:r>
                <a:rPr lang="ru-RU" altLang="ru-RU" sz="700" i="1" dirty="0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 </a:t>
              </a:r>
              <a:r>
                <a:rPr lang="ru-RU" altLang="ru-RU" sz="700" i="1" dirty="0" err="1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тұлғалар</a:t>
              </a:r>
              <a:r>
                <a:rPr lang="ru-RU" altLang="ru-RU" sz="700" i="1" dirty="0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 </a:t>
              </a:r>
              <a:r>
                <a:rPr lang="ru-RU" altLang="ru-RU" sz="700" i="1" dirty="0" err="1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арқылы</a:t>
              </a:r>
              <a:r>
                <a:rPr lang="ru-RU" altLang="ru-RU" sz="700" i="1" dirty="0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 </a:t>
              </a:r>
              <a:r>
                <a:rPr lang="ru-RU" altLang="ru-RU" sz="700" i="1" dirty="0" err="1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өткізу</a:t>
              </a:r>
              <a:endParaRPr lang="ru-RU" altLang="ru-RU" sz="700" i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 Narrow" panose="020B0606020202030204" pitchFamily="34" charset="0"/>
              </a:endParaRP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13E66450-C3E4-4BFF-B238-71ED29C84BC6}"/>
                </a:ext>
              </a:extLst>
            </p:cNvPr>
            <p:cNvSpPr/>
            <p:nvPr/>
          </p:nvSpPr>
          <p:spPr>
            <a:xfrm>
              <a:off x="6695279" y="3933803"/>
              <a:ext cx="525146" cy="1068549"/>
            </a:xfrm>
            <a:prstGeom prst="rect">
              <a:avLst/>
            </a:prstGeom>
            <a:ln>
              <a:noFill/>
            </a:ln>
          </p:spPr>
          <p:txBody>
            <a:bodyPr vert="vert270" wrap="square">
              <a:spAutoFit/>
            </a:bodyPr>
            <a:lstStyle/>
            <a:p>
              <a:pPr defTabSz="342380">
                <a:defRPr/>
              </a:pPr>
              <a:r>
                <a:rPr lang="ru-RU" altLang="ru-RU" sz="700" i="1" dirty="0" err="1" smtClean="0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Жеткізу</a:t>
              </a:r>
              <a:endParaRPr lang="ru-RU" altLang="ru-RU" sz="1050" i="1" dirty="0">
                <a:solidFill>
                  <a:srgbClr val="FF0000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 Narrow" panose="020B0606020202030204" pitchFamily="34" charset="0"/>
              </a:endParaRPr>
            </a:p>
          </p:txBody>
        </p:sp>
        <p:cxnSp>
          <p:nvCxnSpPr>
            <p:cNvPr id="75" name="Прямая со стрелкой 74">
              <a:extLst>
                <a:ext uri="{FF2B5EF4-FFF2-40B4-BE49-F238E27FC236}">
                  <a16:creationId xmlns:a16="http://schemas.microsoft.com/office/drawing/2014/main" id="{03B2A7A1-E997-47DF-B2D2-D114EAD8587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38343" y="4606790"/>
              <a:ext cx="1590566" cy="0"/>
            </a:xfrm>
            <a:prstGeom prst="straightConnector1">
              <a:avLst/>
            </a:prstGeom>
            <a:ln w="25400">
              <a:solidFill>
                <a:schemeClr val="tx1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Прямоугольник 75">
              <a:extLst>
                <a:ext uri="{FF2B5EF4-FFF2-40B4-BE49-F238E27FC236}">
                  <a16:creationId xmlns:a16="http://schemas.microsoft.com/office/drawing/2014/main" id="{1D00C84B-7C59-40C2-88B5-664560C878A7}"/>
                </a:ext>
              </a:extLst>
            </p:cNvPr>
            <p:cNvSpPr/>
            <p:nvPr/>
          </p:nvSpPr>
          <p:spPr>
            <a:xfrm>
              <a:off x="1928843" y="4728538"/>
              <a:ext cx="1133201" cy="406244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defTabSz="342380">
                <a:defRPr/>
              </a:pPr>
              <a:r>
                <a:rPr lang="ru-RU" altLang="ru-RU" sz="1000" i="1" dirty="0">
                  <a:solidFill>
                    <a:srgbClr val="FF0000"/>
                  </a:solidFill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Битум</a:t>
              </a:r>
            </a:p>
          </p:txBody>
        </p:sp>
        <p:sp>
          <p:nvSpPr>
            <p:cNvPr id="77" name="Прямоугольник 76">
              <a:extLst>
                <a:ext uri="{FF2B5EF4-FFF2-40B4-BE49-F238E27FC236}">
                  <a16:creationId xmlns:a16="http://schemas.microsoft.com/office/drawing/2014/main" id="{B4CAE1D4-DC84-4F4D-BD1E-43C277F0C217}"/>
                </a:ext>
              </a:extLst>
            </p:cNvPr>
            <p:cNvSpPr/>
            <p:nvPr/>
          </p:nvSpPr>
          <p:spPr>
            <a:xfrm>
              <a:off x="6360108" y="3856891"/>
              <a:ext cx="1747277" cy="2047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00" b="1" kern="0" dirty="0">
                  <a:solidFill>
                    <a:schemeClr val="accent5">
                      <a:lumMod val="75000"/>
                    </a:schemeClr>
                  </a:solidFill>
                  <a:latin typeface="Arial" pitchFamily="34" charset="0"/>
                  <a:cs typeface="Arial" pitchFamily="34" charset="0"/>
                </a:rPr>
                <a:t>ТРЕЙДЕР</a:t>
              </a:r>
            </a:p>
          </p:txBody>
        </p:sp>
        <p:cxnSp>
          <p:nvCxnSpPr>
            <p:cNvPr id="78" name="Прямая со стрелкой 77">
              <a:extLst>
                <a:ext uri="{FF2B5EF4-FFF2-40B4-BE49-F238E27FC236}">
                  <a16:creationId xmlns:a16="http://schemas.microsoft.com/office/drawing/2014/main" id="{08C4D54E-A7B8-41BA-83BA-28F94665A478}"/>
                </a:ext>
              </a:extLst>
            </p:cNvPr>
            <p:cNvCxnSpPr>
              <a:cxnSpLocks/>
            </p:cNvCxnSpPr>
            <p:nvPr/>
          </p:nvCxnSpPr>
          <p:spPr>
            <a:xfrm>
              <a:off x="4716346" y="4892839"/>
              <a:ext cx="1350134" cy="611873"/>
            </a:xfrm>
            <a:prstGeom prst="straightConnector1">
              <a:avLst/>
            </a:prstGeom>
            <a:ln w="25400">
              <a:solidFill>
                <a:schemeClr val="tx1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661B189C-46E5-4A6B-97B4-87CE610823D5}"/>
                </a:ext>
              </a:extLst>
            </p:cNvPr>
            <p:cNvSpPr/>
            <p:nvPr/>
          </p:nvSpPr>
          <p:spPr>
            <a:xfrm rot="12294355" flipV="1">
              <a:off x="4215142" y="5286079"/>
              <a:ext cx="2100464" cy="320071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342380">
                <a:defRPr/>
              </a:pPr>
              <a:r>
                <a:rPr lang="ru-RU" altLang="ru-RU" sz="700" i="1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Тікелей</a:t>
              </a:r>
              <a:r>
                <a:rPr lang="ru-RU" altLang="ru-RU" sz="700" i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 </a:t>
              </a:r>
              <a:r>
                <a:rPr lang="ru-RU" altLang="ru-RU" sz="700" i="1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іске</a:t>
              </a:r>
              <a:r>
                <a:rPr lang="ru-RU" altLang="ru-RU" sz="700" i="1" dirty="0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 </a:t>
              </a:r>
              <a:r>
                <a:rPr lang="ru-RU" altLang="ru-RU" sz="700" i="1" dirty="0" err="1">
                  <a:latin typeface="Arial" panose="020B0604020202020204" pitchFamily="34" charset="0"/>
                  <a:ea typeface="Verdana" panose="020B0604030504040204" pitchFamily="34" charset="0"/>
                  <a:cs typeface="Arial" panose="020B0604020202020204" pitchFamily="34" charset="0"/>
                  <a:sym typeface="Arial Narrow" panose="020B0606020202030204" pitchFamily="34" charset="0"/>
                </a:rPr>
                <a:t>асыру</a:t>
              </a:r>
              <a:endParaRPr lang="ru-RU" altLang="ru-RU" sz="700" i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  <a:sym typeface="Arial Narrow" panose="020B0606020202030204" pitchFamily="34" charset="0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2E35E808-2E18-40D2-9E1E-D4BBF043969F}"/>
              </a:ext>
            </a:extLst>
          </p:cNvPr>
          <p:cNvSpPr txBox="1"/>
          <p:nvPr/>
        </p:nvSpPr>
        <p:spPr>
          <a:xfrm>
            <a:off x="49212" y="2449985"/>
            <a:ext cx="9005040" cy="2846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itchFamily="34" charset="0"/>
              </a:rPr>
              <a:t>АВТОЖОЛ САЛАСЫН БИТУММЕН ҚАМТАМАСЫЗ ЕТУДІҢ ҚОЛДАНЫСТАҒЫ ТЕТІГІ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id="{755DBEE9-81B7-4046-A360-2A22777C041E}"/>
              </a:ext>
            </a:extLst>
          </p:cNvPr>
          <p:cNvSpPr/>
          <p:nvPr/>
        </p:nvSpPr>
        <p:spPr>
          <a:xfrm>
            <a:off x="4488707" y="2715766"/>
            <a:ext cx="4642657" cy="2420984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>
            <a:noAutofit/>
          </a:bodyPr>
          <a:lstStyle/>
          <a:p>
            <a:pPr marL="214313" lvl="1" indent="-214313" algn="just">
              <a:buClr>
                <a:srgbClr val="0070C0"/>
              </a:buClr>
              <a:buSzPct val="101000"/>
              <a:buFont typeface="Wingdings" panose="05000000000000000000" pitchFamily="2" charset="2"/>
              <a:buChar char="Ø"/>
            </a:pP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ушы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ұнайды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итум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уытын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еді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қт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ту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йді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14313" lvl="1" indent="-214313" algn="just">
              <a:buClr>
                <a:srgbClr val="0070C0"/>
              </a:buClr>
              <a:buSzPct val="101000"/>
              <a:buFont typeface="Wingdings" panose="05000000000000000000" pitchFamily="2" charset="2"/>
              <a:buChar char="Ø"/>
            </a:pPr>
            <a:endParaRPr lang="ru-RU" sz="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lvl="1" indent="-214313" algn="just">
              <a:buClr>
                <a:srgbClr val="0070C0"/>
              </a:buClr>
              <a:buSzPct val="101000"/>
              <a:buFont typeface="Wingdings" panose="05000000000000000000" pitchFamily="2" charset="2"/>
              <a:buChar char="Ø"/>
            </a:pP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усымы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ған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90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0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ге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еді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14313" lvl="1" indent="-214313" algn="just">
              <a:buClr>
                <a:srgbClr val="0070C0"/>
              </a:buClr>
              <a:buSzPct val="101000"/>
              <a:buFont typeface="Wingdings" panose="05000000000000000000" pitchFamily="2" charset="2"/>
              <a:buChar char="Ø"/>
            </a:pPr>
            <a:endParaRPr lang="ru-RU" sz="105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4313" lvl="1" indent="-214313" algn="just">
              <a:buClr>
                <a:srgbClr val="0070C0"/>
              </a:buClr>
              <a:buSzPct val="101000"/>
              <a:buFont typeface="Wingdings" panose="05000000000000000000" pitchFamily="2" charset="2"/>
              <a:buChar char="Ø"/>
            </a:pPr>
            <a:endParaRPr lang="ru-RU" sz="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198835" algn="just">
              <a:buClr>
                <a:srgbClr val="0070C0"/>
              </a:buClr>
              <a:buSzPct val="101000"/>
            </a:pPr>
            <a:r>
              <a:rPr lang="ru-RU" sz="105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sz="105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105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0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0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 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онна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де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итум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уге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вота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у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ы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де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сурс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ушыда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тумы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ға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йым</a:t>
            </a:r>
            <a:r>
              <a: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v"/>
            </a:pP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тумғ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р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сі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ден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/ тонна)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ЖМ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п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ЭМ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рығына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сас</a:t>
            </a:r>
            <a:r>
              <a:rPr lang="ru-RU" sz="10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50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77">
            <a:extLst>
              <a:ext uri="{FF2B5EF4-FFF2-40B4-BE49-F238E27FC236}">
                <a16:creationId xmlns:a16="http://schemas.microsoft.com/office/drawing/2014/main" id="{A186856B-9CF9-417D-920A-5309524DCB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464" y="4922044"/>
            <a:ext cx="426493" cy="253916"/>
          </a:xfrm>
          <a:prstGeom prst="rect">
            <a:avLst/>
          </a:prstGeom>
        </p:spPr>
        <p:txBody>
          <a:bodyPr vert="horz" lIns="91336" tIns="45666" rIns="91336" bIns="45666" rtlCol="0" anchor="ctr">
            <a:noAutofit/>
          </a:bodyPr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altLang="x-none" sz="1100" dirty="0"/>
              <a:t>1</a:t>
            </a:r>
            <a:r>
              <a:rPr lang="kk-KZ" altLang="x-none" sz="1100" dirty="0"/>
              <a:t>5</a:t>
            </a:r>
            <a:endParaRPr lang="x-none" altLang="x-none" sz="1100" dirty="0"/>
          </a:p>
        </p:txBody>
      </p:sp>
    </p:spTree>
    <p:extLst>
      <p:ext uri="{BB962C8B-B14F-4D97-AF65-F5344CB8AC3E}">
        <p14:creationId xmlns:p14="http://schemas.microsoft.com/office/powerpoint/2010/main" val="417204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Рисунок 74" descr="Схема контур">
            <a:extLst>
              <a:ext uri="{FF2B5EF4-FFF2-40B4-BE49-F238E27FC236}">
                <a16:creationId xmlns:a16="http://schemas.microsoft.com/office/drawing/2014/main" id="{F04E738F-7BC1-455F-AA67-B88471E5F3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9649" y="3497103"/>
            <a:ext cx="623429" cy="496159"/>
          </a:xfrm>
          <a:prstGeom prst="rect">
            <a:avLst/>
          </a:prstGeom>
        </p:spPr>
      </p:pic>
      <p:sp>
        <p:nvSpPr>
          <p:cNvPr id="53" name="AutoShape 4" descr="Auction free icon"/>
          <p:cNvSpPr>
            <a:spLocks noChangeAspect="1" noChangeArrowheads="1"/>
          </p:cNvSpPr>
          <p:nvPr/>
        </p:nvSpPr>
        <p:spPr bwMode="auto">
          <a:xfrm>
            <a:off x="230981" y="5954"/>
            <a:ext cx="228600" cy="22860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100"/>
          </a:p>
        </p:txBody>
      </p:sp>
      <p:pic>
        <p:nvPicPr>
          <p:cNvPr id="104" name="Рисунок 103">
            <a:extLst>
              <a:ext uri="{FF2B5EF4-FFF2-40B4-BE49-F238E27FC236}">
                <a16:creationId xmlns:a16="http://schemas.microsoft.com/office/drawing/2014/main" id="{5067303D-3FA0-47EC-98A0-B2E76685102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0328" y="9603529"/>
            <a:ext cx="52188" cy="58732"/>
          </a:xfrm>
          <a:prstGeom prst="rect">
            <a:avLst/>
          </a:prstGeom>
          <a:grpFill/>
          <a:ln w="9525">
            <a:noFill/>
            <a:round/>
            <a:headEnd/>
            <a:tailEnd/>
          </a:ln>
        </p:spPr>
      </p:pic>
      <p:sp>
        <p:nvSpPr>
          <p:cNvPr id="34" name="Прямоугольник 33"/>
          <p:cNvSpPr/>
          <p:nvPr/>
        </p:nvSpPr>
        <p:spPr>
          <a:xfrm>
            <a:off x="1036927" y="48653"/>
            <a:ext cx="7260048" cy="2908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sz="16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ҰМЫС САПАСЫН АРТТЫРУ</a:t>
            </a:r>
          </a:p>
        </p:txBody>
      </p:sp>
      <p:pic>
        <p:nvPicPr>
          <p:cNvPr id="46" name="Picture 6" descr="ícone de criptografia de arquivo 2206186 Vetor no Vecteezy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0206" y1="49485" x2="61856" y2="36082"/>
                        <a14:foregroundMark x1="35052" y1="30928" x2="35052" y2="30928"/>
                        <a14:foregroundMark x1="28866" y1="44330" x2="37113" y2="51546"/>
                        <a14:foregroundMark x1="39175" y1="56701" x2="39175" y2="56701"/>
                        <a14:foregroundMark x1="57732" y1="63918" x2="57732" y2="63918"/>
                        <a14:foregroundMark x1="59794" y1="61856" x2="59794" y2="61856"/>
                        <a14:foregroundMark x1="62887" y1="61856" x2="62887" y2="61856"/>
                        <a14:foregroundMark x1="35052" y1="58763" x2="28866" y2="58763"/>
                        <a14:foregroundMark x1="28866" y1="58763" x2="28866" y2="58763"/>
                      </a14:backgroundRemoval>
                    </a14:imgEffect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451" y="699542"/>
            <a:ext cx="645149" cy="64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321" y="297799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/>
          <p:cNvSpPr/>
          <p:nvPr/>
        </p:nvSpPr>
        <p:spPr>
          <a:xfrm>
            <a:off x="118190" y="3291830"/>
            <a:ext cx="873382" cy="864096"/>
          </a:xfrm>
          <a:prstGeom prst="ellipse">
            <a:avLst/>
          </a:prstGeom>
          <a:noFill/>
          <a:ln w="50800">
            <a:solidFill>
              <a:srgbClr val="C00000"/>
            </a:solidFill>
          </a:ln>
          <a:effectLst>
            <a:outerShdw blurRad="149987" dist="114300" dir="8460000" algn="ctr">
              <a:schemeClr val="bg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7500" rIns="68580" bIns="67500" rtlCol="0" anchor="ctr" anchorCtr="0"/>
          <a:lstStyle/>
          <a:p>
            <a:pPr algn="ctr"/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TextBox 56"/>
          <p:cNvSpPr txBox="1">
            <a:spLocks noChangeArrowheads="1"/>
          </p:cNvSpPr>
          <p:nvPr/>
        </p:nvSpPr>
        <p:spPr bwMode="auto">
          <a:xfrm>
            <a:off x="1299659" y="859081"/>
            <a:ext cx="8312901" cy="229791"/>
          </a:xfrm>
          <a:prstGeom prst="rect">
            <a:avLst/>
          </a:prstGeom>
          <a:noFill/>
        </p:spPr>
        <p:txBody>
          <a:bodyPr lIns="77925" tIns="38963" rIns="77925" bIns="38963" anchor="ctr"/>
          <a:lstStyle>
            <a:defPPr>
              <a:defRPr lang="ru-RU"/>
            </a:defPPr>
            <a:lvl1pPr>
              <a:spcBef>
                <a:spcPct val="0"/>
              </a:spcBef>
              <a:defRPr b="1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280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ылымды дамыту, материалдар мен жаңа технологиялардың электрондық базасы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57"/>
          <p:cNvSpPr txBox="1">
            <a:spLocks noChangeArrowheads="1"/>
          </p:cNvSpPr>
          <p:nvPr/>
        </p:nvSpPr>
        <p:spPr bwMode="auto">
          <a:xfrm>
            <a:off x="1283695" y="2216247"/>
            <a:ext cx="8312901" cy="229791"/>
          </a:xfrm>
          <a:prstGeom prst="rect">
            <a:avLst/>
          </a:prstGeom>
          <a:noFill/>
        </p:spPr>
        <p:txBody>
          <a:bodyPr lIns="77925" tIns="38963" rIns="77925" bIns="38963" anchor="ctr"/>
          <a:lstStyle>
            <a:defPPr>
              <a:defRPr lang="ru-RU"/>
            </a:defPPr>
            <a:lvl1pPr>
              <a:spcBef>
                <a:spcPct val="0"/>
              </a:spcBef>
              <a:defRPr b="1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тік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ны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лдіру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>
            <a:spLocks noChangeArrowheads="1"/>
          </p:cNvSpPr>
          <p:nvPr/>
        </p:nvSpPr>
        <p:spPr bwMode="auto">
          <a:xfrm>
            <a:off x="1265327" y="3291830"/>
            <a:ext cx="7627154" cy="864096"/>
          </a:xfrm>
          <a:prstGeom prst="rect">
            <a:avLst/>
          </a:prstGeom>
          <a:noFill/>
        </p:spPr>
        <p:txBody>
          <a:bodyPr lIns="77925" tIns="38963" rIns="77925" bIns="38963" anchor="ctr"/>
          <a:lstStyle>
            <a:defPPr>
              <a:defRPr lang="ru-RU"/>
            </a:defPPr>
            <a:lvl1pPr>
              <a:spcBef>
                <a:spcPct val="0"/>
              </a:spcBef>
              <a:defRPr b="1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ын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лы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2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endParaRPr lang="en-US" sz="28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55"/>
          <p:cNvSpPr/>
          <p:nvPr/>
        </p:nvSpPr>
        <p:spPr>
          <a:xfrm>
            <a:off x="163545" y="623342"/>
            <a:ext cx="873382" cy="864096"/>
          </a:xfrm>
          <a:prstGeom prst="ellipse">
            <a:avLst/>
          </a:prstGeom>
          <a:noFill/>
          <a:ln w="50800">
            <a:solidFill>
              <a:srgbClr val="C00000"/>
            </a:solidFill>
          </a:ln>
          <a:effectLst>
            <a:outerShdw blurRad="149987" dist="114300" dir="8460000" algn="ctr">
              <a:schemeClr val="bg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7500" rIns="68580" bIns="67500" rtlCol="0" anchor="ctr" anchorCtr="0"/>
          <a:lstStyle/>
          <a:p>
            <a:pPr algn="ctr"/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3" name="Рисунок 62" descr="Контрольный список">
            <a:extLst>
              <a:ext uri="{FF2B5EF4-FFF2-40B4-BE49-F238E27FC236}">
                <a16:creationId xmlns:a16="http://schemas.microsoft.com/office/drawing/2014/main" id="{0A01AD49-2391-4F8F-9CEB-7C592F86685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0881" y="2094491"/>
            <a:ext cx="549267" cy="549267"/>
          </a:xfrm>
          <a:prstGeom prst="rect">
            <a:avLst/>
          </a:prstGeom>
          <a:noFill/>
        </p:spPr>
      </p:pic>
      <p:sp>
        <p:nvSpPr>
          <p:cNvPr id="64" name="Oval 55"/>
          <p:cNvSpPr/>
          <p:nvPr/>
        </p:nvSpPr>
        <p:spPr>
          <a:xfrm>
            <a:off x="137225" y="1934706"/>
            <a:ext cx="873382" cy="864096"/>
          </a:xfrm>
          <a:prstGeom prst="ellipse">
            <a:avLst/>
          </a:prstGeom>
          <a:noFill/>
          <a:ln w="50800">
            <a:solidFill>
              <a:srgbClr val="C00000"/>
            </a:solidFill>
          </a:ln>
          <a:effectLst>
            <a:outerShdw blurRad="149987" dist="114300" dir="8460000" algn="ctr">
              <a:schemeClr val="bg1">
                <a:alpha val="28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67500" rIns="68580" bIns="67500" rtlCol="0" anchor="ctr" anchorCtr="0"/>
          <a:lstStyle/>
          <a:p>
            <a:pPr algn="ctr"/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" name="TextBox 77">
            <a:extLst>
              <a:ext uri="{FF2B5EF4-FFF2-40B4-BE49-F238E27FC236}">
                <a16:creationId xmlns:a16="http://schemas.microsoft.com/office/drawing/2014/main" id="{A186856B-9CF9-417D-920A-5309524DCB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54019" y="4922044"/>
            <a:ext cx="426493" cy="253916"/>
          </a:xfrm>
          <a:prstGeom prst="rect">
            <a:avLst/>
          </a:prstGeom>
        </p:spPr>
        <p:txBody>
          <a:bodyPr vert="horz" lIns="91336" tIns="45666" rIns="91336" bIns="45666" rtlCol="0" anchor="ctr">
            <a:noAutofit/>
          </a:bodyPr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altLang="x-none" sz="1100" dirty="0"/>
              <a:t>16</a:t>
            </a:r>
            <a:endParaRPr lang="x-none" altLang="x-none" sz="1100" dirty="0"/>
          </a:p>
        </p:txBody>
      </p:sp>
    </p:spTree>
    <p:extLst>
      <p:ext uri="{BB962C8B-B14F-4D97-AF65-F5344CB8AC3E}">
        <p14:creationId xmlns:p14="http://schemas.microsoft.com/office/powerpoint/2010/main" val="3745149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846;p29"/>
          <p:cNvSpPr/>
          <p:nvPr/>
        </p:nvSpPr>
        <p:spPr>
          <a:xfrm>
            <a:off x="40616" y="2288317"/>
            <a:ext cx="8923871" cy="1626370"/>
          </a:xfrm>
          <a:custGeom>
            <a:avLst/>
            <a:gdLst>
              <a:gd name="connsiteX0" fmla="*/ 0 w 6964578"/>
              <a:gd name="connsiteY0" fmla="*/ 0 h 2168996"/>
              <a:gd name="connsiteX1" fmla="*/ 5880080 w 6964578"/>
              <a:gd name="connsiteY1" fmla="*/ 0 h 2168996"/>
              <a:gd name="connsiteX2" fmla="*/ 6964578 w 6964578"/>
              <a:gd name="connsiteY2" fmla="*/ 1084498 h 2168996"/>
              <a:gd name="connsiteX3" fmla="*/ 5880080 w 6964578"/>
              <a:gd name="connsiteY3" fmla="*/ 2168996 h 2168996"/>
              <a:gd name="connsiteX4" fmla="*/ 0 w 6964578"/>
              <a:gd name="connsiteY4" fmla="*/ 2168996 h 2168996"/>
              <a:gd name="connsiteX5" fmla="*/ 0 w 6964578"/>
              <a:gd name="connsiteY5" fmla="*/ 0 h 2168996"/>
              <a:gd name="connsiteX0" fmla="*/ 0 w 5880080"/>
              <a:gd name="connsiteY0" fmla="*/ 0 h 2168996"/>
              <a:gd name="connsiteX1" fmla="*/ 5880080 w 5880080"/>
              <a:gd name="connsiteY1" fmla="*/ 0 h 2168996"/>
              <a:gd name="connsiteX2" fmla="*/ 5878728 w 5880080"/>
              <a:gd name="connsiteY2" fmla="*/ 1151173 h 2168996"/>
              <a:gd name="connsiteX3" fmla="*/ 5880080 w 5880080"/>
              <a:gd name="connsiteY3" fmla="*/ 2168996 h 2168996"/>
              <a:gd name="connsiteX4" fmla="*/ 0 w 5880080"/>
              <a:gd name="connsiteY4" fmla="*/ 2168996 h 2168996"/>
              <a:gd name="connsiteX5" fmla="*/ 0 w 5880080"/>
              <a:gd name="connsiteY5" fmla="*/ 0 h 2168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80080" h="2168996">
                <a:moveTo>
                  <a:pt x="0" y="0"/>
                </a:moveTo>
                <a:lnTo>
                  <a:pt x="5880080" y="0"/>
                </a:lnTo>
                <a:cubicBezTo>
                  <a:pt x="5879629" y="383724"/>
                  <a:pt x="5879179" y="767449"/>
                  <a:pt x="5878728" y="1151173"/>
                </a:cubicBezTo>
                <a:cubicBezTo>
                  <a:pt x="5879179" y="1490447"/>
                  <a:pt x="5879629" y="1829722"/>
                  <a:pt x="5880080" y="2168996"/>
                </a:cubicBezTo>
                <a:lnTo>
                  <a:pt x="0" y="2168996"/>
                </a:lnTo>
                <a:lnTo>
                  <a:pt x="0" y="0"/>
                </a:lnTo>
                <a:close/>
              </a:path>
            </a:pathLst>
          </a:custGeom>
          <a:noFill/>
          <a:ln w="19050">
            <a:solidFill>
              <a:srgbClr val="000066"/>
            </a:solidFill>
            <a:prstDash val="dash"/>
          </a:ln>
        </p:spPr>
        <p:txBody>
          <a:bodyPr spcFirstLastPara="1" wrap="square" lIns="68560" tIns="68560" rIns="68560" bIns="68560" anchor="ctr" anchorCtr="0">
            <a:noAutofit/>
          </a:bodyPr>
          <a:lstStyle/>
          <a:p>
            <a:pPr algn="ctr">
              <a:lnSpc>
                <a:spcPts val="1500"/>
              </a:lnSpc>
            </a:pPr>
            <a:endParaRPr lang="ru-RU" sz="1200" b="1" dirty="0">
              <a:solidFill>
                <a:srgbClr val="000066"/>
              </a:solidFill>
              <a:latin typeface="Amatic SC"/>
              <a:ea typeface="Amatic SC"/>
              <a:cs typeface="Amatic SC"/>
            </a:endParaRPr>
          </a:p>
        </p:txBody>
      </p:sp>
      <p:sp>
        <p:nvSpPr>
          <p:cNvPr id="19" name="Прямоугольник 5">
            <a:extLst>
              <a:ext uri="{FF2B5EF4-FFF2-40B4-BE49-F238E27FC236}">
                <a16:creationId xmlns:a16="http://schemas.microsoft.com/office/drawing/2014/main" id="{1B84314B-01F8-4B49-4790-4E26F4951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79" y="-10401"/>
            <a:ext cx="9144000" cy="346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62" tIns="34281" rIns="68562" bIns="34281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 </a:t>
            </a:r>
            <a:r>
              <a:rPr lang="ru-RU" altLang="ru-RU" sz="1500" b="1" cap="all" dirty="0" err="1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Толық</a:t>
            </a:r>
            <a:r>
              <a:rPr lang="ru-RU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 </a:t>
            </a:r>
            <a:r>
              <a:rPr lang="ru-RU" altLang="ru-RU" sz="1500" b="1" cap="all" dirty="0" err="1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өмірлік</a:t>
            </a:r>
            <a:r>
              <a:rPr lang="ru-RU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 цикл </a:t>
            </a:r>
            <a:r>
              <a:rPr lang="ru-RU" altLang="ru-RU" sz="1500" b="1" cap="all" dirty="0" err="1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келісімшарттарын</a:t>
            </a:r>
            <a:r>
              <a:rPr lang="ru-RU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 </a:t>
            </a:r>
            <a:r>
              <a:rPr lang="ru-RU" altLang="ru-RU" sz="1500" b="1" cap="all" dirty="0" err="1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енгізу</a:t>
            </a:r>
            <a:r>
              <a:rPr lang="ru-RU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 (</a:t>
            </a:r>
            <a:r>
              <a:rPr lang="en-US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EPCM </a:t>
            </a:r>
            <a:r>
              <a:rPr lang="ru-RU" altLang="ru-RU" sz="1500" b="1" cap="all" dirty="0" err="1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келісімшарты</a:t>
            </a:r>
            <a:r>
              <a:rPr lang="ru-RU" altLang="ru-RU" sz="1500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)</a:t>
            </a:r>
            <a:endParaRPr lang="ru-RU" altLang="ru-RU" b="1" cap="all" dirty="0">
              <a:ln w="3175" cmpd="sng">
                <a:noFill/>
              </a:ln>
              <a:solidFill>
                <a:srgbClr val="002060"/>
              </a:solidFill>
              <a:effectLst>
                <a:glow rad="38100">
                  <a:schemeClr val="bg1">
                    <a:lumMod val="65000"/>
                    <a:lumOff val="35000"/>
                    <a:alpha val="40000"/>
                  </a:schemeClr>
                </a:glow>
              </a:effectLst>
              <a:latin typeface="Arial"/>
              <a:ea typeface="+mj-ea"/>
              <a:cs typeface="Arial"/>
            </a:endParaRP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FF4D76C-DC25-4F97-AF3E-08C7F8F94142}"/>
              </a:ext>
            </a:extLst>
          </p:cNvPr>
          <p:cNvCxnSpPr>
            <a:cxnSpLocks/>
          </p:cNvCxnSpPr>
          <p:nvPr/>
        </p:nvCxnSpPr>
        <p:spPr>
          <a:xfrm>
            <a:off x="0" y="314949"/>
            <a:ext cx="9144000" cy="0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D9914A8B-803B-44FB-ACF1-5DCADDDE486C}"/>
              </a:ext>
            </a:extLst>
          </p:cNvPr>
          <p:cNvSpPr txBox="1"/>
          <p:nvPr/>
        </p:nvSpPr>
        <p:spPr>
          <a:xfrm>
            <a:off x="7249" y="4641431"/>
            <a:ext cx="1281849" cy="453865"/>
          </a:xfrm>
          <a:prstGeom prst="rect">
            <a:avLst/>
          </a:prstGeom>
        </p:spPr>
        <p:txBody>
          <a:bodyPr wrap="square" lIns="68571" tIns="34285" rIns="68571" bIns="34285">
            <a:spAutoFit/>
          </a:bodyPr>
          <a:lstStyle>
            <a:defPPr>
              <a:defRPr lang="ru-RU"/>
            </a:defPPr>
            <a:lvl1pPr algn="just">
              <a:lnSpc>
                <a:spcPct val="115000"/>
              </a:lnSpc>
              <a:spcAft>
                <a:spcPts val="1000"/>
              </a:spcAft>
              <a:defRPr sz="1200" b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defRPr>
            </a:lvl1pPr>
          </a:lstStyle>
          <a:p>
            <a:pPr algn="ctr">
              <a:lnSpc>
                <a:spcPts val="1500"/>
              </a:lnSpc>
            </a:pPr>
            <a:r>
              <a:rPr lang="kk-KZ" dirty="0"/>
              <a:t>СОҢҒЫ НӘТИЖЕ</a:t>
            </a:r>
            <a:endParaRPr lang="ru-RU" dirty="0"/>
          </a:p>
        </p:txBody>
      </p:sp>
      <p:pic>
        <p:nvPicPr>
          <p:cNvPr id="49" name="Рисунок 48" descr="Контрольный список (справа налево)">
            <a:extLst>
              <a:ext uri="{FF2B5EF4-FFF2-40B4-BE49-F238E27FC236}">
                <a16:creationId xmlns:a16="http://schemas.microsoft.com/office/drawing/2014/main" id="{6DFE2611-D9DD-41A5-BC15-F00B445A1D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5228" y="4029575"/>
            <a:ext cx="685889" cy="685641"/>
          </a:xfrm>
          <a:prstGeom prst="rect">
            <a:avLst/>
          </a:prstGeom>
        </p:spPr>
      </p:pic>
      <p:sp>
        <p:nvSpPr>
          <p:cNvPr id="58" name="Стрелка: шеврон 4">
            <a:extLst>
              <a:ext uri="{FF2B5EF4-FFF2-40B4-BE49-F238E27FC236}">
                <a16:creationId xmlns:a16="http://schemas.microsoft.com/office/drawing/2014/main" id="{4D5D3A15-B28E-929D-F699-587846903696}"/>
              </a:ext>
            </a:extLst>
          </p:cNvPr>
          <p:cNvSpPr/>
          <p:nvPr/>
        </p:nvSpPr>
        <p:spPr>
          <a:xfrm>
            <a:off x="3123915" y="1002241"/>
            <a:ext cx="363474" cy="363474"/>
          </a:xfrm>
          <a:prstGeom prst="chevron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71" tIns="34285" rIns="68571" bIns="34285" rtlCol="0" anchor="ctr"/>
          <a:lstStyle/>
          <a:p>
            <a:pPr algn="ctr"/>
            <a:endParaRPr lang="ru-RU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Стрелка: шеврон 5">
            <a:extLst>
              <a:ext uri="{FF2B5EF4-FFF2-40B4-BE49-F238E27FC236}">
                <a16:creationId xmlns:a16="http://schemas.microsoft.com/office/drawing/2014/main" id="{1C4E70A9-B029-64B2-4C5F-AB3C1B45B7F5}"/>
              </a:ext>
            </a:extLst>
          </p:cNvPr>
          <p:cNvSpPr/>
          <p:nvPr/>
        </p:nvSpPr>
        <p:spPr>
          <a:xfrm>
            <a:off x="3419995" y="1002241"/>
            <a:ext cx="363474" cy="363474"/>
          </a:xfrm>
          <a:prstGeom prst="chevron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71" tIns="34285" rIns="68571" bIns="34285" rtlCol="0" anchor="ctr"/>
          <a:lstStyle/>
          <a:p>
            <a:pPr algn="ctr"/>
            <a:endParaRPr lang="ru-RU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Стрелка: шеврон 6">
            <a:extLst>
              <a:ext uri="{FF2B5EF4-FFF2-40B4-BE49-F238E27FC236}">
                <a16:creationId xmlns:a16="http://schemas.microsoft.com/office/drawing/2014/main" id="{9B8A2D86-86E3-CCA0-93C7-A3398329B374}"/>
              </a:ext>
            </a:extLst>
          </p:cNvPr>
          <p:cNvSpPr/>
          <p:nvPr/>
        </p:nvSpPr>
        <p:spPr>
          <a:xfrm>
            <a:off x="3726320" y="1002241"/>
            <a:ext cx="363474" cy="363474"/>
          </a:xfrm>
          <a:prstGeom prst="chevron">
            <a:avLst/>
          </a:prstGeom>
          <a:solidFill>
            <a:srgbClr val="00B05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71" tIns="34285" rIns="68571" bIns="34285" rtlCol="0" anchor="ctr"/>
          <a:lstStyle/>
          <a:p>
            <a:pPr algn="ctr"/>
            <a:endParaRPr lang="ru-RU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204176" y="1006979"/>
            <a:ext cx="4472279" cy="380075"/>
            <a:chOff x="4652506" y="1703657"/>
            <a:chExt cx="6511422" cy="506884"/>
          </a:xfrm>
        </p:grpSpPr>
        <p:sp>
          <p:nvSpPr>
            <p:cNvPr id="61" name="Стрелка: шеврон 7">
              <a:extLst>
                <a:ext uri="{FF2B5EF4-FFF2-40B4-BE49-F238E27FC236}">
                  <a16:creationId xmlns:a16="http://schemas.microsoft.com/office/drawing/2014/main" id="{03583EE8-6BB1-9C7C-43EA-55D1BAD166C0}"/>
                </a:ext>
              </a:extLst>
            </p:cNvPr>
            <p:cNvSpPr/>
            <p:nvPr/>
          </p:nvSpPr>
          <p:spPr>
            <a:xfrm>
              <a:off x="4652506" y="170365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Стрелка: шеврон 8">
              <a:extLst>
                <a:ext uri="{FF2B5EF4-FFF2-40B4-BE49-F238E27FC236}">
                  <a16:creationId xmlns:a16="http://schemas.microsoft.com/office/drawing/2014/main" id="{B626B9D2-3DCE-3F08-BDC3-1103E27D6C4A}"/>
                </a:ext>
              </a:extLst>
            </p:cNvPr>
            <p:cNvSpPr/>
            <p:nvPr/>
          </p:nvSpPr>
          <p:spPr>
            <a:xfrm>
              <a:off x="5063503" y="170997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Стрелка: шеврон 9">
              <a:extLst>
                <a:ext uri="{FF2B5EF4-FFF2-40B4-BE49-F238E27FC236}">
                  <a16:creationId xmlns:a16="http://schemas.microsoft.com/office/drawing/2014/main" id="{17F62C5B-373B-AB25-C6AE-2EF0D2FFF5B7}"/>
                </a:ext>
              </a:extLst>
            </p:cNvPr>
            <p:cNvSpPr/>
            <p:nvPr/>
          </p:nvSpPr>
          <p:spPr>
            <a:xfrm>
              <a:off x="5483821" y="17191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Стрелка: шеврон 10">
              <a:extLst>
                <a:ext uri="{FF2B5EF4-FFF2-40B4-BE49-F238E27FC236}">
                  <a16:creationId xmlns:a16="http://schemas.microsoft.com/office/drawing/2014/main" id="{4668AE30-535B-AD06-A415-4969F989C355}"/>
                </a:ext>
              </a:extLst>
            </p:cNvPr>
            <p:cNvSpPr/>
            <p:nvPr/>
          </p:nvSpPr>
          <p:spPr>
            <a:xfrm>
              <a:off x="5904140" y="1720676"/>
              <a:ext cx="484569" cy="484744"/>
            </a:xfrm>
            <a:prstGeom prst="chevron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Стрелка: шеврон 11">
              <a:extLst>
                <a:ext uri="{FF2B5EF4-FFF2-40B4-BE49-F238E27FC236}">
                  <a16:creationId xmlns:a16="http://schemas.microsoft.com/office/drawing/2014/main" id="{2059662D-A061-7D93-8F7F-4AC906FE58CB}"/>
                </a:ext>
              </a:extLst>
            </p:cNvPr>
            <p:cNvSpPr/>
            <p:nvPr/>
          </p:nvSpPr>
          <p:spPr>
            <a:xfrm>
              <a:off x="6315137" y="17191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Стрелка: шеврон 12">
              <a:extLst>
                <a:ext uri="{FF2B5EF4-FFF2-40B4-BE49-F238E27FC236}">
                  <a16:creationId xmlns:a16="http://schemas.microsoft.com/office/drawing/2014/main" id="{D016D6FF-4BAA-4084-2575-CAB61A5EB904}"/>
                </a:ext>
              </a:extLst>
            </p:cNvPr>
            <p:cNvSpPr/>
            <p:nvPr/>
          </p:nvSpPr>
          <p:spPr>
            <a:xfrm>
              <a:off x="6685982" y="17191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Стрелка: шеврон 13">
              <a:extLst>
                <a:ext uri="{FF2B5EF4-FFF2-40B4-BE49-F238E27FC236}">
                  <a16:creationId xmlns:a16="http://schemas.microsoft.com/office/drawing/2014/main" id="{F78BD0CE-0B17-F20F-D6C2-471B11031BBE}"/>
                </a:ext>
              </a:extLst>
            </p:cNvPr>
            <p:cNvSpPr/>
            <p:nvPr/>
          </p:nvSpPr>
          <p:spPr>
            <a:xfrm>
              <a:off x="7056827" y="17191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Стрелка: шеврон 14">
              <a:extLst>
                <a:ext uri="{FF2B5EF4-FFF2-40B4-BE49-F238E27FC236}">
                  <a16:creationId xmlns:a16="http://schemas.microsoft.com/office/drawing/2014/main" id="{4E2E6090-B87A-F213-DF35-2579236CA49D}"/>
                </a:ext>
              </a:extLst>
            </p:cNvPr>
            <p:cNvSpPr/>
            <p:nvPr/>
          </p:nvSpPr>
          <p:spPr>
            <a:xfrm>
              <a:off x="7417185" y="1719197"/>
              <a:ext cx="484569" cy="484744"/>
            </a:xfrm>
            <a:prstGeom prst="chevron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Стрелка: шеврон 15">
              <a:extLst>
                <a:ext uri="{FF2B5EF4-FFF2-40B4-BE49-F238E27FC236}">
                  <a16:creationId xmlns:a16="http://schemas.microsoft.com/office/drawing/2014/main" id="{5E97A707-B0C9-57EE-3E30-BB14E5065D2E}"/>
                </a:ext>
              </a:extLst>
            </p:cNvPr>
            <p:cNvSpPr/>
            <p:nvPr/>
          </p:nvSpPr>
          <p:spPr>
            <a:xfrm>
              <a:off x="7785193" y="171031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Стрелка: шеврон 16">
              <a:extLst>
                <a:ext uri="{FF2B5EF4-FFF2-40B4-BE49-F238E27FC236}">
                  <a16:creationId xmlns:a16="http://schemas.microsoft.com/office/drawing/2014/main" id="{9F478C64-CA25-A940-86B8-C25909033890}"/>
                </a:ext>
              </a:extLst>
            </p:cNvPr>
            <p:cNvSpPr/>
            <p:nvPr/>
          </p:nvSpPr>
          <p:spPr>
            <a:xfrm>
              <a:off x="8134765" y="17117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Стрелка: шеврон 17">
              <a:extLst>
                <a:ext uri="{FF2B5EF4-FFF2-40B4-BE49-F238E27FC236}">
                  <a16:creationId xmlns:a16="http://schemas.microsoft.com/office/drawing/2014/main" id="{2336C633-ABE9-9476-78CE-1DB546F4716F}"/>
                </a:ext>
              </a:extLst>
            </p:cNvPr>
            <p:cNvSpPr/>
            <p:nvPr/>
          </p:nvSpPr>
          <p:spPr>
            <a:xfrm>
              <a:off x="8484338" y="172215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Стрелка: шеврон 18">
              <a:extLst>
                <a:ext uri="{FF2B5EF4-FFF2-40B4-BE49-F238E27FC236}">
                  <a16:creationId xmlns:a16="http://schemas.microsoft.com/office/drawing/2014/main" id="{EAF1F4F7-0231-2BC4-ECA4-407E6FFDF934}"/>
                </a:ext>
              </a:extLst>
            </p:cNvPr>
            <p:cNvSpPr/>
            <p:nvPr/>
          </p:nvSpPr>
          <p:spPr>
            <a:xfrm>
              <a:off x="8812103" y="172397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Стрелка: шеврон 19">
              <a:extLst>
                <a:ext uri="{FF2B5EF4-FFF2-40B4-BE49-F238E27FC236}">
                  <a16:creationId xmlns:a16="http://schemas.microsoft.com/office/drawing/2014/main" id="{B98685A0-36DC-95AD-49BE-238B71302879}"/>
                </a:ext>
              </a:extLst>
            </p:cNvPr>
            <p:cNvSpPr/>
            <p:nvPr/>
          </p:nvSpPr>
          <p:spPr>
            <a:xfrm>
              <a:off x="9166314" y="1725797"/>
              <a:ext cx="484569" cy="484744"/>
            </a:xfrm>
            <a:prstGeom prst="chevron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Стрелка: шеврон 20">
              <a:extLst>
                <a:ext uri="{FF2B5EF4-FFF2-40B4-BE49-F238E27FC236}">
                  <a16:creationId xmlns:a16="http://schemas.microsoft.com/office/drawing/2014/main" id="{952CE398-7A66-6318-5707-D99652BB3CB8}"/>
                </a:ext>
              </a:extLst>
            </p:cNvPr>
            <p:cNvSpPr/>
            <p:nvPr/>
          </p:nvSpPr>
          <p:spPr>
            <a:xfrm>
              <a:off x="9551491" y="17257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Стрелка: шеврон 21">
              <a:extLst>
                <a:ext uri="{FF2B5EF4-FFF2-40B4-BE49-F238E27FC236}">
                  <a16:creationId xmlns:a16="http://schemas.microsoft.com/office/drawing/2014/main" id="{3C304470-95B0-AFF3-8F1B-DAA192A4260A}"/>
                </a:ext>
              </a:extLst>
            </p:cNvPr>
            <p:cNvSpPr/>
            <p:nvPr/>
          </p:nvSpPr>
          <p:spPr>
            <a:xfrm>
              <a:off x="9914151" y="17257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Стрелка: шеврон 22">
              <a:extLst>
                <a:ext uri="{FF2B5EF4-FFF2-40B4-BE49-F238E27FC236}">
                  <a16:creationId xmlns:a16="http://schemas.microsoft.com/office/drawing/2014/main" id="{435B2D5A-6904-8A47-1639-08F02D4652F3}"/>
                </a:ext>
              </a:extLst>
            </p:cNvPr>
            <p:cNvSpPr/>
            <p:nvPr/>
          </p:nvSpPr>
          <p:spPr>
            <a:xfrm>
              <a:off x="10319001" y="17257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Стрелка: шеврон 23">
              <a:extLst>
                <a:ext uri="{FF2B5EF4-FFF2-40B4-BE49-F238E27FC236}">
                  <a16:creationId xmlns:a16="http://schemas.microsoft.com/office/drawing/2014/main" id="{DEE1E242-B476-B66B-8B0B-40B7E80B9B86}"/>
                </a:ext>
              </a:extLst>
            </p:cNvPr>
            <p:cNvSpPr/>
            <p:nvPr/>
          </p:nvSpPr>
          <p:spPr>
            <a:xfrm>
              <a:off x="10679359" y="1719197"/>
              <a:ext cx="484569" cy="484744"/>
            </a:xfrm>
            <a:prstGeom prst="chevron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9" name="TextBox 78">
            <a:extLst>
              <a:ext uri="{FF2B5EF4-FFF2-40B4-BE49-F238E27FC236}">
                <a16:creationId xmlns:a16="http://schemas.microsoft.com/office/drawing/2014/main" id="{EA42E5DA-AAC0-A650-55D7-ACBE67BC6691}"/>
              </a:ext>
            </a:extLst>
          </p:cNvPr>
          <p:cNvSpPr txBox="1"/>
          <p:nvPr/>
        </p:nvSpPr>
        <p:spPr>
          <a:xfrm>
            <a:off x="669221" y="794410"/>
            <a:ext cx="2320297" cy="623237"/>
          </a:xfrm>
          <a:prstGeom prst="rect">
            <a:avLst/>
          </a:prstGeom>
          <a:noFill/>
        </p:spPr>
        <p:txBody>
          <a:bodyPr wrap="square" lIns="68571" tIns="34285" rIns="68571" bIns="34285" rtlCol="0">
            <a:spAutoFit/>
          </a:bodyPr>
          <a:lstStyle/>
          <a:p>
            <a:pPr algn="ctr"/>
            <a:r>
              <a:rPr lang="kk-KZ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 және реконструкциялау</a:t>
            </a:r>
          </a:p>
        </p:txBody>
      </p: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B771B3EB-74C8-D981-2EF0-721323498896}"/>
              </a:ext>
            </a:extLst>
          </p:cNvPr>
          <p:cNvCxnSpPr/>
          <p:nvPr/>
        </p:nvCxnSpPr>
        <p:spPr>
          <a:xfrm>
            <a:off x="4150162" y="583524"/>
            <a:ext cx="0" cy="816750"/>
          </a:xfrm>
          <a:prstGeom prst="line">
            <a:avLst/>
          </a:prstGeom>
          <a:ln w="57150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66C552E3-2B8C-14EB-9126-4AF6F2FBB78E}"/>
              </a:ext>
            </a:extLst>
          </p:cNvPr>
          <p:cNvSpPr txBox="1"/>
          <p:nvPr/>
        </p:nvSpPr>
        <p:spPr>
          <a:xfrm>
            <a:off x="3089624" y="1512179"/>
            <a:ext cx="266722" cy="34623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r>
              <a:rPr lang="kk-KZ" dirty="0">
                <a:solidFill>
                  <a:srgbClr val="000066"/>
                </a:solidFill>
                <a:latin typeface="Arial" pitchFamily="34" charset="0"/>
                <a:cs typeface="Arial" pitchFamily="34" charset="0"/>
              </a:rPr>
              <a:t>0</a:t>
            </a:r>
            <a:endParaRPr lang="ru-RU" dirty="0">
              <a:solidFill>
                <a:srgbClr val="0000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6F463633-1B25-46AC-E8E9-ED5F0E3047D9}"/>
              </a:ext>
            </a:extLst>
          </p:cNvPr>
          <p:cNvSpPr txBox="1"/>
          <p:nvPr/>
        </p:nvSpPr>
        <p:spPr>
          <a:xfrm>
            <a:off x="5034093" y="1502244"/>
            <a:ext cx="266722" cy="34623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r>
              <a:rPr lang="kk-KZ" dirty="0">
                <a:solidFill>
                  <a:srgbClr val="000066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dirty="0">
              <a:solidFill>
                <a:srgbClr val="0000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9C2BFE80-AD6F-B896-9A90-D08B6CC0A6EC}"/>
              </a:ext>
            </a:extLst>
          </p:cNvPr>
          <p:cNvSpPr txBox="1"/>
          <p:nvPr/>
        </p:nvSpPr>
        <p:spPr>
          <a:xfrm>
            <a:off x="7345390" y="1502244"/>
            <a:ext cx="394962" cy="34623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r>
              <a:rPr lang="kk-KZ" dirty="0">
                <a:solidFill>
                  <a:srgbClr val="000066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dirty="0">
              <a:solidFill>
                <a:srgbClr val="0000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0693DD51-418E-E348-C44F-F39393D0F412}"/>
              </a:ext>
            </a:extLst>
          </p:cNvPr>
          <p:cNvSpPr txBox="1"/>
          <p:nvPr/>
        </p:nvSpPr>
        <p:spPr>
          <a:xfrm>
            <a:off x="1115616" y="1456843"/>
            <a:ext cx="1699550" cy="34623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r>
              <a:rPr lang="kk-KZ" dirty="0">
                <a:solidFill>
                  <a:srgbClr val="000066"/>
                </a:solidFill>
                <a:latin typeface="Arial" pitchFamily="34" charset="0"/>
                <a:cs typeface="Arial" pitchFamily="34" charset="0"/>
              </a:rPr>
              <a:t>кезең, жылдар</a:t>
            </a:r>
            <a:endParaRPr lang="ru-RU" dirty="0">
              <a:solidFill>
                <a:srgbClr val="00006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4CB6833-212C-05B6-2D74-D1275C181DA7}"/>
              </a:ext>
            </a:extLst>
          </p:cNvPr>
          <p:cNvSpPr txBox="1"/>
          <p:nvPr/>
        </p:nvSpPr>
        <p:spPr>
          <a:xfrm>
            <a:off x="6249494" y="1501095"/>
            <a:ext cx="266722" cy="34623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r>
              <a:rPr lang="kk-KZ" dirty="0">
                <a:solidFill>
                  <a:srgbClr val="000066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dirty="0">
              <a:solidFill>
                <a:srgbClr val="00006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3" name="Прямая со стрелкой 92">
            <a:extLst>
              <a:ext uri="{FF2B5EF4-FFF2-40B4-BE49-F238E27FC236}">
                <a16:creationId xmlns:a16="http://schemas.microsoft.com/office/drawing/2014/main" id="{8124FD57-C4EE-EC8A-C472-7520C25B5A9E}"/>
              </a:ext>
            </a:extLst>
          </p:cNvPr>
          <p:cNvCxnSpPr>
            <a:cxnSpLocks/>
          </p:cNvCxnSpPr>
          <p:nvPr/>
        </p:nvCxnSpPr>
        <p:spPr>
          <a:xfrm>
            <a:off x="6167785" y="905758"/>
            <a:ext cx="250867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>
            <a:extLst>
              <a:ext uri="{FF2B5EF4-FFF2-40B4-BE49-F238E27FC236}">
                <a16:creationId xmlns:a16="http://schemas.microsoft.com/office/drawing/2014/main" id="{F6CF20A0-4626-97FC-CEC9-E432063A0EF0}"/>
              </a:ext>
            </a:extLst>
          </p:cNvPr>
          <p:cNvCxnSpPr>
            <a:cxnSpLocks/>
          </p:cNvCxnSpPr>
          <p:nvPr/>
        </p:nvCxnSpPr>
        <p:spPr>
          <a:xfrm flipH="1">
            <a:off x="4319585" y="905757"/>
            <a:ext cx="1858917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6B483005-1F83-AA48-165E-CF329F36E792}"/>
              </a:ext>
            </a:extLst>
          </p:cNvPr>
          <p:cNvCxnSpPr>
            <a:cxnSpLocks/>
          </p:cNvCxnSpPr>
          <p:nvPr/>
        </p:nvCxnSpPr>
        <p:spPr>
          <a:xfrm>
            <a:off x="100251" y="1795257"/>
            <a:ext cx="8943497" cy="0"/>
          </a:xfrm>
          <a:prstGeom prst="line">
            <a:avLst/>
          </a:prstGeom>
          <a:ln w="19050">
            <a:solidFill>
              <a:schemeClr val="accent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extBox 103">
            <a:extLst>
              <a:ext uri="{FF2B5EF4-FFF2-40B4-BE49-F238E27FC236}">
                <a16:creationId xmlns:a16="http://schemas.microsoft.com/office/drawing/2014/main" id="{44A3C64C-90A4-F45E-60EA-10159DA9EE1A}"/>
              </a:ext>
            </a:extLst>
          </p:cNvPr>
          <p:cNvSpPr txBox="1"/>
          <p:nvPr/>
        </p:nvSpPr>
        <p:spPr>
          <a:xfrm>
            <a:off x="1175715" y="4017580"/>
            <a:ext cx="8152241" cy="1146458"/>
          </a:xfrm>
          <a:prstGeom prst="rect">
            <a:avLst/>
          </a:prstGeom>
          <a:noFill/>
        </p:spPr>
        <p:txBody>
          <a:bodyPr wrap="square" lIns="68571" tIns="34285" rIns="68571" bIns="34285" rtlCol="0">
            <a:spAutoFit/>
          </a:bodyPr>
          <a:lstStyle/>
          <a:p>
            <a:pPr marL="257175" indent="-257175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дың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та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і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57175" indent="-257175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лы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57175" indent="-257175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57175" indent="-257175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дігердің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ктікті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арды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ғ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ге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ығушылығы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2195BB25-41FF-6BBF-C763-5B98F248E188}"/>
              </a:ext>
            </a:extLst>
          </p:cNvPr>
          <p:cNvSpPr txBox="1"/>
          <p:nvPr/>
        </p:nvSpPr>
        <p:spPr>
          <a:xfrm>
            <a:off x="5662527" y="744439"/>
            <a:ext cx="2495217" cy="253906"/>
          </a:xfrm>
          <a:prstGeom prst="rect">
            <a:avLst/>
          </a:prstGeom>
          <a:solidFill>
            <a:schemeClr val="bg1"/>
          </a:solidFill>
        </p:spPr>
        <p:txBody>
          <a:bodyPr wrap="none" lIns="68571" tIns="34285" rIns="68571" bIns="34285" rtlCol="0">
            <a:spAutoFit/>
          </a:bodyPr>
          <a:lstStyle/>
          <a:p>
            <a:r>
              <a:rPr lang="kk-KZ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ық кезеңге арналған мазмұн</a:t>
            </a:r>
            <a:endParaRPr lang="ru-RU" sz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ятиугольник 38">
            <a:extLst>
              <a:ext uri="{FF2B5EF4-FFF2-40B4-BE49-F238E27FC236}">
                <a16:creationId xmlns:a16="http://schemas.microsoft.com/office/drawing/2014/main" id="{255DED5E-FBFD-40A8-ADD3-170891489B47}"/>
              </a:ext>
            </a:extLst>
          </p:cNvPr>
          <p:cNvSpPr/>
          <p:nvPr/>
        </p:nvSpPr>
        <p:spPr>
          <a:xfrm>
            <a:off x="204616" y="2295937"/>
            <a:ext cx="8968672" cy="1626370"/>
          </a:xfrm>
          <a:prstGeom prst="homePlate">
            <a:avLst>
              <a:gd name="adj" fmla="val 28183"/>
            </a:avLst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26996" tIns="0" rIns="26996" bIns="26996" spcCol="0" rtlCol="0" anchor="ctr">
            <a:noAutofit/>
          </a:bodyPr>
          <a:lstStyle/>
          <a:p>
            <a:pPr marL="257175" indent="-257175">
              <a:buFont typeface="+mj-lt"/>
              <a:buAutoNum type="arabicPeriod"/>
            </a:pP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ЭН мен ЖСҚ-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бай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лендірілге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р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ме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курс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қ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крипциясыз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аптам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;</a:t>
            </a: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мбаттау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і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дігерге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теледі</a:t>
            </a:r>
            <a:endParaRPr lang="ru-RU" sz="1400" dirty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ын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Б-мен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endParaRPr lang="ru-RU" sz="1400" dirty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buFont typeface="+mj-lt"/>
              <a:buAutoNum type="arabicPeriod"/>
            </a:pP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тіп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тауға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(10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0617" y="1968190"/>
            <a:ext cx="8923870" cy="315461"/>
          </a:xfrm>
          <a:prstGeom prst="rect">
            <a:avLst/>
          </a:prstGeom>
        </p:spPr>
        <p:txBody>
          <a:bodyPr wrap="square" lIns="68571" tIns="34285" rIns="68571" bIns="34285">
            <a:spAutoFit/>
          </a:bodyPr>
          <a:lstStyle/>
          <a:p>
            <a:pPr algn="ctr"/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084198CA-9F22-8D0E-78F1-7C9607933B71}"/>
              </a:ext>
            </a:extLst>
          </p:cNvPr>
          <p:cNvSpPr txBox="1"/>
          <p:nvPr/>
        </p:nvSpPr>
        <p:spPr>
          <a:xfrm>
            <a:off x="4272728" y="411510"/>
            <a:ext cx="1785791" cy="469349"/>
          </a:xfrm>
          <a:prstGeom prst="rect">
            <a:avLst/>
          </a:prstGeom>
          <a:noFill/>
        </p:spPr>
        <p:txBody>
          <a:bodyPr wrap="none" lIns="68571" tIns="34285" rIns="68571" bIns="34285" rtlCol="0">
            <a:spAutoFit/>
          </a:bodyPr>
          <a:lstStyle/>
          <a:p>
            <a:pPr algn="ctr"/>
            <a:r>
              <a:rPr lang="kk-KZ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 жөндеу</a:t>
            </a:r>
          </a:p>
          <a:p>
            <a:pPr algn="ctr"/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қажет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i="1" dirty="0" err="1">
                <a:latin typeface="Arial" panose="020B0604020202020204" pitchFamily="34" charset="0"/>
                <a:cs typeface="Arial" panose="020B0604020202020204" pitchFamily="34" charset="0"/>
              </a:rPr>
              <a:t>болса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5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68481" y="4932981"/>
            <a:ext cx="2057797" cy="27335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kk-KZ" sz="1100" dirty="0"/>
              <a:t>17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779871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5">
            <a:extLst>
              <a:ext uri="{FF2B5EF4-FFF2-40B4-BE49-F238E27FC236}">
                <a16:creationId xmlns:a16="http://schemas.microsoft.com/office/drawing/2014/main" id="{1B84314B-01F8-4B49-4790-4E26F49516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-979" y="-10401"/>
            <a:ext cx="9144000" cy="346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562" tIns="34281" rIns="68562" bIns="34281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b="1" cap="all" dirty="0">
                <a:ln w="3175" cmpd="sng">
                  <a:noFill/>
                </a:ln>
                <a:solidFill>
                  <a:srgbClr val="002060"/>
                </a:soli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</a:effectLst>
                <a:latin typeface="Arial"/>
                <a:ea typeface="+mj-ea"/>
                <a:cs typeface="Arial"/>
              </a:rPr>
              <a:t> </a:t>
            </a:r>
            <a:r>
              <a:rPr lang="ru-RU" altLang="ru-RU" b="1" dirty="0">
                <a:solidFill>
                  <a:srgbClr val="1F497D">
                    <a:lumMod val="75000"/>
                  </a:srgbClr>
                </a:solidFill>
                <a:latin typeface="Arial" pitchFamily="34" charset="0"/>
              </a:rPr>
              <a:t>ЗАҢНАМАҒА ҚАЖЕТТІ ТҮЗЕТУЛЕР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9FF4D76C-DC25-4F97-AF3E-08C7F8F94142}"/>
              </a:ext>
            </a:extLst>
          </p:cNvPr>
          <p:cNvCxnSpPr>
            <a:cxnSpLocks/>
          </p:cNvCxnSpPr>
          <p:nvPr/>
        </p:nvCxnSpPr>
        <p:spPr>
          <a:xfrm>
            <a:off x="0" y="313038"/>
            <a:ext cx="9144000" cy="0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ADB76523-A324-4D86-B912-AA514840DC09}"/>
              </a:ext>
            </a:extLst>
          </p:cNvPr>
          <p:cNvSpPr/>
          <p:nvPr/>
        </p:nvSpPr>
        <p:spPr>
          <a:xfrm>
            <a:off x="161948" y="573990"/>
            <a:ext cx="2573609" cy="1970544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lIns="87768" tIns="43883" rIns="87768" bIns="43883" spcCol="0" rtlCol="0" anchor="ctr"/>
          <a:lstStyle/>
          <a:p>
            <a:pPr algn="ctr" defTabSz="782155"/>
            <a:endParaRPr lang="x-none" sz="1300" kern="0">
              <a:solidFill>
                <a:srgbClr val="2E2E38"/>
              </a:solidFill>
              <a:latin typeface="Arial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0EA47140-BAEF-4DB1-9E10-60E9823BD374}"/>
              </a:ext>
            </a:extLst>
          </p:cNvPr>
          <p:cNvSpPr/>
          <p:nvPr/>
        </p:nvSpPr>
        <p:spPr>
          <a:xfrm>
            <a:off x="629048" y="445101"/>
            <a:ext cx="1674404" cy="838681"/>
          </a:xfrm>
          <a:prstGeom prst="rect">
            <a:avLst/>
          </a:prstGeom>
          <a:solidFill>
            <a:schemeClr val="bg1"/>
          </a:solidFill>
        </p:spPr>
        <p:txBody>
          <a:bodyPr wrap="square" lIns="68571" tIns="34285" rIns="68571" bIns="34285">
            <a:spAutoFit/>
          </a:bodyPr>
          <a:lstStyle/>
          <a:p>
            <a:pPr algn="ctr" defTabSz="782155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82155"/>
            <a:r>
              <a:rPr lang="ru-RU" sz="3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Объект 2">
            <a:extLst>
              <a:ext uri="{FF2B5EF4-FFF2-40B4-BE49-F238E27FC236}">
                <a16:creationId xmlns:a16="http://schemas.microsoft.com/office/drawing/2014/main" id="{C87CC805-EFCE-4553-B665-6CF217118197}"/>
              </a:ext>
            </a:extLst>
          </p:cNvPr>
          <p:cNvSpPr txBox="1">
            <a:spLocks/>
          </p:cNvSpPr>
          <p:nvPr/>
        </p:nvSpPr>
        <p:spPr>
          <a:xfrm>
            <a:off x="180973" y="2931790"/>
            <a:ext cx="8782053" cy="1872208"/>
          </a:xfrm>
          <a:prstGeom prst="rect">
            <a:avLst/>
          </a:prstGeom>
          <a:ln>
            <a:solidFill>
              <a:srgbClr val="000066"/>
            </a:solidFill>
            <a:prstDash val="lgDash"/>
          </a:ln>
        </p:spPr>
        <p:txBody>
          <a:bodyPr lIns="68571" tIns="34285" rIns="68571" bIns="34285">
            <a:noAutofit/>
          </a:bodyPr>
          <a:lstStyle/>
          <a:p>
            <a:pPr marL="2835">
              <a:spcBef>
                <a:spcPts val="536"/>
              </a:spcBef>
              <a:buClr>
                <a:schemeClr val="accent1"/>
              </a:buClr>
              <a:buSzPct val="80000"/>
              <a:defRPr/>
            </a:pPr>
            <a:r>
              <a:rPr 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itchFamily="34" charset="0"/>
              </a:rPr>
              <a:t>ЗАҢҒА ТӘУЕЛДІ АКТІЛЕРДІ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сәйкестендір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және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әзірлеу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:</a:t>
            </a:r>
            <a:endParaRPr lang="ru-RU" sz="200" b="1" dirty="0">
              <a:solidFill>
                <a:srgbClr val="00B05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547688" indent="-214313" algn="just">
              <a:lnSpc>
                <a:spcPct val="110000"/>
              </a:lnSpc>
              <a:spcBef>
                <a:spcPts val="536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«</a:t>
            </a: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Толық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құрылы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»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жобалары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енгіз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отырып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жә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од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әр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пайдалан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547688" indent="-214313" algn="just">
              <a:lnSpc>
                <a:spcPct val="110000"/>
              </a:lnSpc>
              <a:spcBef>
                <a:spcPts val="536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sz="14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Нысанды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пайдалану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қабылда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тәртібі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547688" indent="-214313" algn="just">
              <a:lnSpc>
                <a:spcPct val="110000"/>
              </a:lnSpc>
              <a:spcBef>
                <a:spcPts val="536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FIDIC</a:t>
            </a:r>
            <a:r>
              <a:rPr lang="kk-KZ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»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қолдану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 marL="547688" indent="-214313" algn="just">
              <a:lnSpc>
                <a:spcPct val="110000"/>
              </a:lnSpc>
              <a:spcBef>
                <a:spcPts val="536"/>
              </a:spcBef>
              <a:buClr>
                <a:schemeClr val="accent1"/>
              </a:buClr>
              <a:buSzPct val="80000"/>
              <a:buFont typeface="Wingdings" panose="05000000000000000000" pitchFamily="2" charset="2"/>
              <a:buChar char="ü"/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Қалал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мен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елд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мекендерді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жолдарын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көшелерін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ведомство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сараптамад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өт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тәртібі</a:t>
            </a:r>
            <a:endParaRPr lang="ru-RU" sz="1500" b="1" dirty="0">
              <a:solidFill>
                <a:srgbClr val="00206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2" name="Содержимое 2">
            <a:extLst>
              <a:ext uri="{FF2B5EF4-FFF2-40B4-BE49-F238E27FC236}">
                <a16:creationId xmlns:a16="http://schemas.microsoft.com/office/drawing/2014/main" id="{F203DD38-1521-4C3F-9EDB-328340AE8395}"/>
              </a:ext>
            </a:extLst>
          </p:cNvPr>
          <p:cNvSpPr txBox="1">
            <a:spLocks/>
          </p:cNvSpPr>
          <p:nvPr/>
        </p:nvSpPr>
        <p:spPr bwMode="auto">
          <a:xfrm>
            <a:off x="412996" y="1202546"/>
            <a:ext cx="2106508" cy="112854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81627" tIns="40813" rIns="81627" bIns="40813" numCol="1" rtlCol="0" anchor="t" anchorCtr="0" compatLnSpc="1">
            <a:prstTxWarp prst="textNoShape">
              <a:avLst/>
            </a:prstTxWarp>
            <a:spAutoFit/>
          </a:bodyPr>
          <a:lstStyle>
            <a:lvl1pPr marL="408188" indent="-408188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4408" indent="-340157" algn="l" defTabSz="108850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60627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04878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9129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380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631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1882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132" indent="-272125" algn="l" defTabSz="108850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30000"/>
              </a:lnSpc>
              <a:buNone/>
            </a:pP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ық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30000"/>
              </a:lnSpc>
              <a:buNone/>
            </a:pP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ік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30000"/>
              </a:lnSpc>
              <a:buNone/>
            </a:pP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ман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130000"/>
              </a:lnSpc>
              <a:buNone/>
            </a:pP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: скругленные углы 2">
            <a:extLst>
              <a:ext uri="{FF2B5EF4-FFF2-40B4-BE49-F238E27FC236}">
                <a16:creationId xmlns:a16="http://schemas.microsoft.com/office/drawing/2014/main" id="{ADB76523-A324-4D86-B912-AA514840DC09}"/>
              </a:ext>
            </a:extLst>
          </p:cNvPr>
          <p:cNvSpPr/>
          <p:nvPr/>
        </p:nvSpPr>
        <p:spPr>
          <a:xfrm>
            <a:off x="2897596" y="573990"/>
            <a:ext cx="3510847" cy="1970544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lIns="87768" tIns="43883" rIns="87768" bIns="43883" spcCol="0" rtlCol="0" anchor="ctr"/>
          <a:lstStyle/>
          <a:p>
            <a:pPr algn="ctr" defTabSz="782155"/>
            <a:endParaRPr lang="x-none" sz="1300" kern="0">
              <a:solidFill>
                <a:srgbClr val="2E2E38"/>
              </a:solidFill>
              <a:latin typeface="Arial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4C90741-2B1E-4AD2-AAB6-B723599570BC}"/>
              </a:ext>
            </a:extLst>
          </p:cNvPr>
          <p:cNvSpPr/>
          <p:nvPr/>
        </p:nvSpPr>
        <p:spPr>
          <a:xfrm>
            <a:off x="3869830" y="411804"/>
            <a:ext cx="1566378" cy="838681"/>
          </a:xfrm>
          <a:prstGeom prst="rect">
            <a:avLst/>
          </a:prstGeom>
          <a:solidFill>
            <a:schemeClr val="bg1"/>
          </a:solidFill>
        </p:spPr>
        <p:txBody>
          <a:bodyPr wrap="square" lIns="68571" tIns="34285" rIns="68571" bIns="34285">
            <a:spAutoFit/>
          </a:bodyPr>
          <a:lstStyle/>
          <a:p>
            <a:pPr algn="ctr" defTabSz="782155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782155"/>
            <a:r>
              <a:rPr lang="ru-RU" sz="3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: скругленные углы 2">
            <a:extLst>
              <a:ext uri="{FF2B5EF4-FFF2-40B4-BE49-F238E27FC236}">
                <a16:creationId xmlns:a16="http://schemas.microsoft.com/office/drawing/2014/main" id="{ADB76523-A324-4D86-B912-AA514840DC09}"/>
              </a:ext>
            </a:extLst>
          </p:cNvPr>
          <p:cNvSpPr/>
          <p:nvPr/>
        </p:nvSpPr>
        <p:spPr>
          <a:xfrm>
            <a:off x="6541150" y="573990"/>
            <a:ext cx="2402850" cy="1970544"/>
          </a:xfrm>
          <a:prstGeom prst="rect">
            <a:avLst/>
          </a:prstGeom>
          <a:noFill/>
          <a:ln w="19050" cap="flat" cmpd="sng" algn="ctr">
            <a:solidFill>
              <a:schemeClr val="tx2"/>
            </a:solidFill>
            <a:prstDash val="solid"/>
          </a:ln>
          <a:effectLst/>
        </p:spPr>
        <p:txBody>
          <a:bodyPr lIns="87768" tIns="43883" rIns="87768" bIns="43883" spcCol="0" rtlCol="0" anchor="ctr"/>
          <a:lstStyle/>
          <a:p>
            <a:pPr algn="ctr" defTabSz="782155"/>
            <a:endParaRPr lang="x-none" sz="1300" kern="0">
              <a:solidFill>
                <a:srgbClr val="2E2E38"/>
              </a:solidFill>
              <a:latin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409258" y="1005939"/>
            <a:ext cx="780604" cy="761571"/>
          </a:xfrm>
          <a:prstGeom prst="rect">
            <a:avLst/>
          </a:prstGeom>
        </p:spPr>
        <p:txBody>
          <a:bodyPr wrap="none" lIns="68571" tIns="34285" rIns="68571" bIns="34285">
            <a:spAutoFit/>
          </a:bodyPr>
          <a:lstStyle/>
          <a:p>
            <a:pPr algn="ctr" defTabSz="782155"/>
            <a:r>
              <a:rPr lang="ru-RU" sz="4500" b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</a:t>
            </a:r>
            <a:endParaRPr lang="ru-RU" sz="45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3C6CA954-EA69-424E-AB5E-DF6456284F94}"/>
              </a:ext>
            </a:extLst>
          </p:cNvPr>
          <p:cNvSpPr/>
          <p:nvPr/>
        </p:nvSpPr>
        <p:spPr>
          <a:xfrm>
            <a:off x="7002586" y="412010"/>
            <a:ext cx="1551152" cy="284683"/>
          </a:xfrm>
          <a:prstGeom prst="rect">
            <a:avLst/>
          </a:prstGeom>
          <a:solidFill>
            <a:schemeClr val="bg1"/>
          </a:solidFill>
        </p:spPr>
        <p:txBody>
          <a:bodyPr wrap="square" lIns="68571" tIns="34285" rIns="68571" bIns="34285">
            <a:spAutoFit/>
          </a:bodyPr>
          <a:lstStyle/>
          <a:p>
            <a:pPr algn="ctr" defTabSz="782155"/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ҚА</a:t>
            </a:r>
          </a:p>
        </p:txBody>
      </p:sp>
      <p:sp>
        <p:nvSpPr>
          <p:cNvPr id="21" name="Содержимое 2">
            <a:extLst>
              <a:ext uri="{FF2B5EF4-FFF2-40B4-BE49-F238E27FC236}">
                <a16:creationId xmlns:a16="http://schemas.microsoft.com/office/drawing/2014/main" id="{DFBD234D-7592-460C-A9F2-7BEEEA9BE792}"/>
              </a:ext>
            </a:extLst>
          </p:cNvPr>
          <p:cNvSpPr>
            <a:spLocks noGrp="1"/>
          </p:cNvSpPr>
          <p:nvPr>
            <p:ph sz="quarter" idx="1"/>
          </p:nvPr>
        </p:nvSpPr>
        <p:spPr bwMode="auto">
          <a:xfrm>
            <a:off x="2897597" y="1059582"/>
            <a:ext cx="3510846" cy="1522817"/>
          </a:xfrm>
          <a:noFill/>
          <a:ln>
            <a:miter lim="800000"/>
            <a:headEnd/>
            <a:tailEnd/>
          </a:ln>
        </p:spPr>
        <p:txBody>
          <a:bodyPr vert="horz" wrap="square" lIns="81627" tIns="40813" rIns="81627" bIns="40813" numCol="1" anchor="t" anchorCtr="0" compatLnSpc="1">
            <a:prstTxWarp prst="textNoShape">
              <a:avLst/>
            </a:prstTxWarp>
            <a:spAutoFit/>
          </a:bodyPr>
          <a:lstStyle/>
          <a:p>
            <a:pPr marL="0" indent="0" algn="ctr">
              <a:lnSpc>
                <a:spcPct val="130000"/>
              </a:lnSpc>
              <a:spcBef>
                <a:spcPts val="0"/>
              </a:spcBef>
              <a:buNone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улет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  <a:p>
            <a:pPr marL="0" indent="0" algn="ctr">
              <a:lnSpc>
                <a:spcPct val="130000"/>
              </a:lnSpc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ь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ы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байлас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мқорлыққа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сы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  <a:p>
            <a:pPr marL="0" indent="0" algn="ctr">
              <a:lnSpc>
                <a:spcPct val="130000"/>
              </a:lnSpc>
              <a:spcBef>
                <a:spcPts val="0"/>
              </a:spcBef>
              <a:buNone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тар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лар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7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kk-KZ" dirty="0">
                <a:solidFill>
                  <a:schemeClr val="tx1"/>
                </a:solidFill>
              </a:rPr>
              <a:t>18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82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351"/>
          <p:cNvSpPr>
            <a:spLocks noChangeArrowheads="1"/>
          </p:cNvSpPr>
          <p:nvPr/>
        </p:nvSpPr>
        <p:spPr bwMode="auto">
          <a:xfrm>
            <a:off x="107504" y="286971"/>
            <a:ext cx="9684569" cy="628595"/>
          </a:xfrm>
          <a:prstGeom prst="rect">
            <a:avLst/>
          </a:prstGeom>
          <a:noFill/>
          <a:ln>
            <a:noFill/>
          </a:ln>
        </p:spPr>
        <p:txBody>
          <a:bodyPr wrap="square" lIns="91114" tIns="45542" rIns="91114" bIns="45542" anchor="ctr">
            <a:spAutoFit/>
          </a:bodyPr>
          <a:lstStyle/>
          <a:p>
            <a:pPr defTabSz="97957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kk-KZ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пыға ортақ қолданыстағы жолдардың жалпы қашықтығы </a:t>
            </a:r>
            <a:r>
              <a:rPr lang="ru-RU" sz="32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96 </a:t>
            </a:r>
            <a:r>
              <a:rPr lang="ru-RU" sz="2000" b="1" dirty="0" err="1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sz="20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. км</a:t>
            </a:r>
            <a:endParaRPr lang="ru-RU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6" name="Объект 45" hidden="1">
            <a:extLst>
              <a:ext uri="{FF2B5EF4-FFF2-40B4-BE49-F238E27FC236}">
                <a16:creationId xmlns:a16="http://schemas.microsoft.com/office/drawing/2014/main" id="{97ECBB8F-5A2A-443A-8626-793AB1BA91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3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8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Прямоугольник 44" hidden="1">
            <a:extLst>
              <a:ext uri="{FF2B5EF4-FFF2-40B4-BE49-F238E27FC236}">
                <a16:creationId xmlns:a16="http://schemas.microsoft.com/office/drawing/2014/main" id="{31552F2F-23F3-406F-8E09-BAA6C2EC27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24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3602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300" b="1" dirty="0" err="1">
              <a:solidFill>
                <a:srgbClr val="1B1E2D"/>
              </a:solidFill>
              <a:latin typeface="Arial Narrow" panose="020B0604020202020204" pitchFamily="34" charset="0"/>
              <a:sym typeface="Arial Narrow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1D1AACF-8079-4895-AF72-281C9C5E8B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67" y="-20538"/>
            <a:ext cx="8897937" cy="355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03" tIns="38848" rIns="77703" bIns="388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b="1" dirty="0">
                <a:solidFill>
                  <a:srgbClr val="002060"/>
                </a:solidFill>
                <a:cs typeface="Arial" charset="0"/>
              </a:rPr>
              <a:t>АВТОМОБИЛЬ ЖОЛДАРЫ САЛАСЫНЫҢ МІНДЕТТЕРІ</a:t>
            </a:r>
          </a:p>
        </p:txBody>
      </p:sp>
      <p:pic>
        <p:nvPicPr>
          <p:cNvPr id="36" name="Picture 3" descr="C:\Users\akhmetzhanov_z\Desktop\2018\Общая\иконки\Иконки для слайдов\road_work_ahead_256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3319" y="3665946"/>
            <a:ext cx="792088" cy="628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665990" y="2824180"/>
            <a:ext cx="8743948" cy="447906"/>
          </a:xfrm>
          <a:prstGeom prst="rect">
            <a:avLst/>
          </a:prstGeom>
        </p:spPr>
        <p:txBody>
          <a:bodyPr wrap="square" lIns="77817" tIns="38907" rIns="77817" bIns="38907">
            <a:spAutoFit/>
          </a:bodyPr>
          <a:lstStyle/>
          <a:p>
            <a:pPr>
              <a:spcAft>
                <a:spcPts val="511"/>
              </a:spcAft>
              <a:defRPr/>
            </a:pPr>
            <a:r>
              <a:rPr lang="ru-RU" altLang="ru-RU" sz="20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4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100%</a:t>
            </a:r>
            <a:r>
              <a:rPr lang="ru-RU" altLang="ru-RU" sz="20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ормативті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ғдайдағы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елінің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үлесі</a:t>
            </a:r>
            <a:endParaRPr lang="ru-RU" altLang="ru-RU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97965" y="339502"/>
            <a:ext cx="8636043" cy="0"/>
          </a:xfrm>
          <a:prstGeom prst="line">
            <a:avLst/>
          </a:prstGeom>
          <a:ln w="3175">
            <a:solidFill>
              <a:schemeClr val="accent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705215" y="3651870"/>
            <a:ext cx="8482153" cy="447906"/>
          </a:xfrm>
          <a:prstGeom prst="rect">
            <a:avLst/>
          </a:prstGeom>
        </p:spPr>
        <p:txBody>
          <a:bodyPr wrap="square" lIns="77817" tIns="38907" rIns="77817" bIns="38907">
            <a:spAutoFit/>
          </a:bodyPr>
          <a:lstStyle/>
          <a:p>
            <a:pPr marL="720725" indent="-720725">
              <a:spcAft>
                <a:spcPts val="511"/>
              </a:spcAft>
              <a:tabLst>
                <a:tab pos="720725" algn="l"/>
              </a:tabLst>
              <a:defRPr/>
            </a:pP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4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95%</a:t>
            </a:r>
            <a:r>
              <a:rPr lang="ru-RU" altLang="ru-RU" sz="2000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ормативті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ғдайдағы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блыстық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удандық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елінің</a:t>
            </a:r>
            <a:r>
              <a:rPr lang="ru-RU" altLang="ru-RU" sz="2000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2000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үлесі</a:t>
            </a:r>
            <a:endParaRPr lang="ru-RU" altLang="ru-RU" sz="20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Picture 3" descr="C:\Users\akhmetzhanov_z\Desktop\2018\Общая\иконки\Иконки для слайдов\road_work_ahead_256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8" y="2787774"/>
            <a:ext cx="741852" cy="58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351"/>
          <p:cNvSpPr>
            <a:spLocks noChangeArrowheads="1"/>
          </p:cNvSpPr>
          <p:nvPr/>
        </p:nvSpPr>
        <p:spPr bwMode="auto">
          <a:xfrm>
            <a:off x="-216024" y="858818"/>
            <a:ext cx="9468544" cy="393851"/>
          </a:xfrm>
          <a:prstGeom prst="rect">
            <a:avLst/>
          </a:prstGeom>
          <a:noFill/>
          <a:ln>
            <a:noFill/>
          </a:ln>
        </p:spPr>
        <p:txBody>
          <a:bodyPr wrap="square" lIns="91114" tIns="45542" rIns="91114" bIns="45542" anchor="ctr">
            <a:spAutoFit/>
          </a:bodyPr>
          <a:lstStyle/>
          <a:p>
            <a:pPr algn="ctr" defTabSz="979579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kk-KZ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лық желі </a:t>
            </a:r>
            <a:r>
              <a:rPr lang="kk-KZ" b="1" i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5 мың шақырым</a:t>
            </a:r>
            <a:r>
              <a:rPr lang="kk-KZ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жергілікті желі </a:t>
            </a:r>
            <a:r>
              <a:rPr lang="kk-KZ" b="1" i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71 мың шақырым</a:t>
            </a:r>
            <a:endParaRPr lang="ru-RU" b="1" i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D1AACF-8079-4895-AF72-281C9C5E8B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071" y="2105991"/>
            <a:ext cx="8897937" cy="355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703" tIns="38848" rIns="77703" bIns="38848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ru-RU" b="1" dirty="0">
                <a:solidFill>
                  <a:srgbClr val="002060"/>
                </a:solidFill>
                <a:cs typeface="Arial" charset="0"/>
              </a:rPr>
              <a:t>2025 ЖЫЛҒА ДЕЙІНГІ ЖОСПАРЛЫ КӨРСЕТКІШТЕР</a:t>
            </a:r>
          </a:p>
        </p:txBody>
      </p:sp>
      <p:sp>
        <p:nvSpPr>
          <p:cNvPr id="17" name="Номер слайда 3"/>
          <p:cNvSpPr txBox="1">
            <a:spLocks/>
          </p:cNvSpPr>
          <p:nvPr/>
        </p:nvSpPr>
        <p:spPr>
          <a:xfrm>
            <a:off x="7092280" y="4890688"/>
            <a:ext cx="2057797" cy="273350"/>
          </a:xfrm>
          <a:prstGeom prst="rect">
            <a:avLst/>
          </a:prstGeom>
        </p:spPr>
        <p:txBody>
          <a:bodyPr vert="horz" lIns="91336" tIns="45666" rIns="91336" bIns="45666" rtlCol="0" anchor="ctr">
            <a:normAutofit lnSpcReduction="10000"/>
          </a:bodyPr>
          <a:lstStyle>
            <a:defPPr>
              <a:defRPr lang="ru-RU"/>
            </a:defPPr>
            <a:lvl1pPr marL="0" algn="r" defTabSz="913298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626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298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940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6597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225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9857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6511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3165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kk-KZ" dirty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7227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Прямоугольник 149">
            <a:extLst>
              <a:ext uri="{FF2B5EF4-FFF2-40B4-BE49-F238E27FC236}">
                <a16:creationId xmlns:a16="http://schemas.microsoft.com/office/drawing/2014/main" id="{90277198-3183-41AF-9D59-5C396B73A464}"/>
              </a:ext>
            </a:extLst>
          </p:cNvPr>
          <p:cNvSpPr/>
          <p:nvPr/>
        </p:nvSpPr>
        <p:spPr>
          <a:xfrm>
            <a:off x="7" y="21489"/>
            <a:ext cx="9143999" cy="2460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896" tIns="43948" rIns="87896" bIns="43948"/>
          <a:lstStyle/>
          <a:p>
            <a:pPr algn="ctr" defTabSz="878954">
              <a:defRPr/>
            </a:pPr>
            <a:r>
              <a:rPr lang="ru-RU" sz="12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ХАЛЫҚАРАЛЫҚ ЖҮК ТАСЫМАЛДАРЫНА АРНАЛҒАН ТРАНЗИТТІК АВТОМОБИЛЬ ДӘЛІЗДЕРІ</a:t>
            </a:r>
          </a:p>
        </p:txBody>
      </p:sp>
      <p:cxnSp>
        <p:nvCxnSpPr>
          <p:cNvPr id="176" name="Прямая соединительная линия 175">
            <a:extLst>
              <a:ext uri="{FF2B5EF4-FFF2-40B4-BE49-F238E27FC236}">
                <a16:creationId xmlns:a16="http://schemas.microsoft.com/office/drawing/2014/main" id="{A9C3C449-899B-47F0-B9EC-D492EB35D965}"/>
              </a:ext>
            </a:extLst>
          </p:cNvPr>
          <p:cNvCxnSpPr>
            <a:cxnSpLocks/>
          </p:cNvCxnSpPr>
          <p:nvPr/>
        </p:nvCxnSpPr>
        <p:spPr>
          <a:xfrm>
            <a:off x="3" y="310361"/>
            <a:ext cx="9143998" cy="0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-43272" y="417584"/>
            <a:ext cx="6908416" cy="4559727"/>
            <a:chOff x="15309" y="452669"/>
            <a:chExt cx="11556975" cy="6405331"/>
          </a:xfrm>
        </p:grpSpPr>
        <p:grpSp>
          <p:nvGrpSpPr>
            <p:cNvPr id="138" name="Группа 137"/>
            <p:cNvGrpSpPr/>
            <p:nvPr/>
          </p:nvGrpSpPr>
          <p:grpSpPr>
            <a:xfrm>
              <a:off x="527383" y="452669"/>
              <a:ext cx="10701708" cy="6405331"/>
              <a:chOff x="0" y="339502"/>
              <a:chExt cx="6414376" cy="4248472"/>
            </a:xfrm>
          </p:grpSpPr>
          <p:pic>
            <p:nvPicPr>
              <p:cNvPr id="4" name="Picture 2" descr="C:\Users\meiramov_d\Desktop\рабочий стол\тезисы дир\Без имени-1.jpg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3811" t="16043" r="29347" b="26545"/>
              <a:stretch>
                <a:fillRect/>
              </a:stretch>
            </p:blipFill>
            <p:spPr bwMode="auto">
              <a:xfrm>
                <a:off x="0" y="371160"/>
                <a:ext cx="6300192" cy="4216814"/>
              </a:xfrm>
              <a:prstGeom prst="rect">
                <a:avLst/>
              </a:prstGeom>
              <a:ln w="92075"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Блок-схема: узел 8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187624" y="339502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5" name="Полилиния 14"/>
              <p:cNvSpPr/>
              <p:nvPr/>
            </p:nvSpPr>
            <p:spPr>
              <a:xfrm>
                <a:off x="3790950" y="2781300"/>
                <a:ext cx="1038225" cy="523875"/>
              </a:xfrm>
              <a:custGeom>
                <a:avLst/>
                <a:gdLst>
                  <a:gd name="connsiteX0" fmla="*/ 1038225 w 1038225"/>
                  <a:gd name="connsiteY0" fmla="*/ 0 h 523875"/>
                  <a:gd name="connsiteX1" fmla="*/ 895350 w 1038225"/>
                  <a:gd name="connsiteY1" fmla="*/ 38100 h 523875"/>
                  <a:gd name="connsiteX2" fmla="*/ 828675 w 1038225"/>
                  <a:gd name="connsiteY2" fmla="*/ 123825 h 523875"/>
                  <a:gd name="connsiteX3" fmla="*/ 676275 w 1038225"/>
                  <a:gd name="connsiteY3" fmla="*/ 123825 h 523875"/>
                  <a:gd name="connsiteX4" fmla="*/ 409575 w 1038225"/>
                  <a:gd name="connsiteY4" fmla="*/ 190500 h 523875"/>
                  <a:gd name="connsiteX5" fmla="*/ 180975 w 1038225"/>
                  <a:gd name="connsiteY5" fmla="*/ 190500 h 523875"/>
                  <a:gd name="connsiteX6" fmla="*/ 28575 w 1038225"/>
                  <a:gd name="connsiteY6" fmla="*/ 371475 h 523875"/>
                  <a:gd name="connsiteX7" fmla="*/ 9525 w 1038225"/>
                  <a:gd name="connsiteY7" fmla="*/ 5238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225" h="523875">
                    <a:moveTo>
                      <a:pt x="1038225" y="0"/>
                    </a:moveTo>
                    <a:cubicBezTo>
                      <a:pt x="984250" y="8731"/>
                      <a:pt x="930275" y="17462"/>
                      <a:pt x="895350" y="38100"/>
                    </a:cubicBezTo>
                    <a:cubicBezTo>
                      <a:pt x="860425" y="58738"/>
                      <a:pt x="865187" y="109538"/>
                      <a:pt x="828675" y="123825"/>
                    </a:cubicBezTo>
                    <a:cubicBezTo>
                      <a:pt x="792163" y="138112"/>
                      <a:pt x="746125" y="112713"/>
                      <a:pt x="676275" y="123825"/>
                    </a:cubicBezTo>
                    <a:cubicBezTo>
                      <a:pt x="606425" y="134937"/>
                      <a:pt x="492125" y="179388"/>
                      <a:pt x="409575" y="190500"/>
                    </a:cubicBezTo>
                    <a:cubicBezTo>
                      <a:pt x="327025" y="201612"/>
                      <a:pt x="244475" y="160338"/>
                      <a:pt x="180975" y="190500"/>
                    </a:cubicBezTo>
                    <a:cubicBezTo>
                      <a:pt x="117475" y="220662"/>
                      <a:pt x="57150" y="315913"/>
                      <a:pt x="28575" y="371475"/>
                    </a:cubicBezTo>
                    <a:cubicBezTo>
                      <a:pt x="0" y="427038"/>
                      <a:pt x="4762" y="475456"/>
                      <a:pt x="9525" y="523875"/>
                    </a:cubicBezTo>
                  </a:path>
                </a:pathLst>
              </a:custGeom>
              <a:ln w="85725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6" name="Полилиния 15"/>
              <p:cNvSpPr/>
              <p:nvPr/>
            </p:nvSpPr>
            <p:spPr>
              <a:xfrm>
                <a:off x="3778940" y="2763192"/>
                <a:ext cx="1038225" cy="523875"/>
              </a:xfrm>
              <a:custGeom>
                <a:avLst/>
                <a:gdLst>
                  <a:gd name="connsiteX0" fmla="*/ 1038225 w 1038225"/>
                  <a:gd name="connsiteY0" fmla="*/ 0 h 523875"/>
                  <a:gd name="connsiteX1" fmla="*/ 895350 w 1038225"/>
                  <a:gd name="connsiteY1" fmla="*/ 38100 h 523875"/>
                  <a:gd name="connsiteX2" fmla="*/ 828675 w 1038225"/>
                  <a:gd name="connsiteY2" fmla="*/ 123825 h 523875"/>
                  <a:gd name="connsiteX3" fmla="*/ 676275 w 1038225"/>
                  <a:gd name="connsiteY3" fmla="*/ 123825 h 523875"/>
                  <a:gd name="connsiteX4" fmla="*/ 409575 w 1038225"/>
                  <a:gd name="connsiteY4" fmla="*/ 190500 h 523875"/>
                  <a:gd name="connsiteX5" fmla="*/ 180975 w 1038225"/>
                  <a:gd name="connsiteY5" fmla="*/ 190500 h 523875"/>
                  <a:gd name="connsiteX6" fmla="*/ 28575 w 1038225"/>
                  <a:gd name="connsiteY6" fmla="*/ 371475 h 523875"/>
                  <a:gd name="connsiteX7" fmla="*/ 9525 w 1038225"/>
                  <a:gd name="connsiteY7" fmla="*/ 5238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225" h="523875">
                    <a:moveTo>
                      <a:pt x="1038225" y="0"/>
                    </a:moveTo>
                    <a:cubicBezTo>
                      <a:pt x="984250" y="8731"/>
                      <a:pt x="930275" y="17462"/>
                      <a:pt x="895350" y="38100"/>
                    </a:cubicBezTo>
                    <a:cubicBezTo>
                      <a:pt x="860425" y="58738"/>
                      <a:pt x="865187" y="109538"/>
                      <a:pt x="828675" y="123825"/>
                    </a:cubicBezTo>
                    <a:cubicBezTo>
                      <a:pt x="792163" y="138112"/>
                      <a:pt x="746125" y="112713"/>
                      <a:pt x="676275" y="123825"/>
                    </a:cubicBezTo>
                    <a:cubicBezTo>
                      <a:pt x="606425" y="134937"/>
                      <a:pt x="492125" y="179388"/>
                      <a:pt x="409575" y="190500"/>
                    </a:cubicBezTo>
                    <a:cubicBezTo>
                      <a:pt x="327025" y="201612"/>
                      <a:pt x="244475" y="160338"/>
                      <a:pt x="180975" y="190500"/>
                    </a:cubicBezTo>
                    <a:cubicBezTo>
                      <a:pt x="117475" y="220662"/>
                      <a:pt x="57150" y="315913"/>
                      <a:pt x="28575" y="371475"/>
                    </a:cubicBezTo>
                    <a:cubicBezTo>
                      <a:pt x="0" y="427038"/>
                      <a:pt x="4762" y="475456"/>
                      <a:pt x="9525" y="523875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7" name="Полилиния 16"/>
              <p:cNvSpPr/>
              <p:nvPr/>
            </p:nvSpPr>
            <p:spPr>
              <a:xfrm>
                <a:off x="3789438" y="2797300"/>
                <a:ext cx="1038225" cy="523875"/>
              </a:xfrm>
              <a:custGeom>
                <a:avLst/>
                <a:gdLst>
                  <a:gd name="connsiteX0" fmla="*/ 1038225 w 1038225"/>
                  <a:gd name="connsiteY0" fmla="*/ 0 h 523875"/>
                  <a:gd name="connsiteX1" fmla="*/ 895350 w 1038225"/>
                  <a:gd name="connsiteY1" fmla="*/ 38100 h 523875"/>
                  <a:gd name="connsiteX2" fmla="*/ 828675 w 1038225"/>
                  <a:gd name="connsiteY2" fmla="*/ 123825 h 523875"/>
                  <a:gd name="connsiteX3" fmla="*/ 676275 w 1038225"/>
                  <a:gd name="connsiteY3" fmla="*/ 123825 h 523875"/>
                  <a:gd name="connsiteX4" fmla="*/ 409575 w 1038225"/>
                  <a:gd name="connsiteY4" fmla="*/ 190500 h 523875"/>
                  <a:gd name="connsiteX5" fmla="*/ 180975 w 1038225"/>
                  <a:gd name="connsiteY5" fmla="*/ 190500 h 523875"/>
                  <a:gd name="connsiteX6" fmla="*/ 28575 w 1038225"/>
                  <a:gd name="connsiteY6" fmla="*/ 371475 h 523875"/>
                  <a:gd name="connsiteX7" fmla="*/ 9525 w 1038225"/>
                  <a:gd name="connsiteY7" fmla="*/ 523875 h 523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8225" h="523875">
                    <a:moveTo>
                      <a:pt x="1038225" y="0"/>
                    </a:moveTo>
                    <a:cubicBezTo>
                      <a:pt x="984250" y="8731"/>
                      <a:pt x="930275" y="17462"/>
                      <a:pt x="895350" y="38100"/>
                    </a:cubicBezTo>
                    <a:cubicBezTo>
                      <a:pt x="860425" y="58738"/>
                      <a:pt x="865187" y="109538"/>
                      <a:pt x="828675" y="123825"/>
                    </a:cubicBezTo>
                    <a:cubicBezTo>
                      <a:pt x="792163" y="138112"/>
                      <a:pt x="746125" y="112713"/>
                      <a:pt x="676275" y="123825"/>
                    </a:cubicBezTo>
                    <a:cubicBezTo>
                      <a:pt x="606425" y="134937"/>
                      <a:pt x="492125" y="179388"/>
                      <a:pt x="409575" y="190500"/>
                    </a:cubicBezTo>
                    <a:cubicBezTo>
                      <a:pt x="327025" y="201612"/>
                      <a:pt x="244475" y="160338"/>
                      <a:pt x="180975" y="190500"/>
                    </a:cubicBezTo>
                    <a:cubicBezTo>
                      <a:pt x="117475" y="220662"/>
                      <a:pt x="57150" y="315913"/>
                      <a:pt x="28575" y="371475"/>
                    </a:cubicBezTo>
                    <a:cubicBezTo>
                      <a:pt x="0" y="427038"/>
                      <a:pt x="4762" y="475456"/>
                      <a:pt x="9525" y="523875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8" name="Полилиния 17"/>
              <p:cNvSpPr/>
              <p:nvPr/>
            </p:nvSpPr>
            <p:spPr>
              <a:xfrm>
                <a:off x="3457575" y="2895600"/>
                <a:ext cx="309563" cy="385763"/>
              </a:xfrm>
              <a:custGeom>
                <a:avLst/>
                <a:gdLst>
                  <a:gd name="connsiteX0" fmla="*/ 309563 w 309563"/>
                  <a:gd name="connsiteY0" fmla="*/ 385763 h 385763"/>
                  <a:gd name="connsiteX1" fmla="*/ 276225 w 309563"/>
                  <a:gd name="connsiteY1" fmla="*/ 247650 h 385763"/>
                  <a:gd name="connsiteX2" fmla="*/ 176213 w 309563"/>
                  <a:gd name="connsiteY2" fmla="*/ 152400 h 385763"/>
                  <a:gd name="connsiteX3" fmla="*/ 123825 w 309563"/>
                  <a:gd name="connsiteY3" fmla="*/ 57150 h 385763"/>
                  <a:gd name="connsiteX4" fmla="*/ 0 w 309563"/>
                  <a:gd name="connsiteY4" fmla="*/ 0 h 385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563" h="385763">
                    <a:moveTo>
                      <a:pt x="309563" y="385763"/>
                    </a:moveTo>
                    <a:cubicBezTo>
                      <a:pt x="304006" y="336153"/>
                      <a:pt x="298450" y="286544"/>
                      <a:pt x="276225" y="247650"/>
                    </a:cubicBezTo>
                    <a:cubicBezTo>
                      <a:pt x="254000" y="208756"/>
                      <a:pt x="201613" y="184150"/>
                      <a:pt x="176213" y="152400"/>
                    </a:cubicBezTo>
                    <a:cubicBezTo>
                      <a:pt x="150813" y="120650"/>
                      <a:pt x="153194" y="82550"/>
                      <a:pt x="123825" y="57150"/>
                    </a:cubicBezTo>
                    <a:cubicBezTo>
                      <a:pt x="94456" y="31750"/>
                      <a:pt x="47228" y="15875"/>
                      <a:pt x="0" y="0"/>
                    </a:cubicBezTo>
                  </a:path>
                </a:pathLst>
              </a:custGeom>
              <a:ln w="85725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9" name="Полилиния 18"/>
              <p:cNvSpPr/>
              <p:nvPr/>
            </p:nvSpPr>
            <p:spPr>
              <a:xfrm>
                <a:off x="3470349" y="2874068"/>
                <a:ext cx="309563" cy="385763"/>
              </a:xfrm>
              <a:custGeom>
                <a:avLst/>
                <a:gdLst>
                  <a:gd name="connsiteX0" fmla="*/ 309563 w 309563"/>
                  <a:gd name="connsiteY0" fmla="*/ 385763 h 385763"/>
                  <a:gd name="connsiteX1" fmla="*/ 276225 w 309563"/>
                  <a:gd name="connsiteY1" fmla="*/ 247650 h 385763"/>
                  <a:gd name="connsiteX2" fmla="*/ 176213 w 309563"/>
                  <a:gd name="connsiteY2" fmla="*/ 152400 h 385763"/>
                  <a:gd name="connsiteX3" fmla="*/ 123825 w 309563"/>
                  <a:gd name="connsiteY3" fmla="*/ 57150 h 385763"/>
                  <a:gd name="connsiteX4" fmla="*/ 0 w 309563"/>
                  <a:gd name="connsiteY4" fmla="*/ 0 h 385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563" h="385763">
                    <a:moveTo>
                      <a:pt x="309563" y="385763"/>
                    </a:moveTo>
                    <a:cubicBezTo>
                      <a:pt x="304006" y="336153"/>
                      <a:pt x="298450" y="286544"/>
                      <a:pt x="276225" y="247650"/>
                    </a:cubicBezTo>
                    <a:cubicBezTo>
                      <a:pt x="254000" y="208756"/>
                      <a:pt x="201613" y="184150"/>
                      <a:pt x="176213" y="152400"/>
                    </a:cubicBezTo>
                    <a:cubicBezTo>
                      <a:pt x="150813" y="120650"/>
                      <a:pt x="153194" y="82550"/>
                      <a:pt x="123825" y="57150"/>
                    </a:cubicBezTo>
                    <a:cubicBezTo>
                      <a:pt x="94456" y="31750"/>
                      <a:pt x="47228" y="15875"/>
                      <a:pt x="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Полилиния 19"/>
              <p:cNvSpPr/>
              <p:nvPr/>
            </p:nvSpPr>
            <p:spPr>
              <a:xfrm>
                <a:off x="3438920" y="2912742"/>
                <a:ext cx="309563" cy="385763"/>
              </a:xfrm>
              <a:custGeom>
                <a:avLst/>
                <a:gdLst>
                  <a:gd name="connsiteX0" fmla="*/ 309563 w 309563"/>
                  <a:gd name="connsiteY0" fmla="*/ 385763 h 385763"/>
                  <a:gd name="connsiteX1" fmla="*/ 276225 w 309563"/>
                  <a:gd name="connsiteY1" fmla="*/ 247650 h 385763"/>
                  <a:gd name="connsiteX2" fmla="*/ 176213 w 309563"/>
                  <a:gd name="connsiteY2" fmla="*/ 152400 h 385763"/>
                  <a:gd name="connsiteX3" fmla="*/ 123825 w 309563"/>
                  <a:gd name="connsiteY3" fmla="*/ 57150 h 385763"/>
                  <a:gd name="connsiteX4" fmla="*/ 0 w 309563"/>
                  <a:gd name="connsiteY4" fmla="*/ 0 h 3857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563" h="385763">
                    <a:moveTo>
                      <a:pt x="309563" y="385763"/>
                    </a:moveTo>
                    <a:cubicBezTo>
                      <a:pt x="304006" y="336153"/>
                      <a:pt x="298450" y="286544"/>
                      <a:pt x="276225" y="247650"/>
                    </a:cubicBezTo>
                    <a:cubicBezTo>
                      <a:pt x="254000" y="208756"/>
                      <a:pt x="201613" y="184150"/>
                      <a:pt x="176213" y="152400"/>
                    </a:cubicBezTo>
                    <a:cubicBezTo>
                      <a:pt x="150813" y="120650"/>
                      <a:pt x="153194" y="82550"/>
                      <a:pt x="123825" y="57150"/>
                    </a:cubicBezTo>
                    <a:cubicBezTo>
                      <a:pt x="94456" y="31750"/>
                      <a:pt x="47228" y="15875"/>
                      <a:pt x="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1" name="Блок-схема: узел 20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707904" y="3219822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23" name="Полилиния 22"/>
              <p:cNvSpPr/>
              <p:nvPr/>
            </p:nvSpPr>
            <p:spPr>
              <a:xfrm>
                <a:off x="2738437" y="2085975"/>
                <a:ext cx="678657" cy="792956"/>
              </a:xfrm>
              <a:custGeom>
                <a:avLst/>
                <a:gdLst>
                  <a:gd name="connsiteX0" fmla="*/ 678657 w 678657"/>
                  <a:gd name="connsiteY0" fmla="*/ 792956 h 792956"/>
                  <a:gd name="connsiteX1" fmla="*/ 566738 w 678657"/>
                  <a:gd name="connsiteY1" fmla="*/ 716756 h 792956"/>
                  <a:gd name="connsiteX2" fmla="*/ 438150 w 678657"/>
                  <a:gd name="connsiteY2" fmla="*/ 623887 h 792956"/>
                  <a:gd name="connsiteX3" fmla="*/ 304800 w 678657"/>
                  <a:gd name="connsiteY3" fmla="*/ 497681 h 792956"/>
                  <a:gd name="connsiteX4" fmla="*/ 264319 w 678657"/>
                  <a:gd name="connsiteY4" fmla="*/ 364331 h 792956"/>
                  <a:gd name="connsiteX5" fmla="*/ 176213 w 678657"/>
                  <a:gd name="connsiteY5" fmla="*/ 221456 h 792956"/>
                  <a:gd name="connsiteX6" fmla="*/ 147638 w 678657"/>
                  <a:gd name="connsiteY6" fmla="*/ 183356 h 792956"/>
                  <a:gd name="connsiteX7" fmla="*/ 0 w 678657"/>
                  <a:gd name="connsiteY7" fmla="*/ 0 h 79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657" h="792956">
                    <a:moveTo>
                      <a:pt x="678657" y="792956"/>
                    </a:moveTo>
                    <a:cubicBezTo>
                      <a:pt x="642343" y="767953"/>
                      <a:pt x="606822" y="744934"/>
                      <a:pt x="566738" y="716756"/>
                    </a:cubicBezTo>
                    <a:cubicBezTo>
                      <a:pt x="526654" y="688578"/>
                      <a:pt x="481806" y="660399"/>
                      <a:pt x="438150" y="623887"/>
                    </a:cubicBezTo>
                    <a:cubicBezTo>
                      <a:pt x="394494" y="587375"/>
                      <a:pt x="333772" y="540940"/>
                      <a:pt x="304800" y="497681"/>
                    </a:cubicBezTo>
                    <a:cubicBezTo>
                      <a:pt x="275828" y="454422"/>
                      <a:pt x="285750" y="410369"/>
                      <a:pt x="264319" y="364331"/>
                    </a:cubicBezTo>
                    <a:cubicBezTo>
                      <a:pt x="242888" y="318294"/>
                      <a:pt x="195660" y="251619"/>
                      <a:pt x="176213" y="221456"/>
                    </a:cubicBezTo>
                    <a:cubicBezTo>
                      <a:pt x="156766" y="191293"/>
                      <a:pt x="177007" y="220265"/>
                      <a:pt x="147638" y="183356"/>
                    </a:cubicBezTo>
                    <a:cubicBezTo>
                      <a:pt x="118269" y="146447"/>
                      <a:pt x="59134" y="73223"/>
                      <a:pt x="0" y="0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4" name="Полилиния 23"/>
              <p:cNvSpPr/>
              <p:nvPr/>
            </p:nvSpPr>
            <p:spPr>
              <a:xfrm>
                <a:off x="2723602" y="2079599"/>
                <a:ext cx="678657" cy="792956"/>
              </a:xfrm>
              <a:custGeom>
                <a:avLst/>
                <a:gdLst>
                  <a:gd name="connsiteX0" fmla="*/ 678657 w 678657"/>
                  <a:gd name="connsiteY0" fmla="*/ 792956 h 792956"/>
                  <a:gd name="connsiteX1" fmla="*/ 566738 w 678657"/>
                  <a:gd name="connsiteY1" fmla="*/ 716756 h 792956"/>
                  <a:gd name="connsiteX2" fmla="*/ 438150 w 678657"/>
                  <a:gd name="connsiteY2" fmla="*/ 623887 h 792956"/>
                  <a:gd name="connsiteX3" fmla="*/ 304800 w 678657"/>
                  <a:gd name="connsiteY3" fmla="*/ 497681 h 792956"/>
                  <a:gd name="connsiteX4" fmla="*/ 264319 w 678657"/>
                  <a:gd name="connsiteY4" fmla="*/ 364331 h 792956"/>
                  <a:gd name="connsiteX5" fmla="*/ 176213 w 678657"/>
                  <a:gd name="connsiteY5" fmla="*/ 221456 h 792956"/>
                  <a:gd name="connsiteX6" fmla="*/ 147638 w 678657"/>
                  <a:gd name="connsiteY6" fmla="*/ 183356 h 792956"/>
                  <a:gd name="connsiteX7" fmla="*/ 0 w 678657"/>
                  <a:gd name="connsiteY7" fmla="*/ 0 h 792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78657" h="792956">
                    <a:moveTo>
                      <a:pt x="678657" y="792956"/>
                    </a:moveTo>
                    <a:cubicBezTo>
                      <a:pt x="642343" y="767953"/>
                      <a:pt x="606822" y="744934"/>
                      <a:pt x="566738" y="716756"/>
                    </a:cubicBezTo>
                    <a:cubicBezTo>
                      <a:pt x="526654" y="688578"/>
                      <a:pt x="481806" y="660399"/>
                      <a:pt x="438150" y="623887"/>
                    </a:cubicBezTo>
                    <a:cubicBezTo>
                      <a:pt x="394494" y="587375"/>
                      <a:pt x="333772" y="540940"/>
                      <a:pt x="304800" y="497681"/>
                    </a:cubicBezTo>
                    <a:cubicBezTo>
                      <a:pt x="275828" y="454422"/>
                      <a:pt x="285750" y="410369"/>
                      <a:pt x="264319" y="364331"/>
                    </a:cubicBezTo>
                    <a:cubicBezTo>
                      <a:pt x="242888" y="318294"/>
                      <a:pt x="195660" y="251619"/>
                      <a:pt x="176213" y="221456"/>
                    </a:cubicBezTo>
                    <a:cubicBezTo>
                      <a:pt x="156766" y="191293"/>
                      <a:pt x="177007" y="220265"/>
                      <a:pt x="147638" y="183356"/>
                    </a:cubicBezTo>
                    <a:cubicBezTo>
                      <a:pt x="118269" y="146447"/>
                      <a:pt x="59134" y="73223"/>
                      <a:pt x="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2" name="Блок-схема: узел 21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400824" y="2844918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25" name="Полилиния 24"/>
              <p:cNvSpPr/>
              <p:nvPr/>
            </p:nvSpPr>
            <p:spPr>
              <a:xfrm>
                <a:off x="3880379" y="2206625"/>
                <a:ext cx="477838" cy="701675"/>
              </a:xfrm>
              <a:custGeom>
                <a:avLst/>
                <a:gdLst>
                  <a:gd name="connsiteX0" fmla="*/ 443971 w 477838"/>
                  <a:gd name="connsiteY0" fmla="*/ 701675 h 701675"/>
                  <a:gd name="connsiteX1" fmla="*/ 456671 w 477838"/>
                  <a:gd name="connsiteY1" fmla="*/ 622300 h 701675"/>
                  <a:gd name="connsiteX2" fmla="*/ 316971 w 477838"/>
                  <a:gd name="connsiteY2" fmla="*/ 612775 h 701675"/>
                  <a:gd name="connsiteX3" fmla="*/ 221721 w 477838"/>
                  <a:gd name="connsiteY3" fmla="*/ 555625 h 701675"/>
                  <a:gd name="connsiteX4" fmla="*/ 221721 w 477838"/>
                  <a:gd name="connsiteY4" fmla="*/ 419100 h 701675"/>
                  <a:gd name="connsiteX5" fmla="*/ 209021 w 477838"/>
                  <a:gd name="connsiteY5" fmla="*/ 212725 h 701675"/>
                  <a:gd name="connsiteX6" fmla="*/ 62971 w 477838"/>
                  <a:gd name="connsiteY6" fmla="*/ 85725 h 701675"/>
                  <a:gd name="connsiteX7" fmla="*/ 8996 w 477838"/>
                  <a:gd name="connsiteY7" fmla="*/ 15875 h 701675"/>
                  <a:gd name="connsiteX8" fmla="*/ 8996 w 477838"/>
                  <a:gd name="connsiteY8" fmla="*/ 0 h 70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7838" h="701675">
                    <a:moveTo>
                      <a:pt x="443971" y="701675"/>
                    </a:moveTo>
                    <a:cubicBezTo>
                      <a:pt x="460904" y="669396"/>
                      <a:pt x="477838" y="637117"/>
                      <a:pt x="456671" y="622300"/>
                    </a:cubicBezTo>
                    <a:cubicBezTo>
                      <a:pt x="435504" y="607483"/>
                      <a:pt x="356129" y="623888"/>
                      <a:pt x="316971" y="612775"/>
                    </a:cubicBezTo>
                    <a:cubicBezTo>
                      <a:pt x="277813" y="601663"/>
                      <a:pt x="237596" y="587904"/>
                      <a:pt x="221721" y="555625"/>
                    </a:cubicBezTo>
                    <a:cubicBezTo>
                      <a:pt x="205846" y="523346"/>
                      <a:pt x="223838" y="476250"/>
                      <a:pt x="221721" y="419100"/>
                    </a:cubicBezTo>
                    <a:cubicBezTo>
                      <a:pt x="219604" y="361950"/>
                      <a:pt x="235479" y="268287"/>
                      <a:pt x="209021" y="212725"/>
                    </a:cubicBezTo>
                    <a:cubicBezTo>
                      <a:pt x="182563" y="157163"/>
                      <a:pt x="96309" y="118533"/>
                      <a:pt x="62971" y="85725"/>
                    </a:cubicBezTo>
                    <a:cubicBezTo>
                      <a:pt x="29634" y="52917"/>
                      <a:pt x="17992" y="30162"/>
                      <a:pt x="8996" y="15875"/>
                    </a:cubicBezTo>
                    <a:cubicBezTo>
                      <a:pt x="0" y="1588"/>
                      <a:pt x="4498" y="794"/>
                      <a:pt x="8996" y="0"/>
                    </a:cubicBezTo>
                  </a:path>
                </a:pathLst>
              </a:custGeom>
              <a:ln w="889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6" name="Полилиния 25"/>
              <p:cNvSpPr/>
              <p:nvPr/>
            </p:nvSpPr>
            <p:spPr>
              <a:xfrm>
                <a:off x="3866233" y="2225996"/>
                <a:ext cx="477838" cy="701675"/>
              </a:xfrm>
              <a:custGeom>
                <a:avLst/>
                <a:gdLst>
                  <a:gd name="connsiteX0" fmla="*/ 443971 w 477838"/>
                  <a:gd name="connsiteY0" fmla="*/ 701675 h 701675"/>
                  <a:gd name="connsiteX1" fmla="*/ 456671 w 477838"/>
                  <a:gd name="connsiteY1" fmla="*/ 622300 h 701675"/>
                  <a:gd name="connsiteX2" fmla="*/ 316971 w 477838"/>
                  <a:gd name="connsiteY2" fmla="*/ 612775 h 701675"/>
                  <a:gd name="connsiteX3" fmla="*/ 221721 w 477838"/>
                  <a:gd name="connsiteY3" fmla="*/ 555625 h 701675"/>
                  <a:gd name="connsiteX4" fmla="*/ 221721 w 477838"/>
                  <a:gd name="connsiteY4" fmla="*/ 419100 h 701675"/>
                  <a:gd name="connsiteX5" fmla="*/ 209021 w 477838"/>
                  <a:gd name="connsiteY5" fmla="*/ 212725 h 701675"/>
                  <a:gd name="connsiteX6" fmla="*/ 62971 w 477838"/>
                  <a:gd name="connsiteY6" fmla="*/ 85725 h 701675"/>
                  <a:gd name="connsiteX7" fmla="*/ 8996 w 477838"/>
                  <a:gd name="connsiteY7" fmla="*/ 15875 h 701675"/>
                  <a:gd name="connsiteX8" fmla="*/ 8996 w 477838"/>
                  <a:gd name="connsiteY8" fmla="*/ 0 h 70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7838" h="701675">
                    <a:moveTo>
                      <a:pt x="443971" y="701675"/>
                    </a:moveTo>
                    <a:cubicBezTo>
                      <a:pt x="460904" y="669396"/>
                      <a:pt x="477838" y="637117"/>
                      <a:pt x="456671" y="622300"/>
                    </a:cubicBezTo>
                    <a:cubicBezTo>
                      <a:pt x="435504" y="607483"/>
                      <a:pt x="356129" y="623888"/>
                      <a:pt x="316971" y="612775"/>
                    </a:cubicBezTo>
                    <a:cubicBezTo>
                      <a:pt x="277813" y="601663"/>
                      <a:pt x="237596" y="587904"/>
                      <a:pt x="221721" y="555625"/>
                    </a:cubicBezTo>
                    <a:cubicBezTo>
                      <a:pt x="205846" y="523346"/>
                      <a:pt x="223838" y="476250"/>
                      <a:pt x="221721" y="419100"/>
                    </a:cubicBezTo>
                    <a:cubicBezTo>
                      <a:pt x="219604" y="361950"/>
                      <a:pt x="235479" y="268287"/>
                      <a:pt x="209021" y="212725"/>
                    </a:cubicBezTo>
                    <a:cubicBezTo>
                      <a:pt x="182563" y="157163"/>
                      <a:pt x="96309" y="118533"/>
                      <a:pt x="62971" y="85725"/>
                    </a:cubicBezTo>
                    <a:cubicBezTo>
                      <a:pt x="29634" y="52917"/>
                      <a:pt x="17992" y="30162"/>
                      <a:pt x="8996" y="15875"/>
                    </a:cubicBezTo>
                    <a:cubicBezTo>
                      <a:pt x="0" y="1588"/>
                      <a:pt x="4498" y="794"/>
                      <a:pt x="8996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7" name="Полилиния 26"/>
              <p:cNvSpPr/>
              <p:nvPr/>
            </p:nvSpPr>
            <p:spPr>
              <a:xfrm>
                <a:off x="3902499" y="2192662"/>
                <a:ext cx="477838" cy="701675"/>
              </a:xfrm>
              <a:custGeom>
                <a:avLst/>
                <a:gdLst>
                  <a:gd name="connsiteX0" fmla="*/ 443971 w 477838"/>
                  <a:gd name="connsiteY0" fmla="*/ 701675 h 701675"/>
                  <a:gd name="connsiteX1" fmla="*/ 456671 w 477838"/>
                  <a:gd name="connsiteY1" fmla="*/ 622300 h 701675"/>
                  <a:gd name="connsiteX2" fmla="*/ 316971 w 477838"/>
                  <a:gd name="connsiteY2" fmla="*/ 612775 h 701675"/>
                  <a:gd name="connsiteX3" fmla="*/ 221721 w 477838"/>
                  <a:gd name="connsiteY3" fmla="*/ 555625 h 701675"/>
                  <a:gd name="connsiteX4" fmla="*/ 221721 w 477838"/>
                  <a:gd name="connsiteY4" fmla="*/ 419100 h 701675"/>
                  <a:gd name="connsiteX5" fmla="*/ 209021 w 477838"/>
                  <a:gd name="connsiteY5" fmla="*/ 212725 h 701675"/>
                  <a:gd name="connsiteX6" fmla="*/ 62971 w 477838"/>
                  <a:gd name="connsiteY6" fmla="*/ 85725 h 701675"/>
                  <a:gd name="connsiteX7" fmla="*/ 8996 w 477838"/>
                  <a:gd name="connsiteY7" fmla="*/ 15875 h 701675"/>
                  <a:gd name="connsiteX8" fmla="*/ 8996 w 477838"/>
                  <a:gd name="connsiteY8" fmla="*/ 0 h 70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7838" h="701675">
                    <a:moveTo>
                      <a:pt x="443971" y="701675"/>
                    </a:moveTo>
                    <a:cubicBezTo>
                      <a:pt x="460904" y="669396"/>
                      <a:pt x="477838" y="637117"/>
                      <a:pt x="456671" y="622300"/>
                    </a:cubicBezTo>
                    <a:cubicBezTo>
                      <a:pt x="435504" y="607483"/>
                      <a:pt x="356129" y="623888"/>
                      <a:pt x="316971" y="612775"/>
                    </a:cubicBezTo>
                    <a:cubicBezTo>
                      <a:pt x="277813" y="601663"/>
                      <a:pt x="237596" y="587904"/>
                      <a:pt x="221721" y="555625"/>
                    </a:cubicBezTo>
                    <a:cubicBezTo>
                      <a:pt x="205846" y="523346"/>
                      <a:pt x="223838" y="476250"/>
                      <a:pt x="221721" y="419100"/>
                    </a:cubicBezTo>
                    <a:cubicBezTo>
                      <a:pt x="219604" y="361950"/>
                      <a:pt x="235479" y="268287"/>
                      <a:pt x="209021" y="212725"/>
                    </a:cubicBezTo>
                    <a:cubicBezTo>
                      <a:pt x="182563" y="157163"/>
                      <a:pt x="96309" y="118533"/>
                      <a:pt x="62971" y="85725"/>
                    </a:cubicBezTo>
                    <a:cubicBezTo>
                      <a:pt x="29634" y="52917"/>
                      <a:pt x="17992" y="30162"/>
                      <a:pt x="8996" y="15875"/>
                    </a:cubicBezTo>
                    <a:cubicBezTo>
                      <a:pt x="0" y="1588"/>
                      <a:pt x="4498" y="794"/>
                      <a:pt x="8996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7" name="Блок-схема: узел 6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373552" y="2886747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" name="Блок-схема: узел 5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830491" y="2091504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28" name="Полилиния 27"/>
              <p:cNvSpPr/>
              <p:nvPr/>
            </p:nvSpPr>
            <p:spPr>
              <a:xfrm>
                <a:off x="3050381" y="1712119"/>
                <a:ext cx="783432" cy="452437"/>
              </a:xfrm>
              <a:custGeom>
                <a:avLst/>
                <a:gdLst>
                  <a:gd name="connsiteX0" fmla="*/ 783432 w 783432"/>
                  <a:gd name="connsiteY0" fmla="*/ 452437 h 452437"/>
                  <a:gd name="connsiteX1" fmla="*/ 692944 w 783432"/>
                  <a:gd name="connsiteY1" fmla="*/ 438150 h 452437"/>
                  <a:gd name="connsiteX2" fmla="*/ 545307 w 783432"/>
                  <a:gd name="connsiteY2" fmla="*/ 388144 h 452437"/>
                  <a:gd name="connsiteX3" fmla="*/ 364332 w 783432"/>
                  <a:gd name="connsiteY3" fmla="*/ 350044 h 452437"/>
                  <a:gd name="connsiteX4" fmla="*/ 278607 w 783432"/>
                  <a:gd name="connsiteY4" fmla="*/ 252412 h 452437"/>
                  <a:gd name="connsiteX5" fmla="*/ 114300 w 783432"/>
                  <a:gd name="connsiteY5" fmla="*/ 88106 h 452437"/>
                  <a:gd name="connsiteX6" fmla="*/ 0 w 783432"/>
                  <a:gd name="connsiteY6" fmla="*/ 0 h 452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3432" h="452437">
                    <a:moveTo>
                      <a:pt x="783432" y="452437"/>
                    </a:moveTo>
                    <a:cubicBezTo>
                      <a:pt x="758032" y="450651"/>
                      <a:pt x="732632" y="448866"/>
                      <a:pt x="692944" y="438150"/>
                    </a:cubicBezTo>
                    <a:cubicBezTo>
                      <a:pt x="653257" y="427435"/>
                      <a:pt x="600075" y="402828"/>
                      <a:pt x="545307" y="388144"/>
                    </a:cubicBezTo>
                    <a:cubicBezTo>
                      <a:pt x="490539" y="373460"/>
                      <a:pt x="408782" y="372666"/>
                      <a:pt x="364332" y="350044"/>
                    </a:cubicBezTo>
                    <a:cubicBezTo>
                      <a:pt x="319882" y="327422"/>
                      <a:pt x="320279" y="296068"/>
                      <a:pt x="278607" y="252412"/>
                    </a:cubicBezTo>
                    <a:cubicBezTo>
                      <a:pt x="236935" y="208756"/>
                      <a:pt x="160735" y="130175"/>
                      <a:pt x="114300" y="88106"/>
                    </a:cubicBezTo>
                    <a:cubicBezTo>
                      <a:pt x="67866" y="46037"/>
                      <a:pt x="33933" y="23018"/>
                      <a:pt x="0" y="0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Полилиния 28"/>
              <p:cNvSpPr/>
              <p:nvPr/>
            </p:nvSpPr>
            <p:spPr>
              <a:xfrm>
                <a:off x="3056583" y="1712416"/>
                <a:ext cx="783432" cy="452437"/>
              </a:xfrm>
              <a:custGeom>
                <a:avLst/>
                <a:gdLst>
                  <a:gd name="connsiteX0" fmla="*/ 783432 w 783432"/>
                  <a:gd name="connsiteY0" fmla="*/ 452437 h 452437"/>
                  <a:gd name="connsiteX1" fmla="*/ 692944 w 783432"/>
                  <a:gd name="connsiteY1" fmla="*/ 438150 h 452437"/>
                  <a:gd name="connsiteX2" fmla="*/ 545307 w 783432"/>
                  <a:gd name="connsiteY2" fmla="*/ 388144 h 452437"/>
                  <a:gd name="connsiteX3" fmla="*/ 364332 w 783432"/>
                  <a:gd name="connsiteY3" fmla="*/ 350044 h 452437"/>
                  <a:gd name="connsiteX4" fmla="*/ 278607 w 783432"/>
                  <a:gd name="connsiteY4" fmla="*/ 252412 h 452437"/>
                  <a:gd name="connsiteX5" fmla="*/ 114300 w 783432"/>
                  <a:gd name="connsiteY5" fmla="*/ 88106 h 452437"/>
                  <a:gd name="connsiteX6" fmla="*/ 0 w 783432"/>
                  <a:gd name="connsiteY6" fmla="*/ 0 h 452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3432" h="452437">
                    <a:moveTo>
                      <a:pt x="783432" y="452437"/>
                    </a:moveTo>
                    <a:cubicBezTo>
                      <a:pt x="758032" y="450651"/>
                      <a:pt x="732632" y="448866"/>
                      <a:pt x="692944" y="438150"/>
                    </a:cubicBezTo>
                    <a:cubicBezTo>
                      <a:pt x="653257" y="427435"/>
                      <a:pt x="600075" y="402828"/>
                      <a:pt x="545307" y="388144"/>
                    </a:cubicBezTo>
                    <a:cubicBezTo>
                      <a:pt x="490539" y="373460"/>
                      <a:pt x="408782" y="372666"/>
                      <a:pt x="364332" y="350044"/>
                    </a:cubicBezTo>
                    <a:cubicBezTo>
                      <a:pt x="319882" y="327422"/>
                      <a:pt x="320279" y="296068"/>
                      <a:pt x="278607" y="252412"/>
                    </a:cubicBezTo>
                    <a:cubicBezTo>
                      <a:pt x="236935" y="208756"/>
                      <a:pt x="160735" y="130175"/>
                      <a:pt x="114300" y="88106"/>
                    </a:cubicBezTo>
                    <a:cubicBezTo>
                      <a:pt x="67866" y="46037"/>
                      <a:pt x="33933" y="23018"/>
                      <a:pt x="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0" name="Полилиния 29"/>
              <p:cNvSpPr/>
              <p:nvPr/>
            </p:nvSpPr>
            <p:spPr>
              <a:xfrm>
                <a:off x="3531394" y="1526381"/>
                <a:ext cx="371475" cy="557213"/>
              </a:xfrm>
              <a:custGeom>
                <a:avLst/>
                <a:gdLst>
                  <a:gd name="connsiteX0" fmla="*/ 371475 w 371475"/>
                  <a:gd name="connsiteY0" fmla="*/ 557213 h 557213"/>
                  <a:gd name="connsiteX1" fmla="*/ 345281 w 371475"/>
                  <a:gd name="connsiteY1" fmla="*/ 454819 h 557213"/>
                  <a:gd name="connsiteX2" fmla="*/ 245269 w 371475"/>
                  <a:gd name="connsiteY2" fmla="*/ 300038 h 557213"/>
                  <a:gd name="connsiteX3" fmla="*/ 235744 w 371475"/>
                  <a:gd name="connsiteY3" fmla="*/ 133350 h 557213"/>
                  <a:gd name="connsiteX4" fmla="*/ 135731 w 371475"/>
                  <a:gd name="connsiteY4" fmla="*/ 114300 h 557213"/>
                  <a:gd name="connsiteX5" fmla="*/ 0 w 371475"/>
                  <a:gd name="connsiteY5" fmla="*/ 0 h 55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1475" h="557213">
                    <a:moveTo>
                      <a:pt x="371475" y="557213"/>
                    </a:moveTo>
                    <a:cubicBezTo>
                      <a:pt x="368895" y="527447"/>
                      <a:pt x="366315" y="497681"/>
                      <a:pt x="345281" y="454819"/>
                    </a:cubicBezTo>
                    <a:cubicBezTo>
                      <a:pt x="324247" y="411957"/>
                      <a:pt x="263525" y="353616"/>
                      <a:pt x="245269" y="300038"/>
                    </a:cubicBezTo>
                    <a:cubicBezTo>
                      <a:pt x="227013" y="246460"/>
                      <a:pt x="254000" y="164306"/>
                      <a:pt x="235744" y="133350"/>
                    </a:cubicBezTo>
                    <a:cubicBezTo>
                      <a:pt x="217488" y="102394"/>
                      <a:pt x="175022" y="136525"/>
                      <a:pt x="135731" y="114300"/>
                    </a:cubicBezTo>
                    <a:cubicBezTo>
                      <a:pt x="96440" y="92075"/>
                      <a:pt x="48220" y="46037"/>
                      <a:pt x="0" y="0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1" name="Полилиния 30"/>
              <p:cNvSpPr/>
              <p:nvPr/>
            </p:nvSpPr>
            <p:spPr>
              <a:xfrm>
                <a:off x="3535786" y="1529529"/>
                <a:ext cx="371475" cy="557213"/>
              </a:xfrm>
              <a:custGeom>
                <a:avLst/>
                <a:gdLst>
                  <a:gd name="connsiteX0" fmla="*/ 371475 w 371475"/>
                  <a:gd name="connsiteY0" fmla="*/ 557213 h 557213"/>
                  <a:gd name="connsiteX1" fmla="*/ 345281 w 371475"/>
                  <a:gd name="connsiteY1" fmla="*/ 454819 h 557213"/>
                  <a:gd name="connsiteX2" fmla="*/ 245269 w 371475"/>
                  <a:gd name="connsiteY2" fmla="*/ 300038 h 557213"/>
                  <a:gd name="connsiteX3" fmla="*/ 235744 w 371475"/>
                  <a:gd name="connsiteY3" fmla="*/ 133350 h 557213"/>
                  <a:gd name="connsiteX4" fmla="*/ 135731 w 371475"/>
                  <a:gd name="connsiteY4" fmla="*/ 114300 h 557213"/>
                  <a:gd name="connsiteX5" fmla="*/ 0 w 371475"/>
                  <a:gd name="connsiteY5" fmla="*/ 0 h 557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71475" h="557213">
                    <a:moveTo>
                      <a:pt x="371475" y="557213"/>
                    </a:moveTo>
                    <a:cubicBezTo>
                      <a:pt x="368895" y="527447"/>
                      <a:pt x="366315" y="497681"/>
                      <a:pt x="345281" y="454819"/>
                    </a:cubicBezTo>
                    <a:cubicBezTo>
                      <a:pt x="324247" y="411957"/>
                      <a:pt x="263525" y="353616"/>
                      <a:pt x="245269" y="300038"/>
                    </a:cubicBezTo>
                    <a:cubicBezTo>
                      <a:pt x="227013" y="246460"/>
                      <a:pt x="254000" y="164306"/>
                      <a:pt x="235744" y="133350"/>
                    </a:cubicBezTo>
                    <a:cubicBezTo>
                      <a:pt x="217488" y="102394"/>
                      <a:pt x="175022" y="136525"/>
                      <a:pt x="135731" y="114300"/>
                    </a:cubicBezTo>
                    <a:cubicBezTo>
                      <a:pt x="96440" y="92075"/>
                      <a:pt x="48220" y="46037"/>
                      <a:pt x="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32" name="Блок-схема: узел 31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722190" y="1635646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3" name="Блок-схема: узел 32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263951" y="1865956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4" name="Блок-схема: узел 33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202981" y="288257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5" name="Блок-схема: узел 34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195736" y="213970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grpSp>
            <p:nvGrpSpPr>
              <p:cNvPr id="40" name="Группа 39"/>
              <p:cNvGrpSpPr/>
              <p:nvPr/>
            </p:nvGrpSpPr>
            <p:grpSpPr>
              <a:xfrm>
                <a:off x="2005013" y="2205038"/>
                <a:ext cx="804862" cy="736599"/>
                <a:chOff x="2005013" y="2205038"/>
                <a:chExt cx="804862" cy="736599"/>
              </a:xfrm>
            </p:grpSpPr>
            <p:sp>
              <p:nvSpPr>
                <p:cNvPr id="36" name="Полилиния 35"/>
                <p:cNvSpPr/>
                <p:nvPr/>
              </p:nvSpPr>
              <p:spPr>
                <a:xfrm>
                  <a:off x="2005013" y="2214563"/>
                  <a:ext cx="804862" cy="395287"/>
                </a:xfrm>
                <a:custGeom>
                  <a:avLst/>
                  <a:gdLst>
                    <a:gd name="connsiteX0" fmla="*/ 804862 w 804862"/>
                    <a:gd name="connsiteY0" fmla="*/ 0 h 395287"/>
                    <a:gd name="connsiteX1" fmla="*/ 700087 w 804862"/>
                    <a:gd name="connsiteY1" fmla="*/ 61912 h 395287"/>
                    <a:gd name="connsiteX2" fmla="*/ 657225 w 804862"/>
                    <a:gd name="connsiteY2" fmla="*/ 142875 h 395287"/>
                    <a:gd name="connsiteX3" fmla="*/ 509587 w 804862"/>
                    <a:gd name="connsiteY3" fmla="*/ 300037 h 395287"/>
                    <a:gd name="connsiteX4" fmla="*/ 361950 w 804862"/>
                    <a:gd name="connsiteY4" fmla="*/ 309562 h 395287"/>
                    <a:gd name="connsiteX5" fmla="*/ 0 w 804862"/>
                    <a:gd name="connsiteY5" fmla="*/ 395287 h 3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04862" h="395287">
                      <a:moveTo>
                        <a:pt x="804862" y="0"/>
                      </a:moveTo>
                      <a:cubicBezTo>
                        <a:pt x="764777" y="19050"/>
                        <a:pt x="724693" y="38100"/>
                        <a:pt x="700087" y="61912"/>
                      </a:cubicBezTo>
                      <a:cubicBezTo>
                        <a:pt x="675481" y="85724"/>
                        <a:pt x="688975" y="103188"/>
                        <a:pt x="657225" y="142875"/>
                      </a:cubicBezTo>
                      <a:cubicBezTo>
                        <a:pt x="625475" y="182563"/>
                        <a:pt x="558800" y="272256"/>
                        <a:pt x="509587" y="300037"/>
                      </a:cubicBezTo>
                      <a:cubicBezTo>
                        <a:pt x="460375" y="327818"/>
                        <a:pt x="446881" y="293687"/>
                        <a:pt x="361950" y="309562"/>
                      </a:cubicBezTo>
                      <a:cubicBezTo>
                        <a:pt x="277019" y="325437"/>
                        <a:pt x="138509" y="360362"/>
                        <a:pt x="0" y="395287"/>
                      </a:cubicBezTo>
                    </a:path>
                  </a:pathLst>
                </a:custGeom>
                <a:ln w="76200">
                  <a:solidFill>
                    <a:srgbClr val="00206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" name="Полилиния 36"/>
                <p:cNvSpPr/>
                <p:nvPr/>
              </p:nvSpPr>
              <p:spPr>
                <a:xfrm>
                  <a:off x="2276475" y="2533650"/>
                  <a:ext cx="223837" cy="407987"/>
                </a:xfrm>
                <a:custGeom>
                  <a:avLst/>
                  <a:gdLst>
                    <a:gd name="connsiteX0" fmla="*/ 0 w 223837"/>
                    <a:gd name="connsiteY0" fmla="*/ 385763 h 407987"/>
                    <a:gd name="connsiteX1" fmla="*/ 147638 w 223837"/>
                    <a:gd name="connsiteY1" fmla="*/ 400050 h 407987"/>
                    <a:gd name="connsiteX2" fmla="*/ 219075 w 223837"/>
                    <a:gd name="connsiteY2" fmla="*/ 338138 h 407987"/>
                    <a:gd name="connsiteX3" fmla="*/ 176213 w 223837"/>
                    <a:gd name="connsiteY3" fmla="*/ 238125 h 407987"/>
                    <a:gd name="connsiteX4" fmla="*/ 133350 w 223837"/>
                    <a:gd name="connsiteY4" fmla="*/ 42863 h 407987"/>
                    <a:gd name="connsiteX5" fmla="*/ 133350 w 223837"/>
                    <a:gd name="connsiteY5" fmla="*/ 0 h 407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3837" h="407987">
                      <a:moveTo>
                        <a:pt x="0" y="385763"/>
                      </a:moveTo>
                      <a:cubicBezTo>
                        <a:pt x="55563" y="396875"/>
                        <a:pt x="111126" y="407987"/>
                        <a:pt x="147638" y="400050"/>
                      </a:cubicBezTo>
                      <a:cubicBezTo>
                        <a:pt x="184150" y="392113"/>
                        <a:pt x="214313" y="365125"/>
                        <a:pt x="219075" y="338138"/>
                      </a:cubicBezTo>
                      <a:cubicBezTo>
                        <a:pt x="223837" y="311151"/>
                        <a:pt x="190501" y="287338"/>
                        <a:pt x="176213" y="238125"/>
                      </a:cubicBezTo>
                      <a:cubicBezTo>
                        <a:pt x="161926" y="188913"/>
                        <a:pt x="140494" y="82550"/>
                        <a:pt x="133350" y="42863"/>
                      </a:cubicBezTo>
                      <a:cubicBezTo>
                        <a:pt x="126206" y="3176"/>
                        <a:pt x="129778" y="1588"/>
                        <a:pt x="133350" y="0"/>
                      </a:cubicBezTo>
                    </a:path>
                  </a:pathLst>
                </a:custGeom>
                <a:ln w="76200">
                  <a:solidFill>
                    <a:srgbClr val="00206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" name="Полилиния 37"/>
                <p:cNvSpPr/>
                <p:nvPr/>
              </p:nvSpPr>
              <p:spPr>
                <a:xfrm>
                  <a:off x="2206626" y="2205038"/>
                  <a:ext cx="50799" cy="347662"/>
                </a:xfrm>
                <a:custGeom>
                  <a:avLst/>
                  <a:gdLst>
                    <a:gd name="connsiteX0" fmla="*/ 22224 w 50799"/>
                    <a:gd name="connsiteY0" fmla="*/ 0 h 347662"/>
                    <a:gd name="connsiteX1" fmla="*/ 3174 w 50799"/>
                    <a:gd name="connsiteY1" fmla="*/ 76200 h 347662"/>
                    <a:gd name="connsiteX2" fmla="*/ 7937 w 50799"/>
                    <a:gd name="connsiteY2" fmla="*/ 195262 h 347662"/>
                    <a:gd name="connsiteX3" fmla="*/ 50799 w 50799"/>
                    <a:gd name="connsiteY3" fmla="*/ 347662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799" h="347662">
                      <a:moveTo>
                        <a:pt x="22224" y="0"/>
                      </a:moveTo>
                      <a:cubicBezTo>
                        <a:pt x="13889" y="21828"/>
                        <a:pt x="5555" y="43656"/>
                        <a:pt x="3174" y="76200"/>
                      </a:cubicBezTo>
                      <a:cubicBezTo>
                        <a:pt x="793" y="108744"/>
                        <a:pt x="0" y="150018"/>
                        <a:pt x="7937" y="195262"/>
                      </a:cubicBezTo>
                      <a:cubicBezTo>
                        <a:pt x="15874" y="240506"/>
                        <a:pt x="33336" y="294084"/>
                        <a:pt x="50799" y="347662"/>
                      </a:cubicBezTo>
                    </a:path>
                  </a:pathLst>
                </a:custGeom>
                <a:ln w="76200">
                  <a:solidFill>
                    <a:srgbClr val="00206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41" name="Группа 40"/>
              <p:cNvGrpSpPr/>
              <p:nvPr/>
            </p:nvGrpSpPr>
            <p:grpSpPr>
              <a:xfrm>
                <a:off x="2003527" y="2204717"/>
                <a:ext cx="804862" cy="736599"/>
                <a:chOff x="2005013" y="2205038"/>
                <a:chExt cx="804862" cy="736599"/>
              </a:xfrm>
            </p:grpSpPr>
            <p:sp>
              <p:nvSpPr>
                <p:cNvPr id="42" name="Полилиния 41"/>
                <p:cNvSpPr/>
                <p:nvPr/>
              </p:nvSpPr>
              <p:spPr>
                <a:xfrm>
                  <a:off x="2005013" y="2214563"/>
                  <a:ext cx="804862" cy="395287"/>
                </a:xfrm>
                <a:custGeom>
                  <a:avLst/>
                  <a:gdLst>
                    <a:gd name="connsiteX0" fmla="*/ 804862 w 804862"/>
                    <a:gd name="connsiteY0" fmla="*/ 0 h 395287"/>
                    <a:gd name="connsiteX1" fmla="*/ 700087 w 804862"/>
                    <a:gd name="connsiteY1" fmla="*/ 61912 h 395287"/>
                    <a:gd name="connsiteX2" fmla="*/ 657225 w 804862"/>
                    <a:gd name="connsiteY2" fmla="*/ 142875 h 395287"/>
                    <a:gd name="connsiteX3" fmla="*/ 509587 w 804862"/>
                    <a:gd name="connsiteY3" fmla="*/ 300037 h 395287"/>
                    <a:gd name="connsiteX4" fmla="*/ 361950 w 804862"/>
                    <a:gd name="connsiteY4" fmla="*/ 309562 h 395287"/>
                    <a:gd name="connsiteX5" fmla="*/ 0 w 804862"/>
                    <a:gd name="connsiteY5" fmla="*/ 395287 h 395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804862" h="395287">
                      <a:moveTo>
                        <a:pt x="804862" y="0"/>
                      </a:moveTo>
                      <a:cubicBezTo>
                        <a:pt x="764777" y="19050"/>
                        <a:pt x="724693" y="38100"/>
                        <a:pt x="700087" y="61912"/>
                      </a:cubicBezTo>
                      <a:cubicBezTo>
                        <a:pt x="675481" y="85724"/>
                        <a:pt x="688975" y="103188"/>
                        <a:pt x="657225" y="142875"/>
                      </a:cubicBezTo>
                      <a:cubicBezTo>
                        <a:pt x="625475" y="182563"/>
                        <a:pt x="558800" y="272256"/>
                        <a:pt x="509587" y="300037"/>
                      </a:cubicBezTo>
                      <a:cubicBezTo>
                        <a:pt x="460375" y="327818"/>
                        <a:pt x="446881" y="293687"/>
                        <a:pt x="361950" y="309562"/>
                      </a:cubicBezTo>
                      <a:cubicBezTo>
                        <a:pt x="277019" y="325437"/>
                        <a:pt x="138509" y="360362"/>
                        <a:pt x="0" y="395287"/>
                      </a:cubicBezTo>
                    </a:path>
                  </a:pathLst>
                </a:custGeom>
                <a:ln w="6350">
                  <a:solidFill>
                    <a:schemeClr val="bg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3" name="Полилиния 42"/>
                <p:cNvSpPr/>
                <p:nvPr/>
              </p:nvSpPr>
              <p:spPr>
                <a:xfrm>
                  <a:off x="2276475" y="2533650"/>
                  <a:ext cx="223837" cy="407987"/>
                </a:xfrm>
                <a:custGeom>
                  <a:avLst/>
                  <a:gdLst>
                    <a:gd name="connsiteX0" fmla="*/ 0 w 223837"/>
                    <a:gd name="connsiteY0" fmla="*/ 385763 h 407987"/>
                    <a:gd name="connsiteX1" fmla="*/ 147638 w 223837"/>
                    <a:gd name="connsiteY1" fmla="*/ 400050 h 407987"/>
                    <a:gd name="connsiteX2" fmla="*/ 219075 w 223837"/>
                    <a:gd name="connsiteY2" fmla="*/ 338138 h 407987"/>
                    <a:gd name="connsiteX3" fmla="*/ 176213 w 223837"/>
                    <a:gd name="connsiteY3" fmla="*/ 238125 h 407987"/>
                    <a:gd name="connsiteX4" fmla="*/ 133350 w 223837"/>
                    <a:gd name="connsiteY4" fmla="*/ 42863 h 407987"/>
                    <a:gd name="connsiteX5" fmla="*/ 133350 w 223837"/>
                    <a:gd name="connsiteY5" fmla="*/ 0 h 4079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23837" h="407987">
                      <a:moveTo>
                        <a:pt x="0" y="385763"/>
                      </a:moveTo>
                      <a:cubicBezTo>
                        <a:pt x="55563" y="396875"/>
                        <a:pt x="111126" y="407987"/>
                        <a:pt x="147638" y="400050"/>
                      </a:cubicBezTo>
                      <a:cubicBezTo>
                        <a:pt x="184150" y="392113"/>
                        <a:pt x="214313" y="365125"/>
                        <a:pt x="219075" y="338138"/>
                      </a:cubicBezTo>
                      <a:cubicBezTo>
                        <a:pt x="223837" y="311151"/>
                        <a:pt x="190501" y="287338"/>
                        <a:pt x="176213" y="238125"/>
                      </a:cubicBezTo>
                      <a:cubicBezTo>
                        <a:pt x="161926" y="188913"/>
                        <a:pt x="140494" y="82550"/>
                        <a:pt x="133350" y="42863"/>
                      </a:cubicBezTo>
                      <a:cubicBezTo>
                        <a:pt x="126206" y="3176"/>
                        <a:pt x="129778" y="1588"/>
                        <a:pt x="133350" y="0"/>
                      </a:cubicBezTo>
                    </a:path>
                  </a:pathLst>
                </a:custGeom>
                <a:ln w="6350">
                  <a:solidFill>
                    <a:schemeClr val="bg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4" name="Полилиния 43"/>
                <p:cNvSpPr/>
                <p:nvPr/>
              </p:nvSpPr>
              <p:spPr>
                <a:xfrm>
                  <a:off x="2206626" y="2205038"/>
                  <a:ext cx="50799" cy="347662"/>
                </a:xfrm>
                <a:custGeom>
                  <a:avLst/>
                  <a:gdLst>
                    <a:gd name="connsiteX0" fmla="*/ 22224 w 50799"/>
                    <a:gd name="connsiteY0" fmla="*/ 0 h 347662"/>
                    <a:gd name="connsiteX1" fmla="*/ 3174 w 50799"/>
                    <a:gd name="connsiteY1" fmla="*/ 76200 h 347662"/>
                    <a:gd name="connsiteX2" fmla="*/ 7937 w 50799"/>
                    <a:gd name="connsiteY2" fmla="*/ 195262 h 347662"/>
                    <a:gd name="connsiteX3" fmla="*/ 50799 w 50799"/>
                    <a:gd name="connsiteY3" fmla="*/ 347662 h 3476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0799" h="347662">
                      <a:moveTo>
                        <a:pt x="22224" y="0"/>
                      </a:moveTo>
                      <a:cubicBezTo>
                        <a:pt x="13889" y="21828"/>
                        <a:pt x="5555" y="43656"/>
                        <a:pt x="3174" y="76200"/>
                      </a:cubicBezTo>
                      <a:cubicBezTo>
                        <a:pt x="793" y="108744"/>
                        <a:pt x="0" y="150018"/>
                        <a:pt x="7937" y="195262"/>
                      </a:cubicBezTo>
                      <a:cubicBezTo>
                        <a:pt x="15874" y="240506"/>
                        <a:pt x="33336" y="294084"/>
                        <a:pt x="50799" y="347662"/>
                      </a:cubicBezTo>
                    </a:path>
                  </a:pathLst>
                </a:custGeom>
                <a:ln w="6350">
                  <a:solidFill>
                    <a:schemeClr val="bg1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 defTabSz="878954"/>
                  <a:endParaRPr lang="ru-RU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45" name="Полилиния 44"/>
              <p:cNvSpPr/>
              <p:nvPr/>
            </p:nvSpPr>
            <p:spPr>
              <a:xfrm>
                <a:off x="4390232" y="2038350"/>
                <a:ext cx="338931" cy="838200"/>
              </a:xfrm>
              <a:custGeom>
                <a:avLst/>
                <a:gdLst>
                  <a:gd name="connsiteX0" fmla="*/ 10318 w 338931"/>
                  <a:gd name="connsiteY0" fmla="*/ 838200 h 838200"/>
                  <a:gd name="connsiteX1" fmla="*/ 15081 w 338931"/>
                  <a:gd name="connsiteY1" fmla="*/ 738188 h 838200"/>
                  <a:gd name="connsiteX2" fmla="*/ 100806 w 338931"/>
                  <a:gd name="connsiteY2" fmla="*/ 676275 h 838200"/>
                  <a:gd name="connsiteX3" fmla="*/ 272256 w 338931"/>
                  <a:gd name="connsiteY3" fmla="*/ 619125 h 838200"/>
                  <a:gd name="connsiteX4" fmla="*/ 329406 w 338931"/>
                  <a:gd name="connsiteY4" fmla="*/ 457200 h 838200"/>
                  <a:gd name="connsiteX5" fmla="*/ 329406 w 338931"/>
                  <a:gd name="connsiteY5" fmla="*/ 185738 h 838200"/>
                  <a:gd name="connsiteX6" fmla="*/ 277018 w 338931"/>
                  <a:gd name="connsiteY6" fmla="*/ 0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931" h="838200">
                    <a:moveTo>
                      <a:pt x="10318" y="838200"/>
                    </a:moveTo>
                    <a:cubicBezTo>
                      <a:pt x="5159" y="801687"/>
                      <a:pt x="0" y="765175"/>
                      <a:pt x="15081" y="738188"/>
                    </a:cubicBezTo>
                    <a:cubicBezTo>
                      <a:pt x="30162" y="711201"/>
                      <a:pt x="57944" y="696119"/>
                      <a:pt x="100806" y="676275"/>
                    </a:cubicBezTo>
                    <a:cubicBezTo>
                      <a:pt x="143668" y="656431"/>
                      <a:pt x="234156" y="655637"/>
                      <a:pt x="272256" y="619125"/>
                    </a:cubicBezTo>
                    <a:cubicBezTo>
                      <a:pt x="310356" y="582613"/>
                      <a:pt x="319881" y="529431"/>
                      <a:pt x="329406" y="457200"/>
                    </a:cubicBezTo>
                    <a:cubicBezTo>
                      <a:pt x="338931" y="384969"/>
                      <a:pt x="338137" y="261938"/>
                      <a:pt x="329406" y="185738"/>
                    </a:cubicBezTo>
                    <a:cubicBezTo>
                      <a:pt x="320675" y="109538"/>
                      <a:pt x="298846" y="54769"/>
                      <a:pt x="277018" y="0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46" name="Полилиния 45"/>
              <p:cNvSpPr/>
              <p:nvPr/>
            </p:nvSpPr>
            <p:spPr>
              <a:xfrm>
                <a:off x="4385117" y="2053405"/>
                <a:ext cx="338931" cy="838200"/>
              </a:xfrm>
              <a:custGeom>
                <a:avLst/>
                <a:gdLst>
                  <a:gd name="connsiteX0" fmla="*/ 10318 w 338931"/>
                  <a:gd name="connsiteY0" fmla="*/ 838200 h 838200"/>
                  <a:gd name="connsiteX1" fmla="*/ 15081 w 338931"/>
                  <a:gd name="connsiteY1" fmla="*/ 738188 h 838200"/>
                  <a:gd name="connsiteX2" fmla="*/ 100806 w 338931"/>
                  <a:gd name="connsiteY2" fmla="*/ 676275 h 838200"/>
                  <a:gd name="connsiteX3" fmla="*/ 272256 w 338931"/>
                  <a:gd name="connsiteY3" fmla="*/ 619125 h 838200"/>
                  <a:gd name="connsiteX4" fmla="*/ 329406 w 338931"/>
                  <a:gd name="connsiteY4" fmla="*/ 457200 h 838200"/>
                  <a:gd name="connsiteX5" fmla="*/ 329406 w 338931"/>
                  <a:gd name="connsiteY5" fmla="*/ 185738 h 838200"/>
                  <a:gd name="connsiteX6" fmla="*/ 277018 w 338931"/>
                  <a:gd name="connsiteY6" fmla="*/ 0 h 83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38931" h="838200">
                    <a:moveTo>
                      <a:pt x="10318" y="838200"/>
                    </a:moveTo>
                    <a:cubicBezTo>
                      <a:pt x="5159" y="801687"/>
                      <a:pt x="0" y="765175"/>
                      <a:pt x="15081" y="738188"/>
                    </a:cubicBezTo>
                    <a:cubicBezTo>
                      <a:pt x="30162" y="711201"/>
                      <a:pt x="57944" y="696119"/>
                      <a:pt x="100806" y="676275"/>
                    </a:cubicBezTo>
                    <a:cubicBezTo>
                      <a:pt x="143668" y="656431"/>
                      <a:pt x="234156" y="655637"/>
                      <a:pt x="272256" y="619125"/>
                    </a:cubicBezTo>
                    <a:cubicBezTo>
                      <a:pt x="310356" y="582613"/>
                      <a:pt x="319881" y="529431"/>
                      <a:pt x="329406" y="457200"/>
                    </a:cubicBezTo>
                    <a:cubicBezTo>
                      <a:pt x="338931" y="384969"/>
                      <a:pt x="338137" y="261938"/>
                      <a:pt x="329406" y="185738"/>
                    </a:cubicBezTo>
                    <a:cubicBezTo>
                      <a:pt x="320675" y="109538"/>
                      <a:pt x="298846" y="54769"/>
                      <a:pt x="277018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47" name="Полилиния 46"/>
              <p:cNvSpPr/>
              <p:nvPr/>
            </p:nvSpPr>
            <p:spPr>
              <a:xfrm>
                <a:off x="4124325" y="1633538"/>
                <a:ext cx="1000125" cy="828675"/>
              </a:xfrm>
              <a:custGeom>
                <a:avLst/>
                <a:gdLst>
                  <a:gd name="connsiteX0" fmla="*/ 0 w 1000125"/>
                  <a:gd name="connsiteY0" fmla="*/ 0 h 828675"/>
                  <a:gd name="connsiteX1" fmla="*/ 71438 w 1000125"/>
                  <a:gd name="connsiteY1" fmla="*/ 180975 h 828675"/>
                  <a:gd name="connsiteX2" fmla="*/ 214313 w 1000125"/>
                  <a:gd name="connsiteY2" fmla="*/ 466725 h 828675"/>
                  <a:gd name="connsiteX3" fmla="*/ 428625 w 1000125"/>
                  <a:gd name="connsiteY3" fmla="*/ 604837 h 828675"/>
                  <a:gd name="connsiteX4" fmla="*/ 633413 w 1000125"/>
                  <a:gd name="connsiteY4" fmla="*/ 742950 h 828675"/>
                  <a:gd name="connsiteX5" fmla="*/ 1000125 w 1000125"/>
                  <a:gd name="connsiteY5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0125" h="828675">
                    <a:moveTo>
                      <a:pt x="0" y="0"/>
                    </a:moveTo>
                    <a:cubicBezTo>
                      <a:pt x="17859" y="51594"/>
                      <a:pt x="35719" y="103188"/>
                      <a:pt x="71438" y="180975"/>
                    </a:cubicBezTo>
                    <a:cubicBezTo>
                      <a:pt x="107157" y="258763"/>
                      <a:pt x="154782" y="396081"/>
                      <a:pt x="214313" y="466725"/>
                    </a:cubicBezTo>
                    <a:cubicBezTo>
                      <a:pt x="273844" y="537369"/>
                      <a:pt x="358775" y="558800"/>
                      <a:pt x="428625" y="604837"/>
                    </a:cubicBezTo>
                    <a:cubicBezTo>
                      <a:pt x="498475" y="650874"/>
                      <a:pt x="538163" y="705644"/>
                      <a:pt x="633413" y="742950"/>
                    </a:cubicBezTo>
                    <a:cubicBezTo>
                      <a:pt x="728663" y="780256"/>
                      <a:pt x="864394" y="804465"/>
                      <a:pt x="1000125" y="828675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Полилиния 47"/>
              <p:cNvSpPr/>
              <p:nvPr/>
            </p:nvSpPr>
            <p:spPr>
              <a:xfrm>
                <a:off x="4125663" y="1635646"/>
                <a:ext cx="1000125" cy="828675"/>
              </a:xfrm>
              <a:custGeom>
                <a:avLst/>
                <a:gdLst>
                  <a:gd name="connsiteX0" fmla="*/ 0 w 1000125"/>
                  <a:gd name="connsiteY0" fmla="*/ 0 h 828675"/>
                  <a:gd name="connsiteX1" fmla="*/ 71438 w 1000125"/>
                  <a:gd name="connsiteY1" fmla="*/ 180975 h 828675"/>
                  <a:gd name="connsiteX2" fmla="*/ 214313 w 1000125"/>
                  <a:gd name="connsiteY2" fmla="*/ 466725 h 828675"/>
                  <a:gd name="connsiteX3" fmla="*/ 428625 w 1000125"/>
                  <a:gd name="connsiteY3" fmla="*/ 604837 h 828675"/>
                  <a:gd name="connsiteX4" fmla="*/ 633413 w 1000125"/>
                  <a:gd name="connsiteY4" fmla="*/ 742950 h 828675"/>
                  <a:gd name="connsiteX5" fmla="*/ 1000125 w 1000125"/>
                  <a:gd name="connsiteY5" fmla="*/ 828675 h 828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0125" h="828675">
                    <a:moveTo>
                      <a:pt x="0" y="0"/>
                    </a:moveTo>
                    <a:cubicBezTo>
                      <a:pt x="17859" y="51594"/>
                      <a:pt x="35719" y="103188"/>
                      <a:pt x="71438" y="180975"/>
                    </a:cubicBezTo>
                    <a:cubicBezTo>
                      <a:pt x="107157" y="258763"/>
                      <a:pt x="154782" y="396081"/>
                      <a:pt x="214313" y="466725"/>
                    </a:cubicBezTo>
                    <a:cubicBezTo>
                      <a:pt x="273844" y="537369"/>
                      <a:pt x="358775" y="558800"/>
                      <a:pt x="428625" y="604837"/>
                    </a:cubicBezTo>
                    <a:cubicBezTo>
                      <a:pt x="498475" y="650874"/>
                      <a:pt x="538163" y="705644"/>
                      <a:pt x="633413" y="742950"/>
                    </a:cubicBezTo>
                    <a:cubicBezTo>
                      <a:pt x="728663" y="780256"/>
                      <a:pt x="864394" y="804465"/>
                      <a:pt x="1000125" y="828675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49" name="Блок-схема: узел 48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682675" y="2125413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57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7864" y="1707654"/>
                <a:ext cx="720080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Петропавловск</a:t>
                </a:r>
              </a:p>
            </p:txBody>
          </p:sp>
          <p:sp>
            <p:nvSpPr>
              <p:cNvPr id="58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9912" y="2251331"/>
                <a:ext cx="504056" cy="117012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стана</a:t>
                </a:r>
              </a:p>
            </p:txBody>
          </p:sp>
          <p:sp>
            <p:nvSpPr>
              <p:cNvPr id="59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59832" y="1963299"/>
                <a:ext cx="576064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Қостанай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60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8459" y="2759385"/>
                <a:ext cx="402827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лматы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62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8553" y="987574"/>
                <a:ext cx="432048" cy="14401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МӘСКЕУ</a:t>
                </a:r>
              </a:p>
            </p:txBody>
          </p:sp>
          <p:sp>
            <p:nvSpPr>
              <p:cNvPr id="63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3648" y="483518"/>
                <a:ext cx="864096" cy="14401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Санкт-Петербург</a:t>
                </a:r>
              </a:p>
            </p:txBody>
          </p:sp>
          <p:sp>
            <p:nvSpPr>
              <p:cNvPr id="8" name="Блок-схема: узел 7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788024" y="2715766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5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9912" y="3363838"/>
                <a:ext cx="504056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ТАШКЕНТ</a:t>
                </a:r>
              </a:p>
            </p:txBody>
          </p:sp>
          <p:sp>
            <p:nvSpPr>
              <p:cNvPr id="73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5696" y="2211710"/>
                <a:ext cx="414522" cy="97182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Орал</a:t>
                </a:r>
              </a:p>
            </p:txBody>
          </p:sp>
          <p:sp>
            <p:nvSpPr>
              <p:cNvPr id="74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812" y="3003798"/>
                <a:ext cx="331153" cy="8468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қтау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75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7744" y="2571750"/>
                <a:ext cx="414522" cy="97182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тырау</a:t>
                </a:r>
              </a:p>
            </p:txBody>
          </p:sp>
          <p:sp>
            <p:nvSpPr>
              <p:cNvPr id="82" name="Полилиния 81"/>
              <p:cNvSpPr/>
              <p:nvPr/>
            </p:nvSpPr>
            <p:spPr>
              <a:xfrm>
                <a:off x="4918941" y="2844800"/>
                <a:ext cx="1122218" cy="474518"/>
              </a:xfrm>
              <a:custGeom>
                <a:avLst/>
                <a:gdLst>
                  <a:gd name="connsiteX0" fmla="*/ 0 w 1122218"/>
                  <a:gd name="connsiteY0" fmla="*/ 0 h 474518"/>
                  <a:gd name="connsiteX1" fmla="*/ 301336 w 1122218"/>
                  <a:gd name="connsiteY1" fmla="*/ 228600 h 474518"/>
                  <a:gd name="connsiteX2" fmla="*/ 800100 w 1122218"/>
                  <a:gd name="connsiteY2" fmla="*/ 436418 h 474518"/>
                  <a:gd name="connsiteX3" fmla="*/ 1122218 w 1122218"/>
                  <a:gd name="connsiteY3" fmla="*/ 457200 h 474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22218" h="474518">
                    <a:moveTo>
                      <a:pt x="0" y="0"/>
                    </a:moveTo>
                    <a:cubicBezTo>
                      <a:pt x="83993" y="77932"/>
                      <a:pt x="167986" y="155864"/>
                      <a:pt x="301336" y="228600"/>
                    </a:cubicBezTo>
                    <a:cubicBezTo>
                      <a:pt x="434686" y="301336"/>
                      <a:pt x="663286" y="398318"/>
                      <a:pt x="800100" y="436418"/>
                    </a:cubicBezTo>
                    <a:cubicBezTo>
                      <a:pt x="936914" y="474518"/>
                      <a:pt x="1029566" y="465859"/>
                      <a:pt x="1122218" y="457200"/>
                    </a:cubicBezTo>
                  </a:path>
                </a:pathLst>
              </a:custGeom>
              <a:ln w="88900">
                <a:solidFill>
                  <a:srgbClr val="00863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83" name="Полилиния 82"/>
              <p:cNvSpPr/>
              <p:nvPr/>
            </p:nvSpPr>
            <p:spPr>
              <a:xfrm>
                <a:off x="2123728" y="1126705"/>
                <a:ext cx="3528392" cy="652957"/>
              </a:xfrm>
              <a:custGeom>
                <a:avLst/>
                <a:gdLst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84500 w 3810000"/>
                  <a:gd name="connsiteY3" fmla="*/ 234950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317500 w 3810000"/>
                  <a:gd name="connsiteY14" fmla="*/ 450850 h 626533"/>
                  <a:gd name="connsiteX15" fmla="*/ 190500 w 3810000"/>
                  <a:gd name="connsiteY15" fmla="*/ 425450 h 626533"/>
                  <a:gd name="connsiteX16" fmla="*/ 0 w 3810000"/>
                  <a:gd name="connsiteY16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317500 w 3810000"/>
                  <a:gd name="connsiteY14" fmla="*/ 450850 h 626533"/>
                  <a:gd name="connsiteX15" fmla="*/ 190500 w 3810000"/>
                  <a:gd name="connsiteY15" fmla="*/ 425450 h 626533"/>
                  <a:gd name="connsiteX16" fmla="*/ 0 w 3810000"/>
                  <a:gd name="connsiteY16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317500 w 3810000"/>
                  <a:gd name="connsiteY14" fmla="*/ 450850 h 626533"/>
                  <a:gd name="connsiteX15" fmla="*/ 0 w 3810000"/>
                  <a:gd name="connsiteY15" fmla="*/ 577850 h 626533"/>
                  <a:gd name="connsiteX0" fmla="*/ 3828612 w 3828612"/>
                  <a:gd name="connsiteY0" fmla="*/ 285750 h 626533"/>
                  <a:gd name="connsiteX1" fmla="*/ 3650812 w 3828612"/>
                  <a:gd name="connsiteY1" fmla="*/ 336550 h 626533"/>
                  <a:gd name="connsiteX2" fmla="*/ 3422212 w 3828612"/>
                  <a:gd name="connsiteY2" fmla="*/ 361950 h 626533"/>
                  <a:gd name="connsiteX3" fmla="*/ 2986344 w 3828612"/>
                  <a:gd name="connsiteY3" fmla="*/ 346596 h 626533"/>
                  <a:gd name="connsiteX4" fmla="*/ 2825312 w 3828612"/>
                  <a:gd name="connsiteY4" fmla="*/ 184150 h 626533"/>
                  <a:gd name="connsiteX5" fmla="*/ 2431612 w 3828612"/>
                  <a:gd name="connsiteY5" fmla="*/ 158750 h 626533"/>
                  <a:gd name="connsiteX6" fmla="*/ 2228412 w 3828612"/>
                  <a:gd name="connsiteY6" fmla="*/ 107950 h 626533"/>
                  <a:gd name="connsiteX7" fmla="*/ 2076012 w 3828612"/>
                  <a:gd name="connsiteY7" fmla="*/ 6350 h 626533"/>
                  <a:gd name="connsiteX8" fmla="*/ 1745812 w 3828612"/>
                  <a:gd name="connsiteY8" fmla="*/ 69850 h 626533"/>
                  <a:gd name="connsiteX9" fmla="*/ 1390212 w 3828612"/>
                  <a:gd name="connsiteY9" fmla="*/ 44450 h 626533"/>
                  <a:gd name="connsiteX10" fmla="*/ 1072712 w 3828612"/>
                  <a:gd name="connsiteY10" fmla="*/ 196850 h 626533"/>
                  <a:gd name="connsiteX11" fmla="*/ 983812 w 3828612"/>
                  <a:gd name="connsiteY11" fmla="*/ 298450 h 626533"/>
                  <a:gd name="connsiteX12" fmla="*/ 882212 w 3828612"/>
                  <a:gd name="connsiteY12" fmla="*/ 590550 h 626533"/>
                  <a:gd name="connsiteX13" fmla="*/ 526612 w 3828612"/>
                  <a:gd name="connsiteY13" fmla="*/ 514350 h 626533"/>
                  <a:gd name="connsiteX14" fmla="*/ 336112 w 3828612"/>
                  <a:gd name="connsiteY14" fmla="*/ 450850 h 626533"/>
                  <a:gd name="connsiteX15" fmla="*/ 52917 w 3828612"/>
                  <a:gd name="connsiteY15" fmla="*/ 551846 h 626533"/>
                  <a:gd name="connsiteX16" fmla="*/ 18612 w 3828612"/>
                  <a:gd name="connsiteY16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317500 w 3810000"/>
                  <a:gd name="connsiteY14" fmla="*/ 450850 h 626533"/>
                  <a:gd name="connsiteX15" fmla="*/ 0 w 3810000"/>
                  <a:gd name="connsiteY15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0 w 3810000"/>
                  <a:gd name="connsiteY14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137592 w 3810000"/>
                  <a:gd name="connsiteY14" fmla="*/ 554525 h 626533"/>
                  <a:gd name="connsiteX15" fmla="*/ 0 w 3810000"/>
                  <a:gd name="connsiteY15" fmla="*/ 577850 h 626533"/>
                  <a:gd name="connsiteX0" fmla="*/ 3810000 w 3810000"/>
                  <a:gd name="connsiteY0" fmla="*/ 285750 h 626533"/>
                  <a:gd name="connsiteX1" fmla="*/ 3632200 w 3810000"/>
                  <a:gd name="connsiteY1" fmla="*/ 336550 h 626533"/>
                  <a:gd name="connsiteX2" fmla="*/ 3403600 w 3810000"/>
                  <a:gd name="connsiteY2" fmla="*/ 361950 h 626533"/>
                  <a:gd name="connsiteX3" fmla="*/ 2967732 w 3810000"/>
                  <a:gd name="connsiteY3" fmla="*/ 346596 h 626533"/>
                  <a:gd name="connsiteX4" fmla="*/ 2806700 w 3810000"/>
                  <a:gd name="connsiteY4" fmla="*/ 184150 h 626533"/>
                  <a:gd name="connsiteX5" fmla="*/ 2413000 w 3810000"/>
                  <a:gd name="connsiteY5" fmla="*/ 158750 h 626533"/>
                  <a:gd name="connsiteX6" fmla="*/ 2209800 w 3810000"/>
                  <a:gd name="connsiteY6" fmla="*/ 107950 h 626533"/>
                  <a:gd name="connsiteX7" fmla="*/ 2057400 w 3810000"/>
                  <a:gd name="connsiteY7" fmla="*/ 6350 h 626533"/>
                  <a:gd name="connsiteX8" fmla="*/ 1727200 w 3810000"/>
                  <a:gd name="connsiteY8" fmla="*/ 69850 h 626533"/>
                  <a:gd name="connsiteX9" fmla="*/ 1371600 w 3810000"/>
                  <a:gd name="connsiteY9" fmla="*/ 44450 h 626533"/>
                  <a:gd name="connsiteX10" fmla="*/ 1054100 w 3810000"/>
                  <a:gd name="connsiteY10" fmla="*/ 196850 h 626533"/>
                  <a:gd name="connsiteX11" fmla="*/ 965200 w 3810000"/>
                  <a:gd name="connsiteY11" fmla="*/ 298450 h 626533"/>
                  <a:gd name="connsiteX12" fmla="*/ 863600 w 3810000"/>
                  <a:gd name="connsiteY12" fmla="*/ 590550 h 626533"/>
                  <a:gd name="connsiteX13" fmla="*/ 508000 w 3810000"/>
                  <a:gd name="connsiteY13" fmla="*/ 514350 h 626533"/>
                  <a:gd name="connsiteX14" fmla="*/ 281608 w 3810000"/>
                  <a:gd name="connsiteY14" fmla="*/ 482517 h 626533"/>
                  <a:gd name="connsiteX15" fmla="*/ 0 w 3810000"/>
                  <a:gd name="connsiteY15" fmla="*/ 577850 h 626533"/>
                  <a:gd name="connsiteX0" fmla="*/ 3528392 w 3528392"/>
                  <a:gd name="connsiteY0" fmla="*/ 285750 h 626533"/>
                  <a:gd name="connsiteX1" fmla="*/ 3350592 w 3528392"/>
                  <a:gd name="connsiteY1" fmla="*/ 336550 h 626533"/>
                  <a:gd name="connsiteX2" fmla="*/ 3121992 w 3528392"/>
                  <a:gd name="connsiteY2" fmla="*/ 361950 h 626533"/>
                  <a:gd name="connsiteX3" fmla="*/ 2686124 w 3528392"/>
                  <a:gd name="connsiteY3" fmla="*/ 346596 h 626533"/>
                  <a:gd name="connsiteX4" fmla="*/ 2525092 w 3528392"/>
                  <a:gd name="connsiteY4" fmla="*/ 184150 h 626533"/>
                  <a:gd name="connsiteX5" fmla="*/ 2131392 w 3528392"/>
                  <a:gd name="connsiteY5" fmla="*/ 158750 h 626533"/>
                  <a:gd name="connsiteX6" fmla="*/ 1928192 w 3528392"/>
                  <a:gd name="connsiteY6" fmla="*/ 107950 h 626533"/>
                  <a:gd name="connsiteX7" fmla="*/ 1775792 w 3528392"/>
                  <a:gd name="connsiteY7" fmla="*/ 6350 h 626533"/>
                  <a:gd name="connsiteX8" fmla="*/ 1445592 w 3528392"/>
                  <a:gd name="connsiteY8" fmla="*/ 69850 h 626533"/>
                  <a:gd name="connsiteX9" fmla="*/ 1089992 w 3528392"/>
                  <a:gd name="connsiteY9" fmla="*/ 44450 h 626533"/>
                  <a:gd name="connsiteX10" fmla="*/ 772492 w 3528392"/>
                  <a:gd name="connsiteY10" fmla="*/ 196850 h 626533"/>
                  <a:gd name="connsiteX11" fmla="*/ 683592 w 3528392"/>
                  <a:gd name="connsiteY11" fmla="*/ 298450 h 626533"/>
                  <a:gd name="connsiteX12" fmla="*/ 581992 w 3528392"/>
                  <a:gd name="connsiteY12" fmla="*/ 590550 h 626533"/>
                  <a:gd name="connsiteX13" fmla="*/ 226392 w 3528392"/>
                  <a:gd name="connsiteY13" fmla="*/ 514350 h 626533"/>
                  <a:gd name="connsiteX14" fmla="*/ 0 w 3528392"/>
                  <a:gd name="connsiteY14" fmla="*/ 482517 h 626533"/>
                  <a:gd name="connsiteX15" fmla="*/ 0 w 3528392"/>
                  <a:gd name="connsiteY15" fmla="*/ 482517 h 626533"/>
                  <a:gd name="connsiteX0" fmla="*/ 3528392 w 3528392"/>
                  <a:gd name="connsiteY0" fmla="*/ 312174 h 652957"/>
                  <a:gd name="connsiteX1" fmla="*/ 3350592 w 3528392"/>
                  <a:gd name="connsiteY1" fmla="*/ 362974 h 652957"/>
                  <a:gd name="connsiteX2" fmla="*/ 3121992 w 3528392"/>
                  <a:gd name="connsiteY2" fmla="*/ 388374 h 652957"/>
                  <a:gd name="connsiteX3" fmla="*/ 2686124 w 3528392"/>
                  <a:gd name="connsiteY3" fmla="*/ 373020 h 652957"/>
                  <a:gd name="connsiteX4" fmla="*/ 2525092 w 3528392"/>
                  <a:gd name="connsiteY4" fmla="*/ 210574 h 652957"/>
                  <a:gd name="connsiteX5" fmla="*/ 2131392 w 3528392"/>
                  <a:gd name="connsiteY5" fmla="*/ 185174 h 652957"/>
                  <a:gd name="connsiteX6" fmla="*/ 1872208 w 3528392"/>
                  <a:gd name="connsiteY6" fmla="*/ 292917 h 652957"/>
                  <a:gd name="connsiteX7" fmla="*/ 1775792 w 3528392"/>
                  <a:gd name="connsiteY7" fmla="*/ 32774 h 652957"/>
                  <a:gd name="connsiteX8" fmla="*/ 1445592 w 3528392"/>
                  <a:gd name="connsiteY8" fmla="*/ 96274 h 652957"/>
                  <a:gd name="connsiteX9" fmla="*/ 1089992 w 3528392"/>
                  <a:gd name="connsiteY9" fmla="*/ 70874 h 652957"/>
                  <a:gd name="connsiteX10" fmla="*/ 772492 w 3528392"/>
                  <a:gd name="connsiteY10" fmla="*/ 223274 h 652957"/>
                  <a:gd name="connsiteX11" fmla="*/ 683592 w 3528392"/>
                  <a:gd name="connsiteY11" fmla="*/ 324874 h 652957"/>
                  <a:gd name="connsiteX12" fmla="*/ 581992 w 3528392"/>
                  <a:gd name="connsiteY12" fmla="*/ 616974 h 652957"/>
                  <a:gd name="connsiteX13" fmla="*/ 226392 w 3528392"/>
                  <a:gd name="connsiteY13" fmla="*/ 540774 h 652957"/>
                  <a:gd name="connsiteX14" fmla="*/ 0 w 3528392"/>
                  <a:gd name="connsiteY14" fmla="*/ 508941 h 652957"/>
                  <a:gd name="connsiteX15" fmla="*/ 0 w 3528392"/>
                  <a:gd name="connsiteY15" fmla="*/ 508941 h 652957"/>
                  <a:gd name="connsiteX0" fmla="*/ 3528392 w 3528392"/>
                  <a:gd name="connsiteY0" fmla="*/ 312174 h 652957"/>
                  <a:gd name="connsiteX1" fmla="*/ 3350592 w 3528392"/>
                  <a:gd name="connsiteY1" fmla="*/ 362974 h 652957"/>
                  <a:gd name="connsiteX2" fmla="*/ 3121992 w 3528392"/>
                  <a:gd name="connsiteY2" fmla="*/ 388374 h 652957"/>
                  <a:gd name="connsiteX3" fmla="*/ 2686124 w 3528392"/>
                  <a:gd name="connsiteY3" fmla="*/ 373020 h 652957"/>
                  <a:gd name="connsiteX4" fmla="*/ 2525092 w 3528392"/>
                  <a:gd name="connsiteY4" fmla="*/ 210574 h 652957"/>
                  <a:gd name="connsiteX5" fmla="*/ 2088232 w 3528392"/>
                  <a:gd name="connsiteY5" fmla="*/ 220909 h 652957"/>
                  <a:gd name="connsiteX6" fmla="*/ 1872208 w 3528392"/>
                  <a:gd name="connsiteY6" fmla="*/ 292917 h 652957"/>
                  <a:gd name="connsiteX7" fmla="*/ 1775792 w 3528392"/>
                  <a:gd name="connsiteY7" fmla="*/ 32774 h 652957"/>
                  <a:gd name="connsiteX8" fmla="*/ 1445592 w 3528392"/>
                  <a:gd name="connsiteY8" fmla="*/ 96274 h 652957"/>
                  <a:gd name="connsiteX9" fmla="*/ 1089992 w 3528392"/>
                  <a:gd name="connsiteY9" fmla="*/ 70874 h 652957"/>
                  <a:gd name="connsiteX10" fmla="*/ 772492 w 3528392"/>
                  <a:gd name="connsiteY10" fmla="*/ 223274 h 652957"/>
                  <a:gd name="connsiteX11" fmla="*/ 683592 w 3528392"/>
                  <a:gd name="connsiteY11" fmla="*/ 324874 h 652957"/>
                  <a:gd name="connsiteX12" fmla="*/ 581992 w 3528392"/>
                  <a:gd name="connsiteY12" fmla="*/ 616974 h 652957"/>
                  <a:gd name="connsiteX13" fmla="*/ 226392 w 3528392"/>
                  <a:gd name="connsiteY13" fmla="*/ 540774 h 652957"/>
                  <a:gd name="connsiteX14" fmla="*/ 0 w 3528392"/>
                  <a:gd name="connsiteY14" fmla="*/ 508941 h 652957"/>
                  <a:gd name="connsiteX15" fmla="*/ 0 w 3528392"/>
                  <a:gd name="connsiteY15" fmla="*/ 508941 h 652957"/>
                  <a:gd name="connsiteX0" fmla="*/ 3528392 w 3528392"/>
                  <a:gd name="connsiteY0" fmla="*/ 312174 h 652957"/>
                  <a:gd name="connsiteX1" fmla="*/ 3350592 w 3528392"/>
                  <a:gd name="connsiteY1" fmla="*/ 362974 h 652957"/>
                  <a:gd name="connsiteX2" fmla="*/ 3121992 w 3528392"/>
                  <a:gd name="connsiteY2" fmla="*/ 388374 h 652957"/>
                  <a:gd name="connsiteX3" fmla="*/ 2686124 w 3528392"/>
                  <a:gd name="connsiteY3" fmla="*/ 373020 h 652957"/>
                  <a:gd name="connsiteX4" fmla="*/ 2525092 w 3528392"/>
                  <a:gd name="connsiteY4" fmla="*/ 210574 h 652957"/>
                  <a:gd name="connsiteX5" fmla="*/ 2088232 w 3528392"/>
                  <a:gd name="connsiteY5" fmla="*/ 292917 h 652957"/>
                  <a:gd name="connsiteX6" fmla="*/ 1872208 w 3528392"/>
                  <a:gd name="connsiteY6" fmla="*/ 292917 h 652957"/>
                  <a:gd name="connsiteX7" fmla="*/ 1775792 w 3528392"/>
                  <a:gd name="connsiteY7" fmla="*/ 32774 h 652957"/>
                  <a:gd name="connsiteX8" fmla="*/ 1445592 w 3528392"/>
                  <a:gd name="connsiteY8" fmla="*/ 96274 h 652957"/>
                  <a:gd name="connsiteX9" fmla="*/ 1089992 w 3528392"/>
                  <a:gd name="connsiteY9" fmla="*/ 70874 h 652957"/>
                  <a:gd name="connsiteX10" fmla="*/ 772492 w 3528392"/>
                  <a:gd name="connsiteY10" fmla="*/ 223274 h 652957"/>
                  <a:gd name="connsiteX11" fmla="*/ 683592 w 3528392"/>
                  <a:gd name="connsiteY11" fmla="*/ 324874 h 652957"/>
                  <a:gd name="connsiteX12" fmla="*/ 581992 w 3528392"/>
                  <a:gd name="connsiteY12" fmla="*/ 616974 h 652957"/>
                  <a:gd name="connsiteX13" fmla="*/ 226392 w 3528392"/>
                  <a:gd name="connsiteY13" fmla="*/ 540774 h 652957"/>
                  <a:gd name="connsiteX14" fmla="*/ 0 w 3528392"/>
                  <a:gd name="connsiteY14" fmla="*/ 508941 h 652957"/>
                  <a:gd name="connsiteX15" fmla="*/ 0 w 3528392"/>
                  <a:gd name="connsiteY15" fmla="*/ 508941 h 652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528392" h="652957">
                    <a:moveTo>
                      <a:pt x="3528392" y="312174"/>
                    </a:moveTo>
                    <a:cubicBezTo>
                      <a:pt x="3473358" y="331224"/>
                      <a:pt x="3418325" y="350274"/>
                      <a:pt x="3350592" y="362974"/>
                    </a:cubicBezTo>
                    <a:cubicBezTo>
                      <a:pt x="3282859" y="375674"/>
                      <a:pt x="3232737" y="386700"/>
                      <a:pt x="3121992" y="388374"/>
                    </a:cubicBezTo>
                    <a:cubicBezTo>
                      <a:pt x="3011247" y="390048"/>
                      <a:pt x="2785607" y="402653"/>
                      <a:pt x="2686124" y="373020"/>
                    </a:cubicBezTo>
                    <a:cubicBezTo>
                      <a:pt x="2586641" y="343387"/>
                      <a:pt x="2624741" y="223925"/>
                      <a:pt x="2525092" y="210574"/>
                    </a:cubicBezTo>
                    <a:cubicBezTo>
                      <a:pt x="2425443" y="197223"/>
                      <a:pt x="2197046" y="279193"/>
                      <a:pt x="2088232" y="292917"/>
                    </a:cubicBezTo>
                    <a:cubicBezTo>
                      <a:pt x="1979418" y="306641"/>
                      <a:pt x="1924281" y="336274"/>
                      <a:pt x="1872208" y="292917"/>
                    </a:cubicBezTo>
                    <a:cubicBezTo>
                      <a:pt x="1820135" y="249560"/>
                      <a:pt x="1846895" y="65548"/>
                      <a:pt x="1775792" y="32774"/>
                    </a:cubicBezTo>
                    <a:cubicBezTo>
                      <a:pt x="1704689" y="0"/>
                      <a:pt x="1559892" y="89924"/>
                      <a:pt x="1445592" y="96274"/>
                    </a:cubicBezTo>
                    <a:cubicBezTo>
                      <a:pt x="1331292" y="102624"/>
                      <a:pt x="1202175" y="49707"/>
                      <a:pt x="1089992" y="70874"/>
                    </a:cubicBezTo>
                    <a:cubicBezTo>
                      <a:pt x="977809" y="92041"/>
                      <a:pt x="840225" y="180941"/>
                      <a:pt x="772492" y="223274"/>
                    </a:cubicBezTo>
                    <a:cubicBezTo>
                      <a:pt x="704759" y="265607"/>
                      <a:pt x="715342" y="259257"/>
                      <a:pt x="683592" y="324874"/>
                    </a:cubicBezTo>
                    <a:cubicBezTo>
                      <a:pt x="651842" y="390491"/>
                      <a:pt x="658192" y="580991"/>
                      <a:pt x="581992" y="616974"/>
                    </a:cubicBezTo>
                    <a:cubicBezTo>
                      <a:pt x="505792" y="652957"/>
                      <a:pt x="323391" y="558779"/>
                      <a:pt x="226392" y="540774"/>
                    </a:cubicBezTo>
                    <a:cubicBezTo>
                      <a:pt x="129393" y="522769"/>
                      <a:pt x="37732" y="514247"/>
                      <a:pt x="0" y="508941"/>
                    </a:cubicBezTo>
                    <a:lnTo>
                      <a:pt x="0" y="508941"/>
                    </a:lnTo>
                  </a:path>
                </a:pathLst>
              </a:custGeom>
              <a:ln w="82550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53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5097" y="1314378"/>
                <a:ext cx="401597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Курган</a:t>
                </a:r>
              </a:p>
            </p:txBody>
          </p:sp>
          <p:sp>
            <p:nvSpPr>
              <p:cNvPr id="55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67944" y="1275606"/>
                <a:ext cx="329589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Омбы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67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3728" y="1419622"/>
                <a:ext cx="414522" cy="97182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Самара</a:t>
                </a:r>
              </a:p>
            </p:txBody>
          </p:sp>
          <p:sp>
            <p:nvSpPr>
              <p:cNvPr id="70" name="AutoShape 19">
                <a:extLst>
                  <a:ext uri="{FF2B5EF4-FFF2-40B4-BE49-F238E27FC236}">
                    <a16:creationId xmlns:a16="http://schemas.microsoft.com/office/drawing/2014/main" id="{DF661D69-BBBC-40FE-9967-7209C2F5B7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17165" y="1569088"/>
                <a:ext cx="397330" cy="9276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Барнаул</a:t>
                </a:r>
              </a:p>
            </p:txBody>
          </p:sp>
          <p:sp>
            <p:nvSpPr>
              <p:cNvPr id="72" name="AutoShape 19">
                <a:extLst>
                  <a:ext uri="{FF2B5EF4-FFF2-40B4-BE49-F238E27FC236}">
                    <a16:creationId xmlns:a16="http://schemas.microsoft.com/office/drawing/2014/main" id="{A5042AB9-1734-493A-BD41-1CA7C60BF8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656" y="1563638"/>
                <a:ext cx="489150" cy="9821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Саратов</a:t>
                </a:r>
              </a:p>
            </p:txBody>
          </p:sp>
          <p:sp>
            <p:nvSpPr>
              <p:cNvPr id="85" name="Блок-схема: узел 84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788024" y="1491630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87" name="Полилиния 86"/>
              <p:cNvSpPr/>
              <p:nvPr/>
            </p:nvSpPr>
            <p:spPr>
              <a:xfrm>
                <a:off x="2179502" y="1635645"/>
                <a:ext cx="129878" cy="344769"/>
              </a:xfrm>
              <a:custGeom>
                <a:avLst/>
                <a:gdLst>
                  <a:gd name="connsiteX0" fmla="*/ 14685 w 51991"/>
                  <a:gd name="connsiteY0" fmla="*/ 0 h 311944"/>
                  <a:gd name="connsiteX1" fmla="*/ 45641 w 51991"/>
                  <a:gd name="connsiteY1" fmla="*/ 76200 h 311944"/>
                  <a:gd name="connsiteX2" fmla="*/ 45641 w 51991"/>
                  <a:gd name="connsiteY2" fmla="*/ 138113 h 311944"/>
                  <a:gd name="connsiteX3" fmla="*/ 7541 w 51991"/>
                  <a:gd name="connsiteY3" fmla="*/ 240506 h 311944"/>
                  <a:gd name="connsiteX4" fmla="*/ 397 w 51991"/>
                  <a:gd name="connsiteY4" fmla="*/ 311944 h 311944"/>
                  <a:gd name="connsiteX0" fmla="*/ 71611 w 118802"/>
                  <a:gd name="connsiteY0" fmla="*/ 0 h 311944"/>
                  <a:gd name="connsiteX1" fmla="*/ 5159 w 118802"/>
                  <a:gd name="connsiteY1" fmla="*/ 39183 h 311944"/>
                  <a:gd name="connsiteX2" fmla="*/ 102567 w 118802"/>
                  <a:gd name="connsiteY2" fmla="*/ 76200 h 311944"/>
                  <a:gd name="connsiteX3" fmla="*/ 102567 w 118802"/>
                  <a:gd name="connsiteY3" fmla="*/ 138113 h 311944"/>
                  <a:gd name="connsiteX4" fmla="*/ 64467 w 118802"/>
                  <a:gd name="connsiteY4" fmla="*/ 240506 h 311944"/>
                  <a:gd name="connsiteX5" fmla="*/ 57323 w 118802"/>
                  <a:gd name="connsiteY5" fmla="*/ 311944 h 311944"/>
                  <a:gd name="connsiteX0" fmla="*/ 16234 w 129878"/>
                  <a:gd name="connsiteY0" fmla="*/ 0 h 344769"/>
                  <a:gd name="connsiteX1" fmla="*/ 16235 w 129878"/>
                  <a:gd name="connsiteY1" fmla="*/ 72008 h 344769"/>
                  <a:gd name="connsiteX2" fmla="*/ 113643 w 129878"/>
                  <a:gd name="connsiteY2" fmla="*/ 109025 h 344769"/>
                  <a:gd name="connsiteX3" fmla="*/ 113643 w 129878"/>
                  <a:gd name="connsiteY3" fmla="*/ 170938 h 344769"/>
                  <a:gd name="connsiteX4" fmla="*/ 75543 w 129878"/>
                  <a:gd name="connsiteY4" fmla="*/ 273331 h 344769"/>
                  <a:gd name="connsiteX5" fmla="*/ 68399 w 129878"/>
                  <a:gd name="connsiteY5" fmla="*/ 344769 h 344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9878" h="344769">
                    <a:moveTo>
                      <a:pt x="16234" y="0"/>
                    </a:moveTo>
                    <a:cubicBezTo>
                      <a:pt x="16234" y="131"/>
                      <a:pt x="0" y="53837"/>
                      <a:pt x="16235" y="72008"/>
                    </a:cubicBezTo>
                    <a:cubicBezTo>
                      <a:pt x="32470" y="90179"/>
                      <a:pt x="97408" y="92537"/>
                      <a:pt x="113643" y="109025"/>
                    </a:cubicBezTo>
                    <a:cubicBezTo>
                      <a:pt x="129878" y="125513"/>
                      <a:pt x="119993" y="143554"/>
                      <a:pt x="113643" y="170938"/>
                    </a:cubicBezTo>
                    <a:cubicBezTo>
                      <a:pt x="107293" y="198322"/>
                      <a:pt x="83084" y="244359"/>
                      <a:pt x="75543" y="273331"/>
                    </a:cubicBezTo>
                    <a:cubicBezTo>
                      <a:pt x="68002" y="302303"/>
                      <a:pt x="68200" y="323536"/>
                      <a:pt x="68399" y="344769"/>
                    </a:cubicBezTo>
                  </a:path>
                </a:pathLst>
              </a:custGeom>
              <a:ln w="63500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88" name="Полилиния 87"/>
              <p:cNvSpPr/>
              <p:nvPr/>
            </p:nvSpPr>
            <p:spPr>
              <a:xfrm>
                <a:off x="2235787" y="2000580"/>
                <a:ext cx="48010" cy="113640"/>
              </a:xfrm>
              <a:custGeom>
                <a:avLst/>
                <a:gdLst>
                  <a:gd name="connsiteX0" fmla="*/ 0 w 48010"/>
                  <a:gd name="connsiteY0" fmla="*/ 113640 h 113640"/>
                  <a:gd name="connsiteX1" fmla="*/ 44927 w 48010"/>
                  <a:gd name="connsiteY1" fmla="*/ 66070 h 113640"/>
                  <a:gd name="connsiteX2" fmla="*/ 18500 w 48010"/>
                  <a:gd name="connsiteY2" fmla="*/ 0 h 113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010" h="113640">
                    <a:moveTo>
                      <a:pt x="0" y="113640"/>
                    </a:moveTo>
                    <a:cubicBezTo>
                      <a:pt x="20922" y="99325"/>
                      <a:pt x="41844" y="85010"/>
                      <a:pt x="44927" y="66070"/>
                    </a:cubicBezTo>
                    <a:cubicBezTo>
                      <a:pt x="48010" y="47130"/>
                      <a:pt x="33255" y="23565"/>
                      <a:pt x="18500" y="0"/>
                    </a:cubicBezTo>
                  </a:path>
                </a:pathLst>
              </a:custGeom>
              <a:ln w="76200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89" name="Полилиния 88"/>
              <p:cNvSpPr/>
              <p:nvPr/>
            </p:nvSpPr>
            <p:spPr>
              <a:xfrm>
                <a:off x="2229644" y="2014736"/>
                <a:ext cx="48010" cy="113640"/>
              </a:xfrm>
              <a:custGeom>
                <a:avLst/>
                <a:gdLst>
                  <a:gd name="connsiteX0" fmla="*/ 0 w 48010"/>
                  <a:gd name="connsiteY0" fmla="*/ 113640 h 113640"/>
                  <a:gd name="connsiteX1" fmla="*/ 44927 w 48010"/>
                  <a:gd name="connsiteY1" fmla="*/ 66070 h 113640"/>
                  <a:gd name="connsiteX2" fmla="*/ 18500 w 48010"/>
                  <a:gd name="connsiteY2" fmla="*/ 0 h 113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010" h="113640">
                    <a:moveTo>
                      <a:pt x="0" y="113640"/>
                    </a:moveTo>
                    <a:cubicBezTo>
                      <a:pt x="20922" y="99325"/>
                      <a:pt x="41844" y="85010"/>
                      <a:pt x="44927" y="66070"/>
                    </a:cubicBezTo>
                    <a:cubicBezTo>
                      <a:pt x="48010" y="47130"/>
                      <a:pt x="33255" y="23565"/>
                      <a:pt x="18500" y="0"/>
                    </a:cubicBezTo>
                  </a:path>
                </a:pathLst>
              </a:cu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90" name="Полилиния 89"/>
              <p:cNvSpPr/>
              <p:nvPr/>
            </p:nvSpPr>
            <p:spPr>
              <a:xfrm>
                <a:off x="230187" y="1235915"/>
                <a:ext cx="2027238" cy="775449"/>
              </a:xfrm>
              <a:custGeom>
                <a:avLst/>
                <a:gdLst>
                  <a:gd name="connsiteX0" fmla="*/ 1995487 w 1995487"/>
                  <a:gd name="connsiteY0" fmla="*/ 864394 h 889794"/>
                  <a:gd name="connsiteX1" fmla="*/ 1838325 w 1995487"/>
                  <a:gd name="connsiteY1" fmla="*/ 854869 h 889794"/>
                  <a:gd name="connsiteX2" fmla="*/ 1590675 w 1995487"/>
                  <a:gd name="connsiteY2" fmla="*/ 654844 h 889794"/>
                  <a:gd name="connsiteX3" fmla="*/ 1385887 w 1995487"/>
                  <a:gd name="connsiteY3" fmla="*/ 621506 h 889794"/>
                  <a:gd name="connsiteX4" fmla="*/ 1171575 w 1995487"/>
                  <a:gd name="connsiteY4" fmla="*/ 488156 h 889794"/>
                  <a:gd name="connsiteX5" fmla="*/ 895350 w 1995487"/>
                  <a:gd name="connsiteY5" fmla="*/ 202406 h 889794"/>
                  <a:gd name="connsiteX6" fmla="*/ 657225 w 1995487"/>
                  <a:gd name="connsiteY6" fmla="*/ 7144 h 889794"/>
                  <a:gd name="connsiteX7" fmla="*/ 0 w 1995487"/>
                  <a:gd name="connsiteY7" fmla="*/ 159544 h 889794"/>
                  <a:gd name="connsiteX0" fmla="*/ 2027238 w 2027238"/>
                  <a:gd name="connsiteY0" fmla="*/ 916055 h 941455"/>
                  <a:gd name="connsiteX1" fmla="*/ 1870076 w 2027238"/>
                  <a:gd name="connsiteY1" fmla="*/ 906530 h 941455"/>
                  <a:gd name="connsiteX2" fmla="*/ 1622426 w 2027238"/>
                  <a:gd name="connsiteY2" fmla="*/ 706505 h 941455"/>
                  <a:gd name="connsiteX3" fmla="*/ 1417638 w 2027238"/>
                  <a:gd name="connsiteY3" fmla="*/ 673167 h 941455"/>
                  <a:gd name="connsiteX4" fmla="*/ 1203326 w 2027238"/>
                  <a:gd name="connsiteY4" fmla="*/ 539817 h 941455"/>
                  <a:gd name="connsiteX5" fmla="*/ 927101 w 2027238"/>
                  <a:gd name="connsiteY5" fmla="*/ 254067 h 941455"/>
                  <a:gd name="connsiteX6" fmla="*/ 688976 w 2027238"/>
                  <a:gd name="connsiteY6" fmla="*/ 58805 h 941455"/>
                  <a:gd name="connsiteX7" fmla="*/ 0 w 2027238"/>
                  <a:gd name="connsiteY7" fmla="*/ 606898 h 941455"/>
                  <a:gd name="connsiteX0" fmla="*/ 2027238 w 2027238"/>
                  <a:gd name="connsiteY0" fmla="*/ 750049 h 775449"/>
                  <a:gd name="connsiteX1" fmla="*/ 1870076 w 2027238"/>
                  <a:gd name="connsiteY1" fmla="*/ 740524 h 775449"/>
                  <a:gd name="connsiteX2" fmla="*/ 1622426 w 2027238"/>
                  <a:gd name="connsiteY2" fmla="*/ 540499 h 775449"/>
                  <a:gd name="connsiteX3" fmla="*/ 1417638 w 2027238"/>
                  <a:gd name="connsiteY3" fmla="*/ 507161 h 775449"/>
                  <a:gd name="connsiteX4" fmla="*/ 1203326 w 2027238"/>
                  <a:gd name="connsiteY4" fmla="*/ 373811 h 775449"/>
                  <a:gd name="connsiteX5" fmla="*/ 927101 w 2027238"/>
                  <a:gd name="connsiteY5" fmla="*/ 88061 h 775449"/>
                  <a:gd name="connsiteX6" fmla="*/ 633014 w 2027238"/>
                  <a:gd name="connsiteY6" fmla="*/ 58805 h 775449"/>
                  <a:gd name="connsiteX7" fmla="*/ 0 w 2027238"/>
                  <a:gd name="connsiteY7" fmla="*/ 440892 h 7754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27238" h="775449">
                    <a:moveTo>
                      <a:pt x="2027238" y="750049"/>
                    </a:moveTo>
                    <a:cubicBezTo>
                      <a:pt x="1982391" y="762749"/>
                      <a:pt x="1937545" y="775449"/>
                      <a:pt x="1870076" y="740524"/>
                    </a:cubicBezTo>
                    <a:cubicBezTo>
                      <a:pt x="1802607" y="705599"/>
                      <a:pt x="1697832" y="579393"/>
                      <a:pt x="1622426" y="540499"/>
                    </a:cubicBezTo>
                    <a:cubicBezTo>
                      <a:pt x="1547020" y="501605"/>
                      <a:pt x="1487488" y="534942"/>
                      <a:pt x="1417638" y="507161"/>
                    </a:cubicBezTo>
                    <a:cubicBezTo>
                      <a:pt x="1347788" y="479380"/>
                      <a:pt x="1285082" y="443661"/>
                      <a:pt x="1203326" y="373811"/>
                    </a:cubicBezTo>
                    <a:cubicBezTo>
                      <a:pt x="1121570" y="303961"/>
                      <a:pt x="1022153" y="140562"/>
                      <a:pt x="927101" y="88061"/>
                    </a:cubicBezTo>
                    <a:cubicBezTo>
                      <a:pt x="832049" y="35560"/>
                      <a:pt x="787531" y="0"/>
                      <a:pt x="633014" y="58805"/>
                    </a:cubicBezTo>
                    <a:cubicBezTo>
                      <a:pt x="478497" y="117610"/>
                      <a:pt x="254000" y="361120"/>
                      <a:pt x="0" y="440892"/>
                    </a:cubicBezTo>
                  </a:path>
                </a:pathLst>
              </a:custGeom>
              <a:ln w="82550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91" name="Блок-схема: узел 90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04307" y="1651630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92" name="AutoShape 19">
                <a:extLst>
                  <a:ext uri="{FF2B5EF4-FFF2-40B4-BE49-F238E27FC236}">
                    <a16:creationId xmlns:a16="http://schemas.microsoft.com/office/drawing/2014/main" id="{A5042AB9-1734-493A-BD41-1CA7C60BF8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0055" y="1723638"/>
                <a:ext cx="360040" cy="9821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Брест</a:t>
                </a:r>
              </a:p>
            </p:txBody>
          </p:sp>
          <p:sp>
            <p:nvSpPr>
              <p:cNvPr id="95" name="Полилиния 94"/>
              <p:cNvSpPr/>
              <p:nvPr/>
            </p:nvSpPr>
            <p:spPr>
              <a:xfrm>
                <a:off x="1267923" y="492892"/>
                <a:ext cx="1465079" cy="1587453"/>
              </a:xfrm>
              <a:custGeom>
                <a:avLst/>
                <a:gdLst>
                  <a:gd name="connsiteX0" fmla="*/ 1465079 w 1465079"/>
                  <a:gd name="connsiteY0" fmla="*/ 1587453 h 1587453"/>
                  <a:gd name="connsiteX1" fmla="*/ 1417490 w 1465079"/>
                  <a:gd name="connsiteY1" fmla="*/ 1505871 h 1587453"/>
                  <a:gd name="connsiteX2" fmla="*/ 1250926 w 1465079"/>
                  <a:gd name="connsiteY2" fmla="*/ 1437886 h 1587453"/>
                  <a:gd name="connsiteX3" fmla="*/ 1111557 w 1465079"/>
                  <a:gd name="connsiteY3" fmla="*/ 1298516 h 1587453"/>
                  <a:gd name="connsiteX4" fmla="*/ 965389 w 1465079"/>
                  <a:gd name="connsiteY4" fmla="*/ 1193139 h 1587453"/>
                  <a:gd name="connsiteX5" fmla="*/ 822620 w 1465079"/>
                  <a:gd name="connsiteY5" fmla="*/ 1074165 h 1587453"/>
                  <a:gd name="connsiteX6" fmla="*/ 608467 w 1465079"/>
                  <a:gd name="connsiteY6" fmla="*/ 985785 h 1587453"/>
                  <a:gd name="connsiteX7" fmla="*/ 407910 w 1465079"/>
                  <a:gd name="connsiteY7" fmla="*/ 707046 h 1587453"/>
                  <a:gd name="connsiteX8" fmla="*/ 346724 w 1465079"/>
                  <a:gd name="connsiteY8" fmla="*/ 506489 h 1587453"/>
                  <a:gd name="connsiteX9" fmla="*/ 190358 w 1465079"/>
                  <a:gd name="connsiteY9" fmla="*/ 278739 h 1587453"/>
                  <a:gd name="connsiteX10" fmla="*/ 61186 w 1465079"/>
                  <a:gd name="connsiteY10" fmla="*/ 183560 h 1587453"/>
                  <a:gd name="connsiteX11" fmla="*/ 0 w 1465079"/>
                  <a:gd name="connsiteY11" fmla="*/ 0 h 15874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465079" h="1587453">
                    <a:moveTo>
                      <a:pt x="1465079" y="1587453"/>
                    </a:moveTo>
                    <a:cubicBezTo>
                      <a:pt x="1459130" y="1559126"/>
                      <a:pt x="1453182" y="1530799"/>
                      <a:pt x="1417490" y="1505871"/>
                    </a:cubicBezTo>
                    <a:cubicBezTo>
                      <a:pt x="1381798" y="1480943"/>
                      <a:pt x="1301915" y="1472445"/>
                      <a:pt x="1250926" y="1437886"/>
                    </a:cubicBezTo>
                    <a:cubicBezTo>
                      <a:pt x="1199937" y="1403327"/>
                      <a:pt x="1159147" y="1339307"/>
                      <a:pt x="1111557" y="1298516"/>
                    </a:cubicBezTo>
                    <a:cubicBezTo>
                      <a:pt x="1063968" y="1257725"/>
                      <a:pt x="1013545" y="1230531"/>
                      <a:pt x="965389" y="1193139"/>
                    </a:cubicBezTo>
                    <a:cubicBezTo>
                      <a:pt x="917233" y="1155747"/>
                      <a:pt x="882107" y="1108724"/>
                      <a:pt x="822620" y="1074165"/>
                    </a:cubicBezTo>
                    <a:cubicBezTo>
                      <a:pt x="763133" y="1039606"/>
                      <a:pt x="677585" y="1046971"/>
                      <a:pt x="608467" y="985785"/>
                    </a:cubicBezTo>
                    <a:cubicBezTo>
                      <a:pt x="539349" y="924599"/>
                      <a:pt x="451534" y="786929"/>
                      <a:pt x="407910" y="707046"/>
                    </a:cubicBezTo>
                    <a:cubicBezTo>
                      <a:pt x="364286" y="627163"/>
                      <a:pt x="382983" y="577873"/>
                      <a:pt x="346724" y="506489"/>
                    </a:cubicBezTo>
                    <a:cubicBezTo>
                      <a:pt x="310465" y="435105"/>
                      <a:pt x="237948" y="332560"/>
                      <a:pt x="190358" y="278739"/>
                    </a:cubicBezTo>
                    <a:cubicBezTo>
                      <a:pt x="142768" y="224918"/>
                      <a:pt x="92912" y="230017"/>
                      <a:pt x="61186" y="183560"/>
                    </a:cubicBezTo>
                    <a:cubicBezTo>
                      <a:pt x="29460" y="137104"/>
                      <a:pt x="14730" y="68552"/>
                      <a:pt x="0" y="0"/>
                    </a:cubicBezTo>
                  </a:path>
                </a:pathLst>
              </a:custGeom>
              <a:ln w="82550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93" name="Блок-схема: узел 92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151341" y="1633538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0" name="Блок-схема: узел 9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619672" y="987574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96" name="Полилиния 95"/>
              <p:cNvSpPr/>
              <p:nvPr/>
            </p:nvSpPr>
            <p:spPr>
              <a:xfrm>
                <a:off x="3014505" y="1410956"/>
                <a:ext cx="522515" cy="135652"/>
              </a:xfrm>
              <a:custGeom>
                <a:avLst/>
                <a:gdLst>
                  <a:gd name="connsiteX0" fmla="*/ 522515 w 522515"/>
                  <a:gd name="connsiteY0" fmla="*/ 121418 h 135652"/>
                  <a:gd name="connsiteX1" fmla="*/ 422031 w 522515"/>
                  <a:gd name="connsiteY1" fmla="*/ 20934 h 135652"/>
                  <a:gd name="connsiteX2" fmla="*/ 246185 w 522515"/>
                  <a:gd name="connsiteY2" fmla="*/ 15910 h 135652"/>
                  <a:gd name="connsiteX3" fmla="*/ 70339 w 522515"/>
                  <a:gd name="connsiteY3" fmla="*/ 116393 h 135652"/>
                  <a:gd name="connsiteX4" fmla="*/ 0 w 522515"/>
                  <a:gd name="connsiteY4" fmla="*/ 131466 h 1356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2515" h="135652">
                    <a:moveTo>
                      <a:pt x="522515" y="121418"/>
                    </a:moveTo>
                    <a:cubicBezTo>
                      <a:pt x="495300" y="79968"/>
                      <a:pt x="468086" y="38519"/>
                      <a:pt x="422031" y="20934"/>
                    </a:cubicBezTo>
                    <a:cubicBezTo>
                      <a:pt x="375976" y="3349"/>
                      <a:pt x="304800" y="0"/>
                      <a:pt x="246185" y="15910"/>
                    </a:cubicBezTo>
                    <a:cubicBezTo>
                      <a:pt x="187570" y="31820"/>
                      <a:pt x="111370" y="97134"/>
                      <a:pt x="70339" y="116393"/>
                    </a:cubicBezTo>
                    <a:cubicBezTo>
                      <a:pt x="29308" y="135652"/>
                      <a:pt x="14654" y="133559"/>
                      <a:pt x="0" y="131466"/>
                    </a:cubicBezTo>
                  </a:path>
                </a:pathLst>
              </a:custGeom>
              <a:ln w="50800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97" name="Полилиния 96"/>
              <p:cNvSpPr/>
              <p:nvPr/>
            </p:nvSpPr>
            <p:spPr>
              <a:xfrm>
                <a:off x="2974312" y="1366576"/>
                <a:ext cx="85411" cy="346668"/>
              </a:xfrm>
              <a:custGeom>
                <a:avLst/>
                <a:gdLst>
                  <a:gd name="connsiteX0" fmla="*/ 85411 w 85411"/>
                  <a:gd name="connsiteY0" fmla="*/ 346668 h 346668"/>
                  <a:gd name="connsiteX1" fmla="*/ 20097 w 85411"/>
                  <a:gd name="connsiteY1" fmla="*/ 251209 h 346668"/>
                  <a:gd name="connsiteX2" fmla="*/ 15073 w 85411"/>
                  <a:gd name="connsiteY2" fmla="*/ 150725 h 346668"/>
                  <a:gd name="connsiteX3" fmla="*/ 0 w 85411"/>
                  <a:gd name="connsiteY3" fmla="*/ 0 h 3466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5411" h="346668">
                    <a:moveTo>
                      <a:pt x="85411" y="346668"/>
                    </a:moveTo>
                    <a:cubicBezTo>
                      <a:pt x="58615" y="315267"/>
                      <a:pt x="31820" y="283866"/>
                      <a:pt x="20097" y="251209"/>
                    </a:cubicBezTo>
                    <a:cubicBezTo>
                      <a:pt x="8374" y="218552"/>
                      <a:pt x="18423" y="192593"/>
                      <a:pt x="15073" y="150725"/>
                    </a:cubicBezTo>
                    <a:cubicBezTo>
                      <a:pt x="11724" y="108857"/>
                      <a:pt x="5862" y="54428"/>
                      <a:pt x="0" y="0"/>
                    </a:cubicBezTo>
                  </a:path>
                </a:pathLst>
              </a:custGeom>
              <a:ln w="603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Блок-схема: узел 53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352888" y="1361014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80" name="Блок-схема: узел 79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962704" y="1528470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98" name="Блок-схема: узел 97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934866" y="1291481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71" name="AutoShape 19">
                <a:extLst>
                  <a:ext uri="{FF2B5EF4-FFF2-40B4-BE49-F238E27FC236}">
                    <a16:creationId xmlns:a16="http://schemas.microsoft.com/office/drawing/2014/main" id="{C07E5574-6F69-4BDA-A586-C00C88A8B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27784" y="1419622"/>
                <a:ext cx="543957" cy="95119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Челябинск</a:t>
                </a:r>
              </a:p>
            </p:txBody>
          </p:sp>
          <p:sp>
            <p:nvSpPr>
              <p:cNvPr id="99" name="AutoShape 19">
                <a:extLst>
                  <a:ext uri="{FF2B5EF4-FFF2-40B4-BE49-F238E27FC236}">
                    <a16:creationId xmlns:a16="http://schemas.microsoft.com/office/drawing/2014/main" id="{C07E5574-6F69-4BDA-A586-C00C88A8B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1800" y="1131590"/>
                <a:ext cx="648072" cy="95119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Екатеринбург</a:t>
                </a:r>
              </a:p>
            </p:txBody>
          </p:sp>
          <p:sp>
            <p:nvSpPr>
              <p:cNvPr id="100" name="Полилиния 99"/>
              <p:cNvSpPr/>
              <p:nvPr/>
            </p:nvSpPr>
            <p:spPr>
              <a:xfrm>
                <a:off x="4041527" y="1479550"/>
                <a:ext cx="120650" cy="152400"/>
              </a:xfrm>
              <a:custGeom>
                <a:avLst/>
                <a:gdLst>
                  <a:gd name="connsiteX0" fmla="*/ 120650 w 120650"/>
                  <a:gd name="connsiteY0" fmla="*/ 152400 h 152400"/>
                  <a:gd name="connsiteX1" fmla="*/ 38100 w 120650"/>
                  <a:gd name="connsiteY1" fmla="*/ 117475 h 152400"/>
                  <a:gd name="connsiteX2" fmla="*/ 0 w 120650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0650" h="152400">
                    <a:moveTo>
                      <a:pt x="120650" y="152400"/>
                    </a:moveTo>
                    <a:cubicBezTo>
                      <a:pt x="89429" y="147637"/>
                      <a:pt x="58208" y="142875"/>
                      <a:pt x="38100" y="117475"/>
                    </a:cubicBezTo>
                    <a:cubicBezTo>
                      <a:pt x="17992" y="92075"/>
                      <a:pt x="8996" y="46037"/>
                      <a:pt x="0" y="0"/>
                    </a:cubicBezTo>
                  </a:path>
                </a:pathLst>
              </a:custGeom>
              <a:ln w="603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2" name="Полилиния 101"/>
              <p:cNvSpPr/>
              <p:nvPr/>
            </p:nvSpPr>
            <p:spPr>
              <a:xfrm>
                <a:off x="4667250" y="1563638"/>
                <a:ext cx="161925" cy="450850"/>
              </a:xfrm>
              <a:custGeom>
                <a:avLst/>
                <a:gdLst>
                  <a:gd name="connsiteX0" fmla="*/ 0 w 161925"/>
                  <a:gd name="connsiteY0" fmla="*/ 450850 h 450850"/>
                  <a:gd name="connsiteX1" fmla="*/ 25400 w 161925"/>
                  <a:gd name="connsiteY1" fmla="*/ 292100 h 450850"/>
                  <a:gd name="connsiteX2" fmla="*/ 139700 w 161925"/>
                  <a:gd name="connsiteY2" fmla="*/ 165100 h 450850"/>
                  <a:gd name="connsiteX3" fmla="*/ 158750 w 161925"/>
                  <a:gd name="connsiteY3" fmla="*/ 0 h 450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450850">
                    <a:moveTo>
                      <a:pt x="0" y="450850"/>
                    </a:moveTo>
                    <a:cubicBezTo>
                      <a:pt x="1058" y="395287"/>
                      <a:pt x="2117" y="339725"/>
                      <a:pt x="25400" y="292100"/>
                    </a:cubicBezTo>
                    <a:cubicBezTo>
                      <a:pt x="48683" y="244475"/>
                      <a:pt x="117475" y="213783"/>
                      <a:pt x="139700" y="165100"/>
                    </a:cubicBezTo>
                    <a:cubicBezTo>
                      <a:pt x="161925" y="116417"/>
                      <a:pt x="160337" y="58208"/>
                      <a:pt x="158750" y="0"/>
                    </a:cubicBezTo>
                  </a:path>
                </a:pathLst>
              </a:custGeom>
              <a:ln w="476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7917B5C9-9740-4AB0-985F-203A558A005E}"/>
                  </a:ext>
                </a:extLst>
              </p:cNvPr>
              <p:cNvSpPr txBox="1"/>
              <p:nvPr/>
            </p:nvSpPr>
            <p:spPr>
              <a:xfrm rot="728112">
                <a:off x="5319618" y="2906407"/>
                <a:ext cx="1094758" cy="179229"/>
              </a:xfrm>
              <a:prstGeom prst="rect">
                <a:avLst/>
              </a:prstGeom>
              <a:noFill/>
            </p:spPr>
            <p:txBody>
              <a:bodyPr wrap="square" lIns="68580" tIns="34290" rIns="68580" bIns="34290" rtlCol="0">
                <a:spAutoFit/>
              </a:bodyPr>
              <a:lstStyle/>
              <a:p>
                <a:pPr defTabSz="878954"/>
                <a:r>
                  <a:rPr lang="ru-RU" sz="800" b="1" dirty="0" err="1">
                    <a:solidFill>
                      <a:srgbClr val="A4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Ляньюньгань</a:t>
                </a:r>
                <a:endParaRPr lang="ru-RU" sz="8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  <p:cxnSp>
            <p:nvCxnSpPr>
              <p:cNvPr id="104" name="Прямая со стрелкой 103">
                <a:extLst>
                  <a:ext uri="{FF2B5EF4-FFF2-40B4-BE49-F238E27FC236}">
                    <a16:creationId xmlns:a16="http://schemas.microsoft.com/office/drawing/2014/main" id="{77B91BE9-314B-4289-890F-89DD2B044A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64088" y="3003798"/>
                <a:ext cx="604341" cy="136698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8" name="Полилиния 107"/>
              <p:cNvSpPr/>
              <p:nvPr/>
            </p:nvSpPr>
            <p:spPr>
              <a:xfrm>
                <a:off x="3668183" y="3384550"/>
                <a:ext cx="91017" cy="285750"/>
              </a:xfrm>
              <a:custGeom>
                <a:avLst/>
                <a:gdLst>
                  <a:gd name="connsiteX0" fmla="*/ 91017 w 91017"/>
                  <a:gd name="connsiteY0" fmla="*/ 0 h 285750"/>
                  <a:gd name="connsiteX1" fmla="*/ 14817 w 91017"/>
                  <a:gd name="connsiteY1" fmla="*/ 76200 h 285750"/>
                  <a:gd name="connsiteX2" fmla="*/ 8467 w 91017"/>
                  <a:gd name="connsiteY2" fmla="*/ 165100 h 285750"/>
                  <a:gd name="connsiteX3" fmla="*/ 65617 w 91017"/>
                  <a:gd name="connsiteY3" fmla="*/ 234950 h 285750"/>
                  <a:gd name="connsiteX4" fmla="*/ 71967 w 91017"/>
                  <a:gd name="connsiteY4" fmla="*/ 285750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017" h="285750">
                    <a:moveTo>
                      <a:pt x="91017" y="0"/>
                    </a:moveTo>
                    <a:cubicBezTo>
                      <a:pt x="59796" y="24341"/>
                      <a:pt x="28575" y="48683"/>
                      <a:pt x="14817" y="76200"/>
                    </a:cubicBezTo>
                    <a:cubicBezTo>
                      <a:pt x="1059" y="103717"/>
                      <a:pt x="0" y="138642"/>
                      <a:pt x="8467" y="165100"/>
                    </a:cubicBezTo>
                    <a:cubicBezTo>
                      <a:pt x="16934" y="191558"/>
                      <a:pt x="55034" y="214842"/>
                      <a:pt x="65617" y="234950"/>
                    </a:cubicBezTo>
                    <a:cubicBezTo>
                      <a:pt x="76200" y="255058"/>
                      <a:pt x="74083" y="270404"/>
                      <a:pt x="71967" y="285750"/>
                    </a:cubicBezTo>
                  </a:path>
                </a:pathLst>
              </a:custGeom>
              <a:ln w="85725">
                <a:solidFill>
                  <a:srgbClr val="CC9B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0" name="Полилиния 109"/>
              <p:cNvSpPr/>
              <p:nvPr/>
            </p:nvSpPr>
            <p:spPr>
              <a:xfrm>
                <a:off x="3293269" y="3295650"/>
                <a:ext cx="390525" cy="159147"/>
              </a:xfrm>
              <a:custGeom>
                <a:avLst/>
                <a:gdLst>
                  <a:gd name="connsiteX0" fmla="*/ 390525 w 390525"/>
                  <a:gd name="connsiteY0" fmla="*/ 152400 h 159147"/>
                  <a:gd name="connsiteX1" fmla="*/ 326231 w 390525"/>
                  <a:gd name="connsiteY1" fmla="*/ 154781 h 159147"/>
                  <a:gd name="connsiteX2" fmla="*/ 302419 w 390525"/>
                  <a:gd name="connsiteY2" fmla="*/ 126206 h 159147"/>
                  <a:gd name="connsiteX3" fmla="*/ 216694 w 390525"/>
                  <a:gd name="connsiteY3" fmla="*/ 119063 h 159147"/>
                  <a:gd name="connsiteX4" fmla="*/ 64294 w 390525"/>
                  <a:gd name="connsiteY4" fmla="*/ 16669 h 159147"/>
                  <a:gd name="connsiteX5" fmla="*/ 0 w 390525"/>
                  <a:gd name="connsiteY5" fmla="*/ 19050 h 159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525" h="159147">
                    <a:moveTo>
                      <a:pt x="390525" y="152400"/>
                    </a:moveTo>
                    <a:cubicBezTo>
                      <a:pt x="365720" y="155773"/>
                      <a:pt x="340915" y="159147"/>
                      <a:pt x="326231" y="154781"/>
                    </a:cubicBezTo>
                    <a:cubicBezTo>
                      <a:pt x="311547" y="150415"/>
                      <a:pt x="320675" y="132159"/>
                      <a:pt x="302419" y="126206"/>
                    </a:cubicBezTo>
                    <a:cubicBezTo>
                      <a:pt x="284163" y="120253"/>
                      <a:pt x="256381" y="137319"/>
                      <a:pt x="216694" y="119063"/>
                    </a:cubicBezTo>
                    <a:cubicBezTo>
                      <a:pt x="177007" y="100807"/>
                      <a:pt x="100410" y="33338"/>
                      <a:pt x="64294" y="16669"/>
                    </a:cubicBezTo>
                    <a:cubicBezTo>
                      <a:pt x="28178" y="0"/>
                      <a:pt x="14089" y="9525"/>
                      <a:pt x="0" y="19050"/>
                    </a:cubicBezTo>
                  </a:path>
                </a:pathLst>
              </a:custGeom>
              <a:ln w="85725">
                <a:solidFill>
                  <a:srgbClr val="CC9B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112" name="Прямая соединительная линия 111"/>
              <p:cNvCxnSpPr/>
              <p:nvPr/>
            </p:nvCxnSpPr>
            <p:spPr>
              <a:xfrm>
                <a:off x="2486149" y="2799679"/>
                <a:ext cx="144016" cy="72008"/>
              </a:xfrm>
              <a:prstGeom prst="line">
                <a:avLst/>
              </a:prstGeom>
              <a:ln w="53975">
                <a:solidFill>
                  <a:srgbClr val="00206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Прямая соединительная линия 115"/>
              <p:cNvCxnSpPr/>
              <p:nvPr/>
            </p:nvCxnSpPr>
            <p:spPr>
              <a:xfrm>
                <a:off x="2486149" y="2799679"/>
                <a:ext cx="144016" cy="72008"/>
              </a:xfrm>
              <a:prstGeom prst="line">
                <a:avLst/>
              </a:prstGeom>
              <a:ln w="6350">
                <a:solidFill>
                  <a:schemeClr val="bg1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7" name="Полилиния 116"/>
              <p:cNvSpPr/>
              <p:nvPr/>
            </p:nvSpPr>
            <p:spPr>
              <a:xfrm>
                <a:off x="2650331" y="2876550"/>
                <a:ext cx="688182" cy="431006"/>
              </a:xfrm>
              <a:custGeom>
                <a:avLst/>
                <a:gdLst>
                  <a:gd name="connsiteX0" fmla="*/ 0 w 688182"/>
                  <a:gd name="connsiteY0" fmla="*/ 0 h 431006"/>
                  <a:gd name="connsiteX1" fmla="*/ 45244 w 688182"/>
                  <a:gd name="connsiteY1" fmla="*/ 52388 h 431006"/>
                  <a:gd name="connsiteX2" fmla="*/ 183357 w 688182"/>
                  <a:gd name="connsiteY2" fmla="*/ 140494 h 431006"/>
                  <a:gd name="connsiteX3" fmla="*/ 285750 w 688182"/>
                  <a:gd name="connsiteY3" fmla="*/ 173831 h 431006"/>
                  <a:gd name="connsiteX4" fmla="*/ 333375 w 688182"/>
                  <a:gd name="connsiteY4" fmla="*/ 254794 h 431006"/>
                  <a:gd name="connsiteX5" fmla="*/ 585788 w 688182"/>
                  <a:gd name="connsiteY5" fmla="*/ 292894 h 431006"/>
                  <a:gd name="connsiteX6" fmla="*/ 688182 w 688182"/>
                  <a:gd name="connsiteY6" fmla="*/ 431006 h 431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88182" h="431006">
                    <a:moveTo>
                      <a:pt x="0" y="0"/>
                    </a:moveTo>
                    <a:cubicBezTo>
                      <a:pt x="7342" y="14486"/>
                      <a:pt x="14685" y="28972"/>
                      <a:pt x="45244" y="52388"/>
                    </a:cubicBezTo>
                    <a:cubicBezTo>
                      <a:pt x="75803" y="75804"/>
                      <a:pt x="143273" y="120254"/>
                      <a:pt x="183357" y="140494"/>
                    </a:cubicBezTo>
                    <a:cubicBezTo>
                      <a:pt x="223441" y="160734"/>
                      <a:pt x="260747" y="154781"/>
                      <a:pt x="285750" y="173831"/>
                    </a:cubicBezTo>
                    <a:cubicBezTo>
                      <a:pt x="310753" y="192881"/>
                      <a:pt x="283369" y="234950"/>
                      <a:pt x="333375" y="254794"/>
                    </a:cubicBezTo>
                    <a:cubicBezTo>
                      <a:pt x="383381" y="274638"/>
                      <a:pt x="526654" y="263525"/>
                      <a:pt x="585788" y="292894"/>
                    </a:cubicBezTo>
                    <a:cubicBezTo>
                      <a:pt x="644922" y="322263"/>
                      <a:pt x="666552" y="376634"/>
                      <a:pt x="688182" y="431006"/>
                    </a:cubicBezTo>
                  </a:path>
                </a:pathLst>
              </a:custGeom>
              <a:ln w="85725">
                <a:solidFill>
                  <a:srgbClr val="CC9B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19" name="Полилиния 118"/>
              <p:cNvSpPr/>
              <p:nvPr/>
            </p:nvSpPr>
            <p:spPr>
              <a:xfrm>
                <a:off x="313959" y="2411632"/>
                <a:ext cx="1691980" cy="209655"/>
              </a:xfrm>
              <a:custGeom>
                <a:avLst/>
                <a:gdLst>
                  <a:gd name="connsiteX0" fmla="*/ 438150 w 438150"/>
                  <a:gd name="connsiteY0" fmla="*/ 807720 h 817880"/>
                  <a:gd name="connsiteX1" fmla="*/ 247650 w 438150"/>
                  <a:gd name="connsiteY1" fmla="*/ 800100 h 817880"/>
                  <a:gd name="connsiteX2" fmla="*/ 118110 w 438150"/>
                  <a:gd name="connsiteY2" fmla="*/ 800100 h 817880"/>
                  <a:gd name="connsiteX3" fmla="*/ 49530 w 438150"/>
                  <a:gd name="connsiteY3" fmla="*/ 693420 h 817880"/>
                  <a:gd name="connsiteX4" fmla="*/ 34290 w 438150"/>
                  <a:gd name="connsiteY4" fmla="*/ 419100 h 817880"/>
                  <a:gd name="connsiteX5" fmla="*/ 255270 w 438150"/>
                  <a:gd name="connsiteY5" fmla="*/ 0 h 817880"/>
                  <a:gd name="connsiteX0" fmla="*/ 443076 w 443076"/>
                  <a:gd name="connsiteY0" fmla="*/ 799296 h 807727"/>
                  <a:gd name="connsiteX1" fmla="*/ 227837 w 443076"/>
                  <a:gd name="connsiteY1" fmla="*/ 800100 h 807727"/>
                  <a:gd name="connsiteX2" fmla="*/ 98297 w 443076"/>
                  <a:gd name="connsiteY2" fmla="*/ 800100 h 807727"/>
                  <a:gd name="connsiteX3" fmla="*/ 29717 w 443076"/>
                  <a:gd name="connsiteY3" fmla="*/ 693420 h 807727"/>
                  <a:gd name="connsiteX4" fmla="*/ 14477 w 443076"/>
                  <a:gd name="connsiteY4" fmla="*/ 419100 h 807727"/>
                  <a:gd name="connsiteX5" fmla="*/ 235457 w 443076"/>
                  <a:gd name="connsiteY5" fmla="*/ 0 h 807727"/>
                  <a:gd name="connsiteX0" fmla="*/ 1026696 w 1026696"/>
                  <a:gd name="connsiteY0" fmla="*/ 466566 h 474997"/>
                  <a:gd name="connsiteX1" fmla="*/ 811457 w 1026696"/>
                  <a:gd name="connsiteY1" fmla="*/ 467370 h 474997"/>
                  <a:gd name="connsiteX2" fmla="*/ 681917 w 1026696"/>
                  <a:gd name="connsiteY2" fmla="*/ 467370 h 474997"/>
                  <a:gd name="connsiteX3" fmla="*/ 613337 w 1026696"/>
                  <a:gd name="connsiteY3" fmla="*/ 360690 h 474997"/>
                  <a:gd name="connsiteX4" fmla="*/ 598097 w 1026696"/>
                  <a:gd name="connsiteY4" fmla="*/ 86370 h 474997"/>
                  <a:gd name="connsiteX5" fmla="*/ 8387 w 1026696"/>
                  <a:gd name="connsiteY5" fmla="*/ 0 h 474997"/>
                  <a:gd name="connsiteX0" fmla="*/ 1030965 w 1030965"/>
                  <a:gd name="connsiteY0" fmla="*/ 466566 h 474997"/>
                  <a:gd name="connsiteX1" fmla="*/ 815726 w 1030965"/>
                  <a:gd name="connsiteY1" fmla="*/ 467370 h 474997"/>
                  <a:gd name="connsiteX2" fmla="*/ 686186 w 1030965"/>
                  <a:gd name="connsiteY2" fmla="*/ 467370 h 474997"/>
                  <a:gd name="connsiteX3" fmla="*/ 617606 w 1030965"/>
                  <a:gd name="connsiteY3" fmla="*/ 360690 h 474997"/>
                  <a:gd name="connsiteX4" fmla="*/ 339749 w 1030965"/>
                  <a:gd name="connsiteY4" fmla="*/ 280112 h 474997"/>
                  <a:gd name="connsiteX5" fmla="*/ 12656 w 1030965"/>
                  <a:gd name="connsiteY5" fmla="*/ 0 h 474997"/>
                  <a:gd name="connsiteX0" fmla="*/ 1217857 w 1217857"/>
                  <a:gd name="connsiteY0" fmla="*/ 323365 h 331796"/>
                  <a:gd name="connsiteX1" fmla="*/ 1002618 w 1217857"/>
                  <a:gd name="connsiteY1" fmla="*/ 324169 h 331796"/>
                  <a:gd name="connsiteX2" fmla="*/ 873078 w 1217857"/>
                  <a:gd name="connsiteY2" fmla="*/ 324169 h 331796"/>
                  <a:gd name="connsiteX3" fmla="*/ 804498 w 1217857"/>
                  <a:gd name="connsiteY3" fmla="*/ 217489 h 331796"/>
                  <a:gd name="connsiteX4" fmla="*/ 526641 w 1217857"/>
                  <a:gd name="connsiteY4" fmla="*/ 136911 h 331796"/>
                  <a:gd name="connsiteX5" fmla="*/ 9245 w 1217857"/>
                  <a:gd name="connsiteY5" fmla="*/ 0 h 331796"/>
                  <a:gd name="connsiteX0" fmla="*/ 1208612 w 1208612"/>
                  <a:gd name="connsiteY0" fmla="*/ 323365 h 331796"/>
                  <a:gd name="connsiteX1" fmla="*/ 993373 w 1208612"/>
                  <a:gd name="connsiteY1" fmla="*/ 324169 h 331796"/>
                  <a:gd name="connsiteX2" fmla="*/ 863833 w 1208612"/>
                  <a:gd name="connsiteY2" fmla="*/ 324169 h 331796"/>
                  <a:gd name="connsiteX3" fmla="*/ 795253 w 1208612"/>
                  <a:gd name="connsiteY3" fmla="*/ 217489 h 331796"/>
                  <a:gd name="connsiteX4" fmla="*/ 517396 w 1208612"/>
                  <a:gd name="connsiteY4" fmla="*/ 136911 h 331796"/>
                  <a:gd name="connsiteX5" fmla="*/ 77868 w 1208612"/>
                  <a:gd name="connsiteY5" fmla="*/ 28339 h 331796"/>
                  <a:gd name="connsiteX6" fmla="*/ 0 w 1208612"/>
                  <a:gd name="connsiteY6" fmla="*/ 0 h 331796"/>
                  <a:gd name="connsiteX0" fmla="*/ 1279725 w 1279725"/>
                  <a:gd name="connsiteY0" fmla="*/ 323365 h 331796"/>
                  <a:gd name="connsiteX1" fmla="*/ 1064486 w 1279725"/>
                  <a:gd name="connsiteY1" fmla="*/ 324169 h 331796"/>
                  <a:gd name="connsiteX2" fmla="*/ 934946 w 1279725"/>
                  <a:gd name="connsiteY2" fmla="*/ 324169 h 331796"/>
                  <a:gd name="connsiteX3" fmla="*/ 866366 w 1279725"/>
                  <a:gd name="connsiteY3" fmla="*/ 217489 h 331796"/>
                  <a:gd name="connsiteX4" fmla="*/ 588509 w 1279725"/>
                  <a:gd name="connsiteY4" fmla="*/ 136911 h 331796"/>
                  <a:gd name="connsiteX5" fmla="*/ 148981 w 1279725"/>
                  <a:gd name="connsiteY5" fmla="*/ 28339 h 331796"/>
                  <a:gd name="connsiteX6" fmla="*/ 71113 w 1279725"/>
                  <a:gd name="connsiteY6" fmla="*/ 0 h 331796"/>
                  <a:gd name="connsiteX0" fmla="*/ 1279725 w 1279725"/>
                  <a:gd name="connsiteY0" fmla="*/ 323365 h 331796"/>
                  <a:gd name="connsiteX1" fmla="*/ 1064486 w 1279725"/>
                  <a:gd name="connsiteY1" fmla="*/ 324169 h 331796"/>
                  <a:gd name="connsiteX2" fmla="*/ 934946 w 1279725"/>
                  <a:gd name="connsiteY2" fmla="*/ 324169 h 331796"/>
                  <a:gd name="connsiteX3" fmla="*/ 866366 w 1279725"/>
                  <a:gd name="connsiteY3" fmla="*/ 217489 h 331796"/>
                  <a:gd name="connsiteX4" fmla="*/ 520000 w 1279725"/>
                  <a:gd name="connsiteY4" fmla="*/ 318018 h 331796"/>
                  <a:gd name="connsiteX5" fmla="*/ 148981 w 1279725"/>
                  <a:gd name="connsiteY5" fmla="*/ 28339 h 331796"/>
                  <a:gd name="connsiteX6" fmla="*/ 71113 w 1279725"/>
                  <a:gd name="connsiteY6" fmla="*/ 0 h 331796"/>
                  <a:gd name="connsiteX0" fmla="*/ 1305509 w 1305509"/>
                  <a:gd name="connsiteY0" fmla="*/ 323365 h 331796"/>
                  <a:gd name="connsiteX1" fmla="*/ 1090270 w 1305509"/>
                  <a:gd name="connsiteY1" fmla="*/ 324169 h 331796"/>
                  <a:gd name="connsiteX2" fmla="*/ 960730 w 1305509"/>
                  <a:gd name="connsiteY2" fmla="*/ 324169 h 331796"/>
                  <a:gd name="connsiteX3" fmla="*/ 892150 w 1305509"/>
                  <a:gd name="connsiteY3" fmla="*/ 217489 h 331796"/>
                  <a:gd name="connsiteX4" fmla="*/ 545784 w 1305509"/>
                  <a:gd name="connsiteY4" fmla="*/ 318018 h 331796"/>
                  <a:gd name="connsiteX5" fmla="*/ 136704 w 1305509"/>
                  <a:gd name="connsiteY5" fmla="*/ 205234 h 331796"/>
                  <a:gd name="connsiteX6" fmla="*/ 96897 w 1305509"/>
                  <a:gd name="connsiteY6" fmla="*/ 0 h 331796"/>
                  <a:gd name="connsiteX0" fmla="*/ 1726235 w 1726235"/>
                  <a:gd name="connsiteY0" fmla="*/ 159106 h 167537"/>
                  <a:gd name="connsiteX1" fmla="*/ 1510996 w 1726235"/>
                  <a:gd name="connsiteY1" fmla="*/ 159910 h 167537"/>
                  <a:gd name="connsiteX2" fmla="*/ 1381456 w 1726235"/>
                  <a:gd name="connsiteY2" fmla="*/ 159910 h 167537"/>
                  <a:gd name="connsiteX3" fmla="*/ 1312876 w 1726235"/>
                  <a:gd name="connsiteY3" fmla="*/ 53230 h 167537"/>
                  <a:gd name="connsiteX4" fmla="*/ 966510 w 1726235"/>
                  <a:gd name="connsiteY4" fmla="*/ 153759 h 167537"/>
                  <a:gd name="connsiteX5" fmla="*/ 557430 w 1726235"/>
                  <a:gd name="connsiteY5" fmla="*/ 40975 h 167537"/>
                  <a:gd name="connsiteX6" fmla="*/ 0 w 1726235"/>
                  <a:gd name="connsiteY6" fmla="*/ 0 h 167537"/>
                  <a:gd name="connsiteX0" fmla="*/ 1886089 w 1886089"/>
                  <a:gd name="connsiteY0" fmla="*/ 310730 h 319161"/>
                  <a:gd name="connsiteX1" fmla="*/ 1670850 w 1886089"/>
                  <a:gd name="connsiteY1" fmla="*/ 311534 h 319161"/>
                  <a:gd name="connsiteX2" fmla="*/ 1541310 w 1886089"/>
                  <a:gd name="connsiteY2" fmla="*/ 311534 h 319161"/>
                  <a:gd name="connsiteX3" fmla="*/ 1472730 w 1886089"/>
                  <a:gd name="connsiteY3" fmla="*/ 204854 h 319161"/>
                  <a:gd name="connsiteX4" fmla="*/ 1126364 w 1886089"/>
                  <a:gd name="connsiteY4" fmla="*/ 305383 h 319161"/>
                  <a:gd name="connsiteX5" fmla="*/ 717284 w 1886089"/>
                  <a:gd name="connsiteY5" fmla="*/ 192599 h 319161"/>
                  <a:gd name="connsiteX6" fmla="*/ 0 w 1886089"/>
                  <a:gd name="connsiteY6" fmla="*/ 0 h 319161"/>
                  <a:gd name="connsiteX0" fmla="*/ 1691981 w 1691981"/>
                  <a:gd name="connsiteY0" fmla="*/ 201224 h 209655"/>
                  <a:gd name="connsiteX1" fmla="*/ 1476742 w 1691981"/>
                  <a:gd name="connsiteY1" fmla="*/ 202028 h 209655"/>
                  <a:gd name="connsiteX2" fmla="*/ 1347202 w 1691981"/>
                  <a:gd name="connsiteY2" fmla="*/ 202028 h 209655"/>
                  <a:gd name="connsiteX3" fmla="*/ 1278622 w 1691981"/>
                  <a:gd name="connsiteY3" fmla="*/ 95348 h 209655"/>
                  <a:gd name="connsiteX4" fmla="*/ 932256 w 1691981"/>
                  <a:gd name="connsiteY4" fmla="*/ 195877 h 209655"/>
                  <a:gd name="connsiteX5" fmla="*/ 523176 w 1691981"/>
                  <a:gd name="connsiteY5" fmla="*/ 83093 h 209655"/>
                  <a:gd name="connsiteX6" fmla="*/ 0 w 1691981"/>
                  <a:gd name="connsiteY6" fmla="*/ 0 h 209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91981" h="209655">
                    <a:moveTo>
                      <a:pt x="1691981" y="201224"/>
                    </a:moveTo>
                    <a:cubicBezTo>
                      <a:pt x="1628481" y="198684"/>
                      <a:pt x="1540242" y="204568"/>
                      <a:pt x="1476742" y="202028"/>
                    </a:cubicBezTo>
                    <a:cubicBezTo>
                      <a:pt x="1423402" y="200758"/>
                      <a:pt x="1380222" y="219808"/>
                      <a:pt x="1347202" y="202028"/>
                    </a:cubicBezTo>
                    <a:cubicBezTo>
                      <a:pt x="1314182" y="184248"/>
                      <a:pt x="1347780" y="96373"/>
                      <a:pt x="1278622" y="95348"/>
                    </a:cubicBezTo>
                    <a:cubicBezTo>
                      <a:pt x="1209464" y="94323"/>
                      <a:pt x="1054992" y="220382"/>
                      <a:pt x="932256" y="195877"/>
                    </a:cubicBezTo>
                    <a:cubicBezTo>
                      <a:pt x="809520" y="171372"/>
                      <a:pt x="609409" y="105911"/>
                      <a:pt x="523176" y="83093"/>
                    </a:cubicBezTo>
                    <a:cubicBezTo>
                      <a:pt x="235222" y="119240"/>
                      <a:pt x="9806" y="11743"/>
                      <a:pt x="0" y="0"/>
                    </a:cubicBezTo>
                  </a:path>
                </a:pathLst>
              </a:custGeom>
              <a:ln w="47625"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79" name="Блок-схема: узел 78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763688" y="177966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21" name="Блок-схема: узел 120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619672" y="2571750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23" name="AutoShape 19">
                <a:extLst>
                  <a:ext uri="{FF2B5EF4-FFF2-40B4-BE49-F238E27FC236}">
                    <a16:creationId xmlns:a16="http://schemas.microsoft.com/office/drawing/2014/main" id="{C07E5574-6F69-4BDA-A586-C00C88A8B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365" y="2407430"/>
                <a:ext cx="496478" cy="13609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страхань</a:t>
                </a:r>
              </a:p>
            </p:txBody>
          </p:sp>
          <p:sp>
            <p:nvSpPr>
              <p:cNvPr id="125" name="Блок-схема: узел 124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275856" y="321982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26" name="Блок-схема: узел 125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3635896" y="3507854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27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91880" y="3579862"/>
                <a:ext cx="504056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Самарқанд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28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43808" y="3363838"/>
                <a:ext cx="504056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Нүкүс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64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4008" y="2859782"/>
                <a:ext cx="504056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Қорғас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31" name="Полилиния 130"/>
              <p:cNvSpPr/>
              <p:nvPr/>
            </p:nvSpPr>
            <p:spPr>
              <a:xfrm>
                <a:off x="5130800" y="2457450"/>
                <a:ext cx="236008" cy="622300"/>
              </a:xfrm>
              <a:custGeom>
                <a:avLst/>
                <a:gdLst>
                  <a:gd name="connsiteX0" fmla="*/ 0 w 236008"/>
                  <a:gd name="connsiteY0" fmla="*/ 0 h 622300"/>
                  <a:gd name="connsiteX1" fmla="*/ 196850 w 236008"/>
                  <a:gd name="connsiteY1" fmla="*/ 69850 h 622300"/>
                  <a:gd name="connsiteX2" fmla="*/ 234950 w 236008"/>
                  <a:gd name="connsiteY2" fmla="*/ 254000 h 622300"/>
                  <a:gd name="connsiteX3" fmla="*/ 203200 w 236008"/>
                  <a:gd name="connsiteY3" fmla="*/ 622300 h 622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6008" h="622300">
                    <a:moveTo>
                      <a:pt x="0" y="0"/>
                    </a:moveTo>
                    <a:cubicBezTo>
                      <a:pt x="78846" y="13758"/>
                      <a:pt x="157692" y="27517"/>
                      <a:pt x="196850" y="69850"/>
                    </a:cubicBezTo>
                    <a:cubicBezTo>
                      <a:pt x="236008" y="112183"/>
                      <a:pt x="233892" y="161925"/>
                      <a:pt x="234950" y="254000"/>
                    </a:cubicBezTo>
                    <a:cubicBezTo>
                      <a:pt x="236008" y="346075"/>
                      <a:pt x="219604" y="484187"/>
                      <a:pt x="203200" y="622300"/>
                    </a:cubicBezTo>
                  </a:path>
                </a:pathLst>
              </a:custGeom>
              <a:ln w="50800">
                <a:solidFill>
                  <a:srgbClr val="00863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878954"/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32" name="Блок-схема: узел 131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5076056" y="2427734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33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20072" y="2283718"/>
                <a:ext cx="576064" cy="14401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6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Майкапшагай</a:t>
                </a:r>
                <a:endPara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34" name="Блок-схема: узел 133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211960" y="1851670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35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83968" y="1851670"/>
                <a:ext cx="360040" cy="72008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6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Павлодар</a:t>
                </a:r>
              </a:p>
            </p:txBody>
          </p:sp>
          <p:sp>
            <p:nvSpPr>
              <p:cNvPr id="101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4008" y="1923678"/>
                <a:ext cx="576064" cy="14401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6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Өскеменк</a:t>
                </a:r>
                <a:endPara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36" name="Блок-схема: узел 135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5292080" y="3010148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37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48064" y="3147814"/>
                <a:ext cx="360040" cy="72008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6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Урумчи</a:t>
                </a:r>
                <a:endPara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76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1446" y="2233299"/>
                <a:ext cx="414522" cy="97182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қтобе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53" name="AutoShape 19">
                <a:extLst>
                  <a:ext uri="{FF2B5EF4-FFF2-40B4-BE49-F238E27FC236}">
                    <a16:creationId xmlns:a16="http://schemas.microsoft.com/office/drawing/2014/main" id="{9575897D-73C2-4366-88AB-DFCBC31AD2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16006" y="3268834"/>
                <a:ext cx="460374" cy="104395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БіШКЕК</a:t>
                </a:r>
                <a:endParaRPr lang="ru-RU" sz="8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161" name="TextBox 160">
                <a:extLst>
                  <a:ext uri="{FF2B5EF4-FFF2-40B4-BE49-F238E27FC236}">
                    <a16:creationId xmlns:a16="http://schemas.microsoft.com/office/drawing/2014/main" id="{7917B5C9-9740-4AB0-985F-203A558A005E}"/>
                  </a:ext>
                </a:extLst>
              </p:cNvPr>
              <p:cNvSpPr txBox="1"/>
              <p:nvPr/>
            </p:nvSpPr>
            <p:spPr>
              <a:xfrm>
                <a:off x="4665374" y="1094960"/>
                <a:ext cx="1094758" cy="179229"/>
              </a:xfrm>
              <a:prstGeom prst="rect">
                <a:avLst/>
              </a:prstGeom>
              <a:noFill/>
            </p:spPr>
            <p:txBody>
              <a:bodyPr wrap="square" lIns="68580" tIns="34290" rIns="68580" bIns="34290" rtlCol="0">
                <a:spAutoFit/>
              </a:bodyPr>
              <a:lstStyle/>
              <a:p>
                <a:pPr defTabSz="878954"/>
                <a:r>
                  <a:rPr lang="ru-RU" sz="800" b="1" dirty="0">
                    <a:solidFill>
                      <a:srgbClr val="A40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Владивосток</a:t>
                </a:r>
              </a:p>
            </p:txBody>
          </p:sp>
          <p:cxnSp>
            <p:nvCxnSpPr>
              <p:cNvPr id="162" name="Прямая со стрелкой 161">
                <a:extLst>
                  <a:ext uri="{FF2B5EF4-FFF2-40B4-BE49-F238E27FC236}">
                    <a16:creationId xmlns:a16="http://schemas.microsoft.com/office/drawing/2014/main" id="{77B91BE9-314B-4289-890F-89DD2B044A1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729163" y="1270930"/>
                <a:ext cx="748108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7" name="Блок-схема: узел 196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610259" y="2842927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98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04002" y="2872498"/>
                <a:ext cx="279479" cy="89090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600" b="1" kern="0" dirty="0" err="1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Акжигит</a:t>
                </a:r>
                <a:endPara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endParaRPr>
              </a:p>
            </p:txBody>
          </p:sp>
          <p:sp>
            <p:nvSpPr>
              <p:cNvPr id="77" name="Блок-схема: узел 76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538431" y="1909639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66" name="AutoShape 19">
                <a:extLst>
                  <a:ext uri="{FF2B5EF4-FFF2-40B4-BE49-F238E27FC236}">
                    <a16:creationId xmlns:a16="http://schemas.microsoft.com/office/drawing/2014/main" id="{0A535F92-F0C9-40A6-9767-1DE3C764B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1760" y="2015496"/>
                <a:ext cx="431982" cy="80650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Оренбург</a:t>
                </a:r>
              </a:p>
            </p:txBody>
          </p:sp>
          <p:sp>
            <p:nvSpPr>
              <p:cNvPr id="11" name="Блок-схема: узел 10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786089" y="2153991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39" name="Блок-схема: узел 38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2195736" y="249974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201" name="Блок-схема: узел 200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987039" y="325106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202" name="AutoShape 19">
                <a:extLst>
                  <a:ext uri="{FF2B5EF4-FFF2-40B4-BE49-F238E27FC236}">
                    <a16:creationId xmlns:a16="http://schemas.microsoft.com/office/drawing/2014/main" id="{23188729-BF69-4AC0-9904-118EB2AB5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77624" y="3323791"/>
                <a:ext cx="291056" cy="84683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Баку</a:t>
                </a:r>
              </a:p>
            </p:txBody>
          </p:sp>
          <p:sp>
            <p:nvSpPr>
              <p:cNvPr id="56" name="Блок-схема: узел 55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005523" y="1419622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52" name="Блок-схема: узел 151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4187213" y="3099354"/>
                <a:ext cx="144016" cy="144016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95" name="Блок-схема: узел 194">
                <a:extLst>
                  <a:ext uri="{FF2B5EF4-FFF2-40B4-BE49-F238E27FC236}">
                    <a16:creationId xmlns:a16="http://schemas.microsoft.com/office/drawing/2014/main" id="{89A2D7D5-8A18-48A1-81F9-842914E9000D}"/>
                  </a:ext>
                </a:extLst>
              </p:cNvPr>
              <p:cNvSpPr/>
              <p:nvPr/>
            </p:nvSpPr>
            <p:spPr>
              <a:xfrm>
                <a:off x="1195915" y="2551693"/>
                <a:ext cx="72008" cy="72008"/>
              </a:xfrm>
              <a:prstGeom prst="flowChartConnector">
                <a:avLst/>
              </a:prstGeom>
              <a:solidFill>
                <a:srgbClr val="FFFF00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1434" tIns="25718" rIns="51434" bIns="25718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endParaRPr lang="ru-RU" sz="1100" kern="0">
                  <a:solidFill>
                    <a:srgbClr val="FFFFFF"/>
                  </a:solidFill>
                  <a:sym typeface="Arial"/>
                </a:endParaRPr>
              </a:p>
            </p:txBody>
          </p:sp>
          <p:sp>
            <p:nvSpPr>
              <p:cNvPr id="196" name="AutoShape 19">
                <a:extLst>
                  <a:ext uri="{FF2B5EF4-FFF2-40B4-BE49-F238E27FC236}">
                    <a16:creationId xmlns:a16="http://schemas.microsoft.com/office/drawing/2014/main" id="{C07E5574-6F69-4BDA-A586-C00C88A8B3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095" y="2648844"/>
                <a:ext cx="739290" cy="132456"/>
              </a:xfrm>
              <a:prstGeom prst="roundRect">
                <a:avLst>
                  <a:gd name="adj" fmla="val 16667"/>
                </a:avLst>
              </a:prstGeom>
              <a:solidFill>
                <a:srgbClr val="FFFFFF">
                  <a:alpha val="87843"/>
                </a:srgbClr>
              </a:solidFill>
              <a:ln w="3175"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3500" tIns="26999" rIns="13500" bIns="26999" anchor="ctr"/>
              <a:lstStyle/>
              <a:p>
                <a:pPr algn="ctr" defTabSz="659216">
                  <a:buClr>
                    <a:srgbClr val="000000"/>
                  </a:buClr>
                  <a:defRPr/>
                </a:pPr>
                <a:r>
                  <a:rPr lang="ru-RU" sz="800" b="1" kern="0" dirty="0">
                    <a:solidFill>
                      <a:prstClr val="black"/>
                    </a:solidFill>
                    <a:latin typeface="Franklin Gothic Medium Cond" pitchFamily="34" charset="0"/>
                    <a:cs typeface="Arial" pitchFamily="34" charset="0"/>
                    <a:sym typeface="Arial"/>
                  </a:rPr>
                  <a:t>Ростов на Дону</a:t>
                </a:r>
              </a:p>
            </p:txBody>
          </p:sp>
        </p:grp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5914845" y="644694"/>
              <a:ext cx="2869455" cy="448963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15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РЕСЕЙ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8702829" y="5207894"/>
              <a:ext cx="2869455" cy="448963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15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ҚЫТАЙ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4915536" y="4484103"/>
              <a:ext cx="1468496" cy="319257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9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УЗБЕКИСТАН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7783742" y="4648248"/>
              <a:ext cx="1293243" cy="297640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800" b="1" dirty="0" smtClean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КЫР</a:t>
              </a:r>
              <a:r>
                <a:rPr lang="kk-KZ" sz="8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Ғ</a:t>
              </a:r>
              <a:r>
                <a:rPr lang="ru-RU" sz="800" b="1" dirty="0" smtClean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ЫЗСТАН</a:t>
              </a:r>
              <a:endParaRPr lang="ru-RU" sz="800" b="1" dirty="0">
                <a:solidFill>
                  <a:srgbClr val="A4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60" name="AutoShape 19">
              <a:extLst>
                <a:ext uri="{FF2B5EF4-FFF2-40B4-BE49-F238E27FC236}">
                  <a16:creationId xmlns:a16="http://schemas.microsoft.com/office/drawing/2014/main" id="{C07E5574-6F69-4BDA-A586-C00C88A8B3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8187" y="4485122"/>
              <a:ext cx="619503" cy="192023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7306" tIns="34610" rIns="17306" bIns="34610" anchor="ctr"/>
            <a:lstStyle/>
            <a:p>
              <a:pPr algn="ctr" defTabSz="659216">
                <a:buClr>
                  <a:srgbClr val="000000"/>
                </a:buClr>
                <a:defRPr/>
              </a:pPr>
              <a:r>
                <a: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rPr>
                <a:t>Карасу</a:t>
              </a:r>
              <a:r>
                <a:rPr lang="en-US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rPr>
                <a:t> </a:t>
              </a:r>
              <a:r>
                <a:rPr lang="ru-RU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rPr>
                <a:t> </a:t>
              </a:r>
              <a:r>
                <a:rPr lang="kk-KZ" sz="600" b="1" kern="0" dirty="0">
                  <a:solidFill>
                    <a:prstClr val="black"/>
                  </a:solidFill>
                  <a:latin typeface="Franklin Gothic Medium Cond" pitchFamily="34" charset="0"/>
                  <a:cs typeface="Arial" pitchFamily="34" charset="0"/>
                  <a:sym typeface="Arial"/>
                </a:rPr>
                <a:t>ө.п</a:t>
              </a:r>
              <a:endParaRPr lang="ru-RU" sz="600" b="1" kern="0" dirty="0">
                <a:solidFill>
                  <a:prstClr val="black"/>
                </a:solidFill>
                <a:latin typeface="Franklin Gothic Medium Cond" pitchFamily="34" charset="0"/>
                <a:cs typeface="Arial" pitchFamily="34" charset="0"/>
                <a:sym typeface="Arial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 rot="21087884">
              <a:off x="15309" y="1946038"/>
              <a:ext cx="1222202" cy="297640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800" b="1" dirty="0" err="1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Европаға</a:t>
              </a:r>
              <a:endParaRPr lang="ru-RU" sz="800" b="1" dirty="0">
                <a:solidFill>
                  <a:srgbClr val="A4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65" name="Прямая со стрелкой 164">
              <a:extLst>
                <a:ext uri="{FF2B5EF4-FFF2-40B4-BE49-F238E27FC236}">
                  <a16:creationId xmlns:a16="http://schemas.microsoft.com/office/drawing/2014/main" id="{77B91BE9-314B-4289-890F-89DD2B044A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3340" y="2276873"/>
              <a:ext cx="900560" cy="9264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239348" y="2660920"/>
              <a:ext cx="1248138" cy="319257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900" b="1" dirty="0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Беларусь</a:t>
              </a:r>
            </a:p>
          </p:txBody>
        </p:sp>
        <p:sp>
          <p:nvSpPr>
            <p:cNvPr id="175" name="Овал 174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5662310" y="3878365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1</a:t>
              </a:r>
            </a:p>
          </p:txBody>
        </p:sp>
        <p:sp>
          <p:nvSpPr>
            <p:cNvPr id="178" name="Овал 177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7170113" y="3691301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2</a:t>
              </a:r>
            </a:p>
          </p:txBody>
        </p:sp>
        <p:sp>
          <p:nvSpPr>
            <p:cNvPr id="179" name="Овал 178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6449007" y="3043333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3</a:t>
              </a:r>
            </a:p>
          </p:txBody>
        </p:sp>
        <p:sp>
          <p:nvSpPr>
            <p:cNvPr id="180" name="Овал 179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7682636" y="3068474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4</a:t>
              </a:r>
            </a:p>
          </p:txBody>
        </p:sp>
        <p:sp>
          <p:nvSpPr>
            <p:cNvPr id="181" name="Овал 180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8244924" y="3756455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5</a:t>
              </a:r>
            </a:p>
          </p:txBody>
        </p:sp>
        <p:sp>
          <p:nvSpPr>
            <p:cNvPr id="182" name="Овал 181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4655846" y="3436609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6</a:t>
              </a:r>
            </a:p>
          </p:txBody>
        </p:sp>
        <p:sp>
          <p:nvSpPr>
            <p:cNvPr id="183" name="Овал 182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4479281" y="4168302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8</a:t>
              </a:r>
            </a:p>
          </p:txBody>
        </p:sp>
        <p:sp>
          <p:nvSpPr>
            <p:cNvPr id="184" name="Овал 183">
              <a:extLst>
                <a:ext uri="{FF2B5EF4-FFF2-40B4-BE49-F238E27FC236}">
                  <a16:creationId xmlns:a16="http://schemas.microsoft.com/office/drawing/2014/main" id="{3C1B0205-4689-4849-A350-3219F95DA36E}"/>
                </a:ext>
              </a:extLst>
            </p:cNvPr>
            <p:cNvSpPr/>
            <p:nvPr/>
          </p:nvSpPr>
          <p:spPr>
            <a:xfrm>
              <a:off x="4176743" y="3454427"/>
              <a:ext cx="292447" cy="232026"/>
            </a:xfrm>
            <a:prstGeom prst="ellipse">
              <a:avLst/>
            </a:prstGeom>
            <a:solidFill>
              <a:schemeClr val="bg1"/>
            </a:solidFill>
            <a:ln w="222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7907" tIns="43955" rIns="87907" bIns="43955" anchor="ctr"/>
            <a:lstStyle/>
            <a:p>
              <a:pPr algn="ctr" defTabSz="659216">
                <a:buClr>
                  <a:srgbClr val="000000"/>
                </a:buClr>
              </a:pPr>
              <a:r>
                <a:rPr lang="ru-RU" sz="1500" b="1" kern="0" dirty="0">
                  <a:solidFill>
                    <a:srgbClr val="000000"/>
                  </a:solidFill>
                  <a:sym typeface="Arial"/>
                </a:rPr>
                <a:t>7</a:t>
              </a:r>
            </a:p>
          </p:txBody>
        </p:sp>
        <p:cxnSp>
          <p:nvCxnSpPr>
            <p:cNvPr id="199" name="Прямая со стрелкой 198">
              <a:extLst>
                <a:ext uri="{FF2B5EF4-FFF2-40B4-BE49-F238E27FC236}">
                  <a16:creationId xmlns:a16="http://schemas.microsoft.com/office/drawing/2014/main" id="{77B91BE9-314B-4289-890F-89DD2B044A1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321808" y="4842335"/>
              <a:ext cx="1271044" cy="85208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0" name="TextBox 199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 rot="21269987">
              <a:off x="1997989" y="4526848"/>
              <a:ext cx="1914965" cy="297640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800" b="1" dirty="0" err="1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Европаға</a:t>
              </a:r>
              <a:endParaRPr lang="ru-RU" sz="800" b="1" dirty="0">
                <a:solidFill>
                  <a:srgbClr val="A4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52" name="Прямая соединительная линия 51"/>
            <p:cNvCxnSpPr>
              <a:endCxn id="201" idx="7"/>
            </p:cNvCxnSpPr>
            <p:nvPr/>
          </p:nvCxnSpPr>
          <p:spPr>
            <a:xfrm flipH="1">
              <a:off x="3945094" y="4395370"/>
              <a:ext cx="257732" cy="462899"/>
            </a:xfrm>
            <a:prstGeom prst="line">
              <a:avLst/>
            </a:prstGeom>
            <a:ln w="15875"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7" name="TextBox 186">
              <a:extLst>
                <a:ext uri="{FF2B5EF4-FFF2-40B4-BE49-F238E27FC236}">
                  <a16:creationId xmlns:a16="http://schemas.microsoft.com/office/drawing/2014/main" id="{7917B5C9-9740-4AB0-985F-203A558A005E}"/>
                </a:ext>
              </a:extLst>
            </p:cNvPr>
            <p:cNvSpPr txBox="1"/>
            <p:nvPr/>
          </p:nvSpPr>
          <p:spPr>
            <a:xfrm>
              <a:off x="879372" y="3213870"/>
              <a:ext cx="1106035" cy="297640"/>
            </a:xfrm>
            <a:prstGeom prst="rect">
              <a:avLst/>
            </a:prstGeom>
            <a:noFill/>
          </p:spPr>
          <p:txBody>
            <a:bodyPr wrap="square" lIns="87910" tIns="43955" rIns="87910" bIns="43955" rtlCol="0">
              <a:spAutoFit/>
            </a:bodyPr>
            <a:lstStyle/>
            <a:p>
              <a:pPr defTabSz="878954"/>
              <a:r>
                <a:rPr lang="ru-RU" sz="800" b="1" dirty="0" err="1">
                  <a:solidFill>
                    <a:srgbClr val="A4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Европаға</a:t>
              </a:r>
              <a:endParaRPr lang="ru-RU" sz="800" b="1" dirty="0">
                <a:solidFill>
                  <a:srgbClr val="A4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194" name="Прямая со стрелкой 193">
              <a:extLst>
                <a:ext uri="{FF2B5EF4-FFF2-40B4-BE49-F238E27FC236}">
                  <a16:creationId xmlns:a16="http://schemas.microsoft.com/office/drawing/2014/main" id="{77B91BE9-314B-4289-890F-89DD2B044A1A}"/>
                </a:ext>
              </a:extLst>
            </p:cNvPr>
            <p:cNvCxnSpPr>
              <a:cxnSpLocks/>
            </p:cNvCxnSpPr>
            <p:nvPr/>
          </p:nvCxnSpPr>
          <p:spPr>
            <a:xfrm rot="512116" flipH="1">
              <a:off x="1005953" y="3528312"/>
              <a:ext cx="900560" cy="92646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Группа 12"/>
          <p:cNvGrpSpPr/>
          <p:nvPr/>
        </p:nvGrpSpPr>
        <p:grpSpPr>
          <a:xfrm>
            <a:off x="10289" y="4135312"/>
            <a:ext cx="3102970" cy="996758"/>
            <a:chOff x="21251" y="4143589"/>
            <a:chExt cx="3102969" cy="996778"/>
          </a:xfrm>
        </p:grpSpPr>
        <p:sp>
          <p:nvSpPr>
            <p:cNvPr id="169" name="Rectangle 44">
              <a:extLst>
                <a:ext uri="{FF2B5EF4-FFF2-40B4-BE49-F238E27FC236}">
                  <a16:creationId xmlns:a16="http://schemas.microsoft.com/office/drawing/2014/main" id="{DE12E711-C0A1-4447-BD27-BD09E01B3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253" y="4295099"/>
              <a:ext cx="3102967" cy="845268"/>
            </a:xfrm>
            <a:prstGeom prst="rect">
              <a:avLst/>
            </a:prstGeom>
            <a:solidFill>
              <a:schemeClr val="accent5">
                <a:lumMod val="20000"/>
                <a:lumOff val="80000"/>
                <a:alpha val="90000"/>
              </a:schemeClr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txBody>
            <a:bodyPr wrap="none" lIns="65835" tIns="107997" rIns="65835" bIns="32918" anchor="ctr"/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</a:defRPr>
              </a:lvl1pPr>
              <a:lvl2pPr marL="452438" indent="-127000" eaLnBrk="0" hangingPunct="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defTabSz="659216" eaLnBrk="1" hangingPunct="1">
                <a:lnSpc>
                  <a:spcPct val="150000"/>
                </a:lnSpc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            </a:t>
              </a:r>
            </a:p>
            <a:p>
              <a:pPr defTabSz="659216" eaLnBrk="1" hangingPunct="1">
                <a:lnSpc>
                  <a:spcPct val="150000"/>
                </a:lnSpc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         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Қазақстан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Республикасы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дәліздері</a:t>
              </a:r>
              <a:endParaRPr lang="x-none" altLang="ru-RU" sz="800" kern="0" dirty="0">
                <a:solidFill>
                  <a:srgbClr val="000000"/>
                </a:solidFill>
                <a:latin typeface="Franklin Gothic Medium Cond" pitchFamily="34" charset="0"/>
                <a:cs typeface="Arial" charset="0"/>
                <a:sym typeface="Arial"/>
              </a:endParaRPr>
            </a:p>
            <a:p>
              <a:pPr defTabSz="659216" eaLnBrk="1" hangingPunct="1">
                <a:lnSpc>
                  <a:spcPct val="150000"/>
                </a:lnSpc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          РФ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автомагистральдары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700" i="1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(БЕ-БҚ, Меридиан, </a:t>
              </a:r>
              <a:r>
                <a:rPr lang="ru-RU" altLang="ru-RU" sz="700" i="1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Транссіб.магистралі</a:t>
              </a:r>
              <a:r>
                <a:rPr lang="ru-RU" altLang="ru-RU" sz="700" i="1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)</a:t>
              </a:r>
            </a:p>
            <a:p>
              <a:pPr defTabSz="659216" eaLnBrk="1" hangingPunct="1">
                <a:lnSpc>
                  <a:spcPct val="150000"/>
                </a:lnSpc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          ҚХР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автомагистральдары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700" i="1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(БЕ-БҚ)</a:t>
              </a:r>
            </a:p>
            <a:p>
              <a:pPr defTabSz="659216" eaLnBrk="1" hangingPunct="1">
                <a:lnSpc>
                  <a:spcPct val="150000"/>
                </a:lnSpc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         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Өзбекстан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Республикасының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  <a:r>
                <a:rPr lang="ru-RU" altLang="ru-RU" sz="800" kern="0" dirty="0" err="1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автомагистральдары</a:t>
              </a: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</a:t>
              </a:r>
            </a:p>
            <a:p>
              <a:pPr defTabSz="659216" eaLnBrk="1" hangingPunct="1"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r>
                <a:rPr lang="ru-RU" altLang="ru-RU" sz="800" kern="0" dirty="0">
                  <a:solidFill>
                    <a:srgbClr val="000000"/>
                  </a:solidFill>
                  <a:latin typeface="Franklin Gothic Medium Cond" pitchFamily="34" charset="0"/>
                  <a:cs typeface="Arial" charset="0"/>
                  <a:sym typeface="Arial"/>
                </a:rPr>
                <a:t>                         </a:t>
              </a:r>
              <a:endParaRPr lang="x-none" altLang="ru-RU" sz="800" kern="0" dirty="0">
                <a:solidFill>
                  <a:srgbClr val="000000"/>
                </a:solidFill>
                <a:latin typeface="Franklin Gothic Medium Cond" pitchFamily="34" charset="0"/>
                <a:cs typeface="Arial" charset="0"/>
                <a:sym typeface="Arial"/>
              </a:endParaRPr>
            </a:p>
            <a:p>
              <a:pPr defTabSz="659216" eaLnBrk="1" hangingPunct="1">
                <a:spcBef>
                  <a:spcPct val="0"/>
                </a:spcBef>
                <a:buClr>
                  <a:srgbClr val="000000"/>
                </a:buClr>
                <a:buNone/>
                <a:defRPr/>
              </a:pPr>
              <a:endParaRPr lang="ru-RU" altLang="ru-RU" sz="800" kern="0" dirty="0">
                <a:solidFill>
                  <a:srgbClr val="000000"/>
                </a:solidFill>
                <a:latin typeface="Franklin Gothic Medium Cond" pitchFamily="34" charset="0"/>
                <a:cs typeface="Arial" charset="0"/>
                <a:sym typeface="Arial"/>
              </a:endParaRPr>
            </a:p>
          </p:txBody>
        </p:sp>
        <p:sp>
          <p:nvSpPr>
            <p:cNvPr id="170" name="Line 45">
              <a:extLst>
                <a:ext uri="{FF2B5EF4-FFF2-40B4-BE49-F238E27FC236}">
                  <a16:creationId xmlns:a16="http://schemas.microsoft.com/office/drawing/2014/main" id="{353888E5-AB8D-40B3-B2D2-EDEC74B2B84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7932" y="4827502"/>
              <a:ext cx="438993" cy="0"/>
            </a:xfrm>
            <a:prstGeom prst="line">
              <a:avLst/>
            </a:prstGeom>
            <a:noFill/>
            <a:ln w="63500">
              <a:solidFill>
                <a:srgbClr val="00B05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8579" tIns="34289" rIns="68579" bIns="34289"/>
            <a:lstStyle/>
            <a:p>
              <a:pPr defTabSz="659216">
                <a:buClr>
                  <a:srgbClr val="000000"/>
                </a:buClr>
              </a:pPr>
              <a:endParaRPr lang="x-none" sz="17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172" name="Line 45">
              <a:extLst>
                <a:ext uri="{FF2B5EF4-FFF2-40B4-BE49-F238E27FC236}">
                  <a16:creationId xmlns:a16="http://schemas.microsoft.com/office/drawing/2014/main" id="{2F5F1F56-3FF6-4819-9070-A39B431EC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7932" y="4987090"/>
              <a:ext cx="438993" cy="0"/>
            </a:xfrm>
            <a:prstGeom prst="line">
              <a:avLst/>
            </a:prstGeom>
            <a:ln w="60325">
              <a:solidFill>
                <a:srgbClr val="CC9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878954">
                <a:buClr>
                  <a:srgbClr val="000000"/>
                </a:buClr>
                <a:defRPr/>
              </a:pPr>
              <a:endParaRPr lang="ru-RU" sz="2000">
                <a:solidFill>
                  <a:prstClr val="black"/>
                </a:solidFill>
                <a:sym typeface="Arial"/>
              </a:endParaRPr>
            </a:p>
          </p:txBody>
        </p:sp>
        <p:sp>
          <p:nvSpPr>
            <p:cNvPr id="173" name="Line 45">
              <a:extLst>
                <a:ext uri="{FF2B5EF4-FFF2-40B4-BE49-F238E27FC236}">
                  <a16:creationId xmlns:a16="http://schemas.microsoft.com/office/drawing/2014/main" id="{B0B88679-F281-4D00-AF44-D2185C32B76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7932" y="4656147"/>
              <a:ext cx="438993" cy="0"/>
            </a:xfrm>
            <a:prstGeom prst="line">
              <a:avLst/>
            </a:prstGeom>
            <a:ln w="63500">
              <a:solidFill>
                <a:schemeClr val="accent6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8579" tIns="34289" rIns="68579" bIns="34289" anchor="ctr"/>
            <a:lstStyle/>
            <a:p>
              <a:pPr algn="ctr" defTabSz="659216">
                <a:buClr>
                  <a:srgbClr val="000000"/>
                </a:buClr>
                <a:defRPr/>
              </a:pPr>
              <a:endParaRPr lang="ru-RU" sz="1700" kern="0">
                <a:solidFill>
                  <a:srgbClr val="000000"/>
                </a:solidFill>
                <a:sym typeface="Arial"/>
              </a:endParaRPr>
            </a:p>
          </p:txBody>
        </p:sp>
        <p:sp>
          <p:nvSpPr>
            <p:cNvPr id="174" name="Line 45">
              <a:extLst>
                <a:ext uri="{FF2B5EF4-FFF2-40B4-BE49-F238E27FC236}">
                  <a16:creationId xmlns:a16="http://schemas.microsoft.com/office/drawing/2014/main" id="{5862944A-9280-437E-8EBD-353D7E5709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455" y="4243999"/>
              <a:ext cx="669286" cy="0"/>
            </a:xfrm>
            <a:prstGeom prst="line">
              <a:avLst/>
            </a:prstGeom>
            <a:noFill/>
            <a:ln w="6350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68579" tIns="34289" rIns="68579" bIns="34289"/>
            <a:lstStyle/>
            <a:p>
              <a:pPr defTabSz="659216">
                <a:buClr>
                  <a:srgbClr val="000000"/>
                </a:buClr>
              </a:pPr>
              <a:endParaRPr lang="x-none" sz="17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177" name="Прямоугольник 176"/>
            <p:cNvSpPr/>
            <p:nvPr/>
          </p:nvSpPr>
          <p:spPr>
            <a:xfrm>
              <a:off x="21251" y="4143589"/>
              <a:ext cx="3102968" cy="148646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878954"/>
              <a:r>
                <a:rPr lang="ru-RU" sz="1100" b="1" dirty="0" err="1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Шартты</a:t>
              </a:r>
              <a:r>
                <a:rPr lang="ru-RU" sz="1100" b="1" dirty="0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100" b="1" dirty="0" err="1">
                  <a:solidFill>
                    <a:srgbClr val="002060"/>
                  </a:solidFill>
                  <a:latin typeface="Arial" pitchFamily="34" charset="0"/>
                  <a:cs typeface="Arial" pitchFamily="34" charset="0"/>
                </a:rPr>
                <a:t>белгілері</a:t>
              </a:r>
              <a:endParaRPr lang="ru-RU" sz="11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1" name="Line 45">
              <a:extLst>
                <a:ext uri="{FF2B5EF4-FFF2-40B4-BE49-F238E27FC236}">
                  <a16:creationId xmlns:a16="http://schemas.microsoft.com/office/drawing/2014/main" id="{2F5F1F56-3FF6-4819-9070-A39B431EC34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39455" y="4477016"/>
              <a:ext cx="438993" cy="0"/>
            </a:xfrm>
            <a:prstGeom prst="line">
              <a:avLst/>
            </a:prstGeom>
            <a:ln w="6032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878954">
                <a:buClr>
                  <a:srgbClr val="000000"/>
                </a:buClr>
                <a:defRPr/>
              </a:pPr>
              <a:endParaRPr lang="ru-RU" sz="2000">
                <a:solidFill>
                  <a:prstClr val="black"/>
                </a:solidFill>
                <a:sym typeface="Arial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6287784" y="347020"/>
            <a:ext cx="2840731" cy="394723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 lIns="68571" tIns="34289" rIns="68571" bIns="34289">
            <a:spAutoFit/>
          </a:bodyPr>
          <a:lstStyle/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ілздердің</a:t>
            </a:r>
            <a:r>
              <a:rPr lang="ru-RU" sz="12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2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шықтығы</a:t>
            </a:r>
            <a:r>
              <a:rPr lang="ru-RU" sz="12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200" b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3 </a:t>
            </a:r>
            <a:r>
              <a:rPr lang="ru-RU" sz="1200" b="1" dirty="0" err="1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мың.км</a:t>
            </a:r>
            <a:r>
              <a:rPr lang="ru-RU" sz="1200" b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700" b="1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. «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тыс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уропа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тыс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тай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2 747 км </a:t>
            </a:r>
            <a:b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</a:br>
            <a:endParaRPr lang="ru-RU" sz="500" b="1" i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. «Алматы – Астана –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етропавловл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РФ» -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 868 км </a:t>
            </a:r>
            <a:b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</a:br>
            <a:endParaRPr lang="ru-RU" sz="500" b="1" i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. «Астана –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танай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РФ» -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860 км</a:t>
            </a:r>
            <a:r>
              <a:rPr lang="ru-RU" sz="11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b="1" i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. «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йқапшағай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батау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Семей – Павлодар – РФ» - </a:t>
            </a:r>
            <a:b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 116 км </a:t>
            </a:r>
            <a:b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</a:br>
            <a:endParaRPr lang="ru-RU" sz="500" b="1" i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5. «Алматы -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дықорған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скемен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Шемонаиха – РФ» - </a:t>
            </a:r>
            <a:b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 210 км </a:t>
            </a:r>
            <a:b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</a:br>
            <a:endParaRPr lang="ru-RU" sz="500" b="1" i="1" kern="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6. «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төбе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Атырау-РФ» -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893 км</a:t>
            </a:r>
            <a:r>
              <a:rPr lang="ru-RU" sz="11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ru-RU" sz="11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</a:br>
            <a:endParaRPr lang="ru-RU" sz="500" b="1" i="1" kern="0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7. «Атырау – Орал– РФ» -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587 км </a:t>
            </a: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500" b="1" i="1" kern="0" dirty="0">
              <a:solidFill>
                <a:srgbClr val="006600"/>
              </a:solidFill>
              <a:latin typeface="Arial" pitchFamily="34" charset="0"/>
              <a:cs typeface="Arial" pitchFamily="34" charset="0"/>
            </a:endParaRPr>
          </a:p>
          <a:p>
            <a:pPr algn="ctr" defTabSz="65908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8. ТРАСЕКА </a:t>
            </a:r>
            <a:r>
              <a:rPr lang="ru-RU" sz="1200" b="1" i="1" kern="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әлізі</a:t>
            </a:r>
            <a:r>
              <a:rPr lang="ru-RU" sz="1200" b="1" i="1" kern="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i="1" kern="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 016 км</a:t>
            </a:r>
          </a:p>
        </p:txBody>
      </p:sp>
      <p:sp>
        <p:nvSpPr>
          <p:cNvPr id="15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876006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kk-KZ" dirty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112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/>
          <p:cNvSpPr/>
          <p:nvPr/>
        </p:nvSpPr>
        <p:spPr bwMode="auto">
          <a:xfrm>
            <a:off x="95692" y="4098740"/>
            <a:ext cx="1818977" cy="757651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9615" tIns="50299" rIns="39615" bIns="502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</a:t>
            </a:r>
            <a:r>
              <a:rPr lang="en-US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altLang="ru-RU" sz="1400" b="1" dirty="0" err="1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79 км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3541121" y="4371950"/>
            <a:ext cx="3047103" cy="720080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9615" tIns="50299" rIns="39615" bIns="50299" anchor="ctr"/>
          <a:lstStyle/>
          <a:p>
            <a:pPr marL="20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14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гілікті</a:t>
            </a:r>
            <a:r>
              <a:rPr lang="ru-RU" altLang="ru-RU" sz="20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</a:t>
            </a:r>
            <a:endParaRPr lang="ru-RU" altLang="ru-RU" sz="2000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6 </a:t>
            </a:r>
            <a:r>
              <a:rPr lang="ru-RU" sz="1400" b="1" dirty="0" err="1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.км</a:t>
            </a:r>
            <a:endParaRPr lang="ru-RU" sz="1400" b="1" dirty="0">
              <a:solidFill>
                <a:srgbClr val="008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96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</a:t>
            </a:r>
            <a:r>
              <a:rPr lang="en-US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altLang="ru-RU" sz="1400" b="1" dirty="0" err="1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м</a:t>
            </a:r>
            <a:endParaRPr lang="ru-RU" sz="1400" b="1" dirty="0">
              <a:solidFill>
                <a:srgbClr val="008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3561" y="-50360"/>
            <a:ext cx="9107341" cy="341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kk-KZ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rPr>
              <a:t>АВТОЖОЛ САЛАСЫНЫҢ 2022 ЖЫЛҒА ЖОСПАРЛАРЫ</a:t>
            </a:r>
            <a:endParaRPr lang="ru-RU" b="1" dirty="0">
              <a:solidFill>
                <a:srgbClr val="4F81BD">
                  <a:lumMod val="5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54" name="Прямоугольник 42"/>
          <p:cNvSpPr>
            <a:spLocks noChangeArrowheads="1"/>
          </p:cNvSpPr>
          <p:nvPr/>
        </p:nvSpPr>
        <p:spPr bwMode="auto">
          <a:xfrm>
            <a:off x="68531" y="1563638"/>
            <a:ext cx="4244224" cy="42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197" rIns="0" bIns="51197" anchor="ctr">
            <a:spAutoFit/>
          </a:bodyPr>
          <a:lstStyle/>
          <a:p>
            <a:pPr defTabSz="1290638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ru-RU" altLang="ru-RU" sz="2100" b="1" dirty="0" err="1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21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м</a:t>
            </a:r>
            <a:endParaRPr lang="en-US" altLang="ru-RU" sz="21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55" name="Прямоугольник 1"/>
          <p:cNvSpPr>
            <a:spLocks noChangeArrowheads="1"/>
          </p:cNvSpPr>
          <p:nvPr/>
        </p:nvSpPr>
        <p:spPr bwMode="auto">
          <a:xfrm>
            <a:off x="-2437" y="2276186"/>
            <a:ext cx="2939538" cy="65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0623" tIns="50312" rIns="100623" bIns="50312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лық</a:t>
            </a:r>
            <a:r>
              <a:rPr lang="ru-RU" altLang="ru-RU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u="sng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</a:t>
            </a:r>
            <a:endParaRPr lang="ru-RU" altLang="ru-RU" b="1" u="sng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kk-KZ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7 мың</a:t>
            </a:r>
            <a:r>
              <a:rPr lang="ru-RU" altLang="ru-RU" b="1" dirty="0">
                <a:solidFill>
                  <a:srgbClr val="008000"/>
                </a:solidFill>
                <a:latin typeface="Arial" pitchFamily="34" charset="0"/>
                <a:cs typeface="Arial" pitchFamily="34" charset="0"/>
              </a:rPr>
              <a:t>.км, </a:t>
            </a:r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3113046" y="608520"/>
            <a:ext cx="6037352" cy="3998886"/>
            <a:chOff x="2843808" y="444637"/>
            <a:chExt cx="6305256" cy="3998886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2843808" y="994620"/>
              <a:ext cx="6305256" cy="3448903"/>
              <a:chOff x="3108926" y="548680"/>
              <a:chExt cx="6040138" cy="3448903"/>
            </a:xfrm>
          </p:grpSpPr>
          <p:grpSp>
            <p:nvGrpSpPr>
              <p:cNvPr id="18" name="Группа 17"/>
              <p:cNvGrpSpPr/>
              <p:nvPr/>
            </p:nvGrpSpPr>
            <p:grpSpPr>
              <a:xfrm>
                <a:off x="3108926" y="548680"/>
                <a:ext cx="6040138" cy="3448903"/>
                <a:chOff x="3853006" y="470261"/>
                <a:chExt cx="5201255" cy="2965586"/>
              </a:xfrm>
            </p:grpSpPr>
            <p:grpSp>
              <p:nvGrpSpPr>
                <p:cNvPr id="19" name="Группа 18"/>
                <p:cNvGrpSpPr/>
                <p:nvPr/>
              </p:nvGrpSpPr>
              <p:grpSpPr>
                <a:xfrm>
                  <a:off x="3853006" y="470261"/>
                  <a:ext cx="5183490" cy="2965586"/>
                  <a:chOff x="1385821" y="1963639"/>
                  <a:chExt cx="12347707" cy="6849357"/>
                </a:xfrm>
                <a:solidFill>
                  <a:schemeClr val="bg1">
                    <a:lumMod val="50000"/>
                    <a:alpha val="75000"/>
                  </a:schemeClr>
                </a:solidFill>
              </p:grpSpPr>
              <p:sp>
                <p:nvSpPr>
                  <p:cNvPr id="282" name="Freeform 3">
                    <a:extLst>
                      <a:ext uri="{FF2B5EF4-FFF2-40B4-BE49-F238E27FC236}">
                        <a16:creationId xmlns:a16="http://schemas.microsoft.com/office/drawing/2014/main" id="{8983761F-9518-4200-8734-BB78F21EEFA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358649" y="6239512"/>
                    <a:ext cx="1855635" cy="2573484"/>
                  </a:xfrm>
                  <a:custGeom>
                    <a:avLst/>
                    <a:gdLst/>
                    <a:ahLst/>
                    <a:cxnLst>
                      <a:cxn ang="0">
                        <a:pos x="138" y="16"/>
                      </a:cxn>
                      <a:cxn ang="0">
                        <a:pos x="180" y="7"/>
                      </a:cxn>
                      <a:cxn ang="0">
                        <a:pos x="260" y="10"/>
                      </a:cxn>
                      <a:cxn ang="0">
                        <a:pos x="291" y="2"/>
                      </a:cxn>
                      <a:cxn ang="0">
                        <a:pos x="293" y="44"/>
                      </a:cxn>
                      <a:cxn ang="0">
                        <a:pos x="303" y="77"/>
                      </a:cxn>
                      <a:cxn ang="0">
                        <a:pos x="312" y="107"/>
                      </a:cxn>
                      <a:cxn ang="0">
                        <a:pos x="333" y="140"/>
                      </a:cxn>
                      <a:cxn ang="0">
                        <a:pos x="348" y="173"/>
                      </a:cxn>
                      <a:cxn ang="0">
                        <a:pos x="357" y="197"/>
                      </a:cxn>
                      <a:cxn ang="0">
                        <a:pos x="357" y="241"/>
                      </a:cxn>
                      <a:cxn ang="0">
                        <a:pos x="348" y="278"/>
                      </a:cxn>
                      <a:cxn ang="0">
                        <a:pos x="342" y="335"/>
                      </a:cxn>
                      <a:cxn ang="0">
                        <a:pos x="378" y="373"/>
                      </a:cxn>
                      <a:cxn ang="0">
                        <a:pos x="392" y="391"/>
                      </a:cxn>
                      <a:cxn ang="0">
                        <a:pos x="462" y="430"/>
                      </a:cxn>
                      <a:cxn ang="0">
                        <a:pos x="455" y="470"/>
                      </a:cxn>
                      <a:cxn ang="0">
                        <a:pos x="435" y="499"/>
                      </a:cxn>
                      <a:cxn ang="0">
                        <a:pos x="404" y="512"/>
                      </a:cxn>
                      <a:cxn ang="0">
                        <a:pos x="371" y="527"/>
                      </a:cxn>
                      <a:cxn ang="0">
                        <a:pos x="332" y="565"/>
                      </a:cxn>
                      <a:cxn ang="0">
                        <a:pos x="306" y="607"/>
                      </a:cxn>
                      <a:cxn ang="0">
                        <a:pos x="290" y="622"/>
                      </a:cxn>
                      <a:cxn ang="0">
                        <a:pos x="285" y="662"/>
                      </a:cxn>
                      <a:cxn ang="0">
                        <a:pos x="264" y="670"/>
                      </a:cxn>
                      <a:cxn ang="0">
                        <a:pos x="233" y="673"/>
                      </a:cxn>
                      <a:cxn ang="0">
                        <a:pos x="212" y="646"/>
                      </a:cxn>
                      <a:cxn ang="0">
                        <a:pos x="207" y="623"/>
                      </a:cxn>
                      <a:cxn ang="0">
                        <a:pos x="189" y="604"/>
                      </a:cxn>
                      <a:cxn ang="0">
                        <a:pos x="165" y="611"/>
                      </a:cxn>
                      <a:cxn ang="0">
                        <a:pos x="132" y="622"/>
                      </a:cxn>
                      <a:cxn ang="0">
                        <a:pos x="102" y="611"/>
                      </a:cxn>
                      <a:cxn ang="0">
                        <a:pos x="77" y="595"/>
                      </a:cxn>
                      <a:cxn ang="0">
                        <a:pos x="75" y="574"/>
                      </a:cxn>
                      <a:cxn ang="0">
                        <a:pos x="71" y="559"/>
                      </a:cxn>
                      <a:cxn ang="0">
                        <a:pos x="68" y="536"/>
                      </a:cxn>
                      <a:cxn ang="0">
                        <a:pos x="39" y="545"/>
                      </a:cxn>
                      <a:cxn ang="0">
                        <a:pos x="18" y="532"/>
                      </a:cxn>
                      <a:cxn ang="0">
                        <a:pos x="14" y="500"/>
                      </a:cxn>
                      <a:cxn ang="0">
                        <a:pos x="8" y="479"/>
                      </a:cxn>
                      <a:cxn ang="0">
                        <a:pos x="24" y="452"/>
                      </a:cxn>
                      <a:cxn ang="0">
                        <a:pos x="45" y="436"/>
                      </a:cxn>
                      <a:cxn ang="0">
                        <a:pos x="74" y="415"/>
                      </a:cxn>
                      <a:cxn ang="0">
                        <a:pos x="93" y="395"/>
                      </a:cxn>
                      <a:cxn ang="0">
                        <a:pos x="134" y="377"/>
                      </a:cxn>
                      <a:cxn ang="0">
                        <a:pos x="158" y="364"/>
                      </a:cxn>
                      <a:cxn ang="0">
                        <a:pos x="191" y="317"/>
                      </a:cxn>
                      <a:cxn ang="0">
                        <a:pos x="188" y="308"/>
                      </a:cxn>
                      <a:cxn ang="0">
                        <a:pos x="177" y="262"/>
                      </a:cxn>
                      <a:cxn ang="0">
                        <a:pos x="161" y="248"/>
                      </a:cxn>
                      <a:cxn ang="0">
                        <a:pos x="143" y="229"/>
                      </a:cxn>
                      <a:cxn ang="0">
                        <a:pos x="138" y="188"/>
                      </a:cxn>
                      <a:cxn ang="0">
                        <a:pos x="144" y="115"/>
                      </a:cxn>
                      <a:cxn ang="0">
                        <a:pos x="129" y="97"/>
                      </a:cxn>
                      <a:cxn ang="0">
                        <a:pos x="115" y="73"/>
                      </a:cxn>
                      <a:cxn ang="0">
                        <a:pos x="119" y="37"/>
                      </a:cxn>
                    </a:cxnLst>
                    <a:rect l="0" t="0" r="r" b="b"/>
                    <a:pathLst>
                      <a:path w="480" h="674">
                        <a:moveTo>
                          <a:pt x="119" y="37"/>
                        </a:moveTo>
                        <a:cubicBezTo>
                          <a:pt x="111" y="35"/>
                          <a:pt x="117" y="20"/>
                          <a:pt x="138" y="16"/>
                        </a:cubicBezTo>
                        <a:cubicBezTo>
                          <a:pt x="145" y="12"/>
                          <a:pt x="155" y="11"/>
                          <a:pt x="162" y="10"/>
                        </a:cubicBezTo>
                        <a:cubicBezTo>
                          <a:pt x="169" y="9"/>
                          <a:pt x="167" y="7"/>
                          <a:pt x="180" y="7"/>
                        </a:cubicBezTo>
                        <a:cubicBezTo>
                          <a:pt x="193" y="7"/>
                          <a:pt x="230" y="11"/>
                          <a:pt x="243" y="11"/>
                        </a:cubicBezTo>
                        <a:cubicBezTo>
                          <a:pt x="256" y="11"/>
                          <a:pt x="255" y="10"/>
                          <a:pt x="260" y="10"/>
                        </a:cubicBezTo>
                        <a:cubicBezTo>
                          <a:pt x="280" y="14"/>
                          <a:pt x="270" y="11"/>
                          <a:pt x="275" y="10"/>
                        </a:cubicBezTo>
                        <a:cubicBezTo>
                          <a:pt x="280" y="9"/>
                          <a:pt x="289" y="0"/>
                          <a:pt x="291" y="2"/>
                        </a:cubicBezTo>
                        <a:cubicBezTo>
                          <a:pt x="293" y="5"/>
                          <a:pt x="294" y="12"/>
                          <a:pt x="290" y="23"/>
                        </a:cubicBezTo>
                        <a:cubicBezTo>
                          <a:pt x="290" y="30"/>
                          <a:pt x="292" y="38"/>
                          <a:pt x="293" y="44"/>
                        </a:cubicBezTo>
                        <a:cubicBezTo>
                          <a:pt x="294" y="50"/>
                          <a:pt x="295" y="57"/>
                          <a:pt x="297" y="62"/>
                        </a:cubicBezTo>
                        <a:cubicBezTo>
                          <a:pt x="299" y="67"/>
                          <a:pt x="301" y="72"/>
                          <a:pt x="303" y="77"/>
                        </a:cubicBezTo>
                        <a:cubicBezTo>
                          <a:pt x="302" y="80"/>
                          <a:pt x="313" y="91"/>
                          <a:pt x="309" y="92"/>
                        </a:cubicBezTo>
                        <a:cubicBezTo>
                          <a:pt x="310" y="97"/>
                          <a:pt x="309" y="102"/>
                          <a:pt x="312" y="107"/>
                        </a:cubicBezTo>
                        <a:cubicBezTo>
                          <a:pt x="316" y="118"/>
                          <a:pt x="322" y="112"/>
                          <a:pt x="327" y="122"/>
                        </a:cubicBezTo>
                        <a:cubicBezTo>
                          <a:pt x="327" y="128"/>
                          <a:pt x="339" y="132"/>
                          <a:pt x="333" y="140"/>
                        </a:cubicBezTo>
                        <a:cubicBezTo>
                          <a:pt x="335" y="146"/>
                          <a:pt x="337" y="153"/>
                          <a:pt x="339" y="158"/>
                        </a:cubicBezTo>
                        <a:cubicBezTo>
                          <a:pt x="341" y="163"/>
                          <a:pt x="346" y="168"/>
                          <a:pt x="348" y="173"/>
                        </a:cubicBezTo>
                        <a:cubicBezTo>
                          <a:pt x="350" y="178"/>
                          <a:pt x="349" y="183"/>
                          <a:pt x="350" y="187"/>
                        </a:cubicBezTo>
                        <a:cubicBezTo>
                          <a:pt x="351" y="191"/>
                          <a:pt x="356" y="191"/>
                          <a:pt x="357" y="197"/>
                        </a:cubicBezTo>
                        <a:cubicBezTo>
                          <a:pt x="358" y="203"/>
                          <a:pt x="356" y="216"/>
                          <a:pt x="356" y="223"/>
                        </a:cubicBezTo>
                        <a:cubicBezTo>
                          <a:pt x="356" y="230"/>
                          <a:pt x="357" y="235"/>
                          <a:pt x="357" y="241"/>
                        </a:cubicBezTo>
                        <a:cubicBezTo>
                          <a:pt x="357" y="247"/>
                          <a:pt x="357" y="256"/>
                          <a:pt x="356" y="262"/>
                        </a:cubicBezTo>
                        <a:cubicBezTo>
                          <a:pt x="355" y="268"/>
                          <a:pt x="350" y="272"/>
                          <a:pt x="348" y="278"/>
                        </a:cubicBezTo>
                        <a:cubicBezTo>
                          <a:pt x="346" y="284"/>
                          <a:pt x="346" y="287"/>
                          <a:pt x="345" y="296"/>
                        </a:cubicBezTo>
                        <a:lnTo>
                          <a:pt x="342" y="335"/>
                        </a:lnTo>
                        <a:cubicBezTo>
                          <a:pt x="343" y="341"/>
                          <a:pt x="375" y="358"/>
                          <a:pt x="375" y="358"/>
                        </a:cubicBezTo>
                        <a:cubicBezTo>
                          <a:pt x="376" y="365"/>
                          <a:pt x="373" y="368"/>
                          <a:pt x="378" y="373"/>
                        </a:cubicBezTo>
                        <a:cubicBezTo>
                          <a:pt x="378" y="375"/>
                          <a:pt x="388" y="380"/>
                          <a:pt x="389" y="382"/>
                        </a:cubicBezTo>
                        <a:cubicBezTo>
                          <a:pt x="390" y="384"/>
                          <a:pt x="391" y="389"/>
                          <a:pt x="392" y="391"/>
                        </a:cubicBezTo>
                        <a:cubicBezTo>
                          <a:pt x="396" y="398"/>
                          <a:pt x="443" y="411"/>
                          <a:pt x="447" y="419"/>
                        </a:cubicBezTo>
                        <a:cubicBezTo>
                          <a:pt x="449" y="430"/>
                          <a:pt x="456" y="421"/>
                          <a:pt x="462" y="430"/>
                        </a:cubicBezTo>
                        <a:cubicBezTo>
                          <a:pt x="465" y="441"/>
                          <a:pt x="467" y="448"/>
                          <a:pt x="477" y="454"/>
                        </a:cubicBezTo>
                        <a:cubicBezTo>
                          <a:pt x="480" y="462"/>
                          <a:pt x="449" y="464"/>
                          <a:pt x="455" y="470"/>
                        </a:cubicBezTo>
                        <a:cubicBezTo>
                          <a:pt x="457" y="476"/>
                          <a:pt x="444" y="478"/>
                          <a:pt x="447" y="484"/>
                        </a:cubicBezTo>
                        <a:cubicBezTo>
                          <a:pt x="439" y="488"/>
                          <a:pt x="449" y="497"/>
                          <a:pt x="435" y="499"/>
                        </a:cubicBezTo>
                        <a:cubicBezTo>
                          <a:pt x="430" y="503"/>
                          <a:pt x="425" y="506"/>
                          <a:pt x="420" y="508"/>
                        </a:cubicBezTo>
                        <a:cubicBezTo>
                          <a:pt x="415" y="510"/>
                          <a:pt x="409" y="509"/>
                          <a:pt x="404" y="512"/>
                        </a:cubicBezTo>
                        <a:cubicBezTo>
                          <a:pt x="399" y="515"/>
                          <a:pt x="397" y="525"/>
                          <a:pt x="392" y="527"/>
                        </a:cubicBezTo>
                        <a:cubicBezTo>
                          <a:pt x="387" y="529"/>
                          <a:pt x="377" y="525"/>
                          <a:pt x="371" y="527"/>
                        </a:cubicBezTo>
                        <a:cubicBezTo>
                          <a:pt x="365" y="529"/>
                          <a:pt x="364" y="533"/>
                          <a:pt x="357" y="539"/>
                        </a:cubicBezTo>
                        <a:cubicBezTo>
                          <a:pt x="355" y="551"/>
                          <a:pt x="345" y="562"/>
                          <a:pt x="332" y="565"/>
                        </a:cubicBezTo>
                        <a:cubicBezTo>
                          <a:pt x="324" y="569"/>
                          <a:pt x="320" y="590"/>
                          <a:pt x="312" y="589"/>
                        </a:cubicBezTo>
                        <a:cubicBezTo>
                          <a:pt x="308" y="596"/>
                          <a:pt x="309" y="604"/>
                          <a:pt x="306" y="607"/>
                        </a:cubicBezTo>
                        <a:cubicBezTo>
                          <a:pt x="303" y="610"/>
                          <a:pt x="296" y="603"/>
                          <a:pt x="293" y="605"/>
                        </a:cubicBezTo>
                        <a:cubicBezTo>
                          <a:pt x="290" y="608"/>
                          <a:pt x="290" y="616"/>
                          <a:pt x="290" y="622"/>
                        </a:cubicBezTo>
                        <a:cubicBezTo>
                          <a:pt x="290" y="628"/>
                          <a:pt x="294" y="636"/>
                          <a:pt x="293" y="643"/>
                        </a:cubicBezTo>
                        <a:cubicBezTo>
                          <a:pt x="292" y="650"/>
                          <a:pt x="288" y="658"/>
                          <a:pt x="285" y="662"/>
                        </a:cubicBezTo>
                        <a:cubicBezTo>
                          <a:pt x="282" y="666"/>
                          <a:pt x="276" y="666"/>
                          <a:pt x="273" y="667"/>
                        </a:cubicBezTo>
                        <a:cubicBezTo>
                          <a:pt x="270" y="668"/>
                          <a:pt x="268" y="670"/>
                          <a:pt x="264" y="670"/>
                        </a:cubicBezTo>
                        <a:cubicBezTo>
                          <a:pt x="260" y="670"/>
                          <a:pt x="253" y="668"/>
                          <a:pt x="248" y="668"/>
                        </a:cubicBezTo>
                        <a:cubicBezTo>
                          <a:pt x="243" y="668"/>
                          <a:pt x="239" y="674"/>
                          <a:pt x="233" y="673"/>
                        </a:cubicBezTo>
                        <a:cubicBezTo>
                          <a:pt x="227" y="672"/>
                          <a:pt x="216" y="666"/>
                          <a:pt x="213" y="662"/>
                        </a:cubicBezTo>
                        <a:cubicBezTo>
                          <a:pt x="210" y="658"/>
                          <a:pt x="214" y="650"/>
                          <a:pt x="212" y="646"/>
                        </a:cubicBezTo>
                        <a:cubicBezTo>
                          <a:pt x="210" y="642"/>
                          <a:pt x="194" y="642"/>
                          <a:pt x="200" y="635"/>
                        </a:cubicBezTo>
                        <a:cubicBezTo>
                          <a:pt x="199" y="631"/>
                          <a:pt x="207" y="626"/>
                          <a:pt x="207" y="623"/>
                        </a:cubicBezTo>
                        <a:cubicBezTo>
                          <a:pt x="207" y="620"/>
                          <a:pt x="200" y="619"/>
                          <a:pt x="197" y="616"/>
                        </a:cubicBezTo>
                        <a:cubicBezTo>
                          <a:pt x="194" y="613"/>
                          <a:pt x="193" y="606"/>
                          <a:pt x="189" y="604"/>
                        </a:cubicBezTo>
                        <a:cubicBezTo>
                          <a:pt x="178" y="602"/>
                          <a:pt x="184" y="609"/>
                          <a:pt x="174" y="605"/>
                        </a:cubicBezTo>
                        <a:cubicBezTo>
                          <a:pt x="176" y="602"/>
                          <a:pt x="165" y="616"/>
                          <a:pt x="165" y="611"/>
                        </a:cubicBezTo>
                        <a:cubicBezTo>
                          <a:pt x="161" y="613"/>
                          <a:pt x="154" y="617"/>
                          <a:pt x="149" y="619"/>
                        </a:cubicBezTo>
                        <a:cubicBezTo>
                          <a:pt x="144" y="621"/>
                          <a:pt x="138" y="622"/>
                          <a:pt x="132" y="622"/>
                        </a:cubicBezTo>
                        <a:cubicBezTo>
                          <a:pt x="126" y="622"/>
                          <a:pt x="119" y="622"/>
                          <a:pt x="114" y="620"/>
                        </a:cubicBezTo>
                        <a:cubicBezTo>
                          <a:pt x="109" y="618"/>
                          <a:pt x="106" y="613"/>
                          <a:pt x="102" y="611"/>
                        </a:cubicBezTo>
                        <a:cubicBezTo>
                          <a:pt x="98" y="609"/>
                          <a:pt x="91" y="608"/>
                          <a:pt x="87" y="605"/>
                        </a:cubicBezTo>
                        <a:cubicBezTo>
                          <a:pt x="83" y="602"/>
                          <a:pt x="78" y="599"/>
                          <a:pt x="77" y="595"/>
                        </a:cubicBezTo>
                        <a:cubicBezTo>
                          <a:pt x="76" y="591"/>
                          <a:pt x="78" y="583"/>
                          <a:pt x="78" y="580"/>
                        </a:cubicBezTo>
                        <a:cubicBezTo>
                          <a:pt x="78" y="577"/>
                          <a:pt x="77" y="576"/>
                          <a:pt x="75" y="574"/>
                        </a:cubicBezTo>
                        <a:cubicBezTo>
                          <a:pt x="68" y="569"/>
                          <a:pt x="75" y="572"/>
                          <a:pt x="68" y="568"/>
                        </a:cubicBezTo>
                        <a:cubicBezTo>
                          <a:pt x="62" y="560"/>
                          <a:pt x="81" y="563"/>
                          <a:pt x="71" y="559"/>
                        </a:cubicBezTo>
                        <a:cubicBezTo>
                          <a:pt x="67" y="554"/>
                          <a:pt x="76" y="552"/>
                          <a:pt x="71" y="550"/>
                        </a:cubicBezTo>
                        <a:cubicBezTo>
                          <a:pt x="66" y="545"/>
                          <a:pt x="74" y="539"/>
                          <a:pt x="68" y="536"/>
                        </a:cubicBezTo>
                        <a:cubicBezTo>
                          <a:pt x="61" y="530"/>
                          <a:pt x="58" y="550"/>
                          <a:pt x="51" y="545"/>
                        </a:cubicBezTo>
                        <a:cubicBezTo>
                          <a:pt x="42" y="554"/>
                          <a:pt x="43" y="546"/>
                          <a:pt x="39" y="545"/>
                        </a:cubicBezTo>
                        <a:cubicBezTo>
                          <a:pt x="35" y="544"/>
                          <a:pt x="30" y="541"/>
                          <a:pt x="27" y="539"/>
                        </a:cubicBezTo>
                        <a:cubicBezTo>
                          <a:pt x="24" y="537"/>
                          <a:pt x="21" y="536"/>
                          <a:pt x="18" y="532"/>
                        </a:cubicBezTo>
                        <a:cubicBezTo>
                          <a:pt x="22" y="525"/>
                          <a:pt x="0" y="515"/>
                          <a:pt x="8" y="514"/>
                        </a:cubicBezTo>
                        <a:cubicBezTo>
                          <a:pt x="4" y="514"/>
                          <a:pt x="14" y="502"/>
                          <a:pt x="14" y="500"/>
                        </a:cubicBezTo>
                        <a:cubicBezTo>
                          <a:pt x="14" y="498"/>
                          <a:pt x="9" y="503"/>
                          <a:pt x="8" y="499"/>
                        </a:cubicBezTo>
                        <a:cubicBezTo>
                          <a:pt x="7" y="495"/>
                          <a:pt x="7" y="485"/>
                          <a:pt x="8" y="479"/>
                        </a:cubicBezTo>
                        <a:cubicBezTo>
                          <a:pt x="9" y="473"/>
                          <a:pt x="9" y="469"/>
                          <a:pt x="12" y="464"/>
                        </a:cubicBezTo>
                        <a:cubicBezTo>
                          <a:pt x="15" y="459"/>
                          <a:pt x="19" y="454"/>
                          <a:pt x="24" y="452"/>
                        </a:cubicBezTo>
                        <a:cubicBezTo>
                          <a:pt x="29" y="450"/>
                          <a:pt x="38" y="454"/>
                          <a:pt x="41" y="451"/>
                        </a:cubicBezTo>
                        <a:cubicBezTo>
                          <a:pt x="44" y="448"/>
                          <a:pt x="42" y="440"/>
                          <a:pt x="45" y="436"/>
                        </a:cubicBezTo>
                        <a:cubicBezTo>
                          <a:pt x="48" y="432"/>
                          <a:pt x="55" y="427"/>
                          <a:pt x="60" y="424"/>
                        </a:cubicBezTo>
                        <a:cubicBezTo>
                          <a:pt x="65" y="421"/>
                          <a:pt x="71" y="419"/>
                          <a:pt x="74" y="415"/>
                        </a:cubicBezTo>
                        <a:cubicBezTo>
                          <a:pt x="79" y="411"/>
                          <a:pt x="75" y="401"/>
                          <a:pt x="81" y="400"/>
                        </a:cubicBezTo>
                        <a:cubicBezTo>
                          <a:pt x="94" y="394"/>
                          <a:pt x="82" y="403"/>
                          <a:pt x="93" y="395"/>
                        </a:cubicBezTo>
                        <a:cubicBezTo>
                          <a:pt x="95" y="390"/>
                          <a:pt x="108" y="386"/>
                          <a:pt x="111" y="382"/>
                        </a:cubicBezTo>
                        <a:cubicBezTo>
                          <a:pt x="113" y="374"/>
                          <a:pt x="128" y="382"/>
                          <a:pt x="134" y="377"/>
                        </a:cubicBezTo>
                        <a:cubicBezTo>
                          <a:pt x="140" y="376"/>
                          <a:pt x="142" y="376"/>
                          <a:pt x="146" y="374"/>
                        </a:cubicBezTo>
                        <a:cubicBezTo>
                          <a:pt x="150" y="372"/>
                          <a:pt x="152" y="371"/>
                          <a:pt x="158" y="364"/>
                        </a:cubicBezTo>
                        <a:cubicBezTo>
                          <a:pt x="157" y="358"/>
                          <a:pt x="179" y="337"/>
                          <a:pt x="185" y="329"/>
                        </a:cubicBezTo>
                        <a:cubicBezTo>
                          <a:pt x="190" y="321"/>
                          <a:pt x="191" y="322"/>
                          <a:pt x="191" y="317"/>
                        </a:cubicBezTo>
                        <a:cubicBezTo>
                          <a:pt x="191" y="312"/>
                          <a:pt x="188" y="297"/>
                          <a:pt x="188" y="296"/>
                        </a:cubicBezTo>
                        <a:cubicBezTo>
                          <a:pt x="188" y="294"/>
                          <a:pt x="188" y="313"/>
                          <a:pt x="188" y="308"/>
                        </a:cubicBezTo>
                        <a:cubicBezTo>
                          <a:pt x="187" y="303"/>
                          <a:pt x="186" y="276"/>
                          <a:pt x="184" y="268"/>
                        </a:cubicBezTo>
                        <a:cubicBezTo>
                          <a:pt x="182" y="260"/>
                          <a:pt x="180" y="263"/>
                          <a:pt x="177" y="262"/>
                        </a:cubicBezTo>
                        <a:cubicBezTo>
                          <a:pt x="174" y="261"/>
                          <a:pt x="171" y="261"/>
                          <a:pt x="168" y="259"/>
                        </a:cubicBezTo>
                        <a:cubicBezTo>
                          <a:pt x="165" y="257"/>
                          <a:pt x="163" y="252"/>
                          <a:pt x="161" y="248"/>
                        </a:cubicBezTo>
                        <a:cubicBezTo>
                          <a:pt x="158" y="240"/>
                          <a:pt x="161" y="240"/>
                          <a:pt x="156" y="232"/>
                        </a:cubicBezTo>
                        <a:cubicBezTo>
                          <a:pt x="153" y="228"/>
                          <a:pt x="147" y="231"/>
                          <a:pt x="143" y="229"/>
                        </a:cubicBezTo>
                        <a:cubicBezTo>
                          <a:pt x="139" y="227"/>
                          <a:pt x="135" y="225"/>
                          <a:pt x="134" y="218"/>
                        </a:cubicBezTo>
                        <a:cubicBezTo>
                          <a:pt x="135" y="204"/>
                          <a:pt x="136" y="202"/>
                          <a:pt x="138" y="188"/>
                        </a:cubicBezTo>
                        <a:cubicBezTo>
                          <a:pt x="136" y="180"/>
                          <a:pt x="148" y="193"/>
                          <a:pt x="149" y="181"/>
                        </a:cubicBezTo>
                        <a:cubicBezTo>
                          <a:pt x="150" y="169"/>
                          <a:pt x="146" y="127"/>
                          <a:pt x="144" y="115"/>
                        </a:cubicBezTo>
                        <a:cubicBezTo>
                          <a:pt x="142" y="103"/>
                          <a:pt x="140" y="109"/>
                          <a:pt x="137" y="106"/>
                        </a:cubicBezTo>
                        <a:cubicBezTo>
                          <a:pt x="134" y="103"/>
                          <a:pt x="132" y="100"/>
                          <a:pt x="129" y="97"/>
                        </a:cubicBezTo>
                        <a:cubicBezTo>
                          <a:pt x="126" y="94"/>
                          <a:pt x="122" y="92"/>
                          <a:pt x="120" y="88"/>
                        </a:cubicBezTo>
                        <a:cubicBezTo>
                          <a:pt x="118" y="84"/>
                          <a:pt x="115" y="77"/>
                          <a:pt x="115" y="73"/>
                        </a:cubicBezTo>
                        <a:cubicBezTo>
                          <a:pt x="110" y="63"/>
                          <a:pt x="126" y="68"/>
                          <a:pt x="119" y="61"/>
                        </a:cubicBezTo>
                        <a:lnTo>
                          <a:pt x="119" y="37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3" name="Freeform 4">
                    <a:extLst>
                      <a:ext uri="{FF2B5EF4-FFF2-40B4-BE49-F238E27FC236}">
                        <a16:creationId xmlns:a16="http://schemas.microsoft.com/office/drawing/2014/main" id="{E9246C21-F043-485E-A841-AD995F8A43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131886" y="5334591"/>
                    <a:ext cx="2969017" cy="2653668"/>
                  </a:xfrm>
                  <a:custGeom>
                    <a:avLst/>
                    <a:gdLst/>
                    <a:ahLst/>
                    <a:cxnLst>
                      <a:cxn ang="0">
                        <a:pos x="123" y="107"/>
                      </a:cxn>
                      <a:cxn ang="0">
                        <a:pos x="229" y="11"/>
                      </a:cxn>
                      <a:cxn ang="0">
                        <a:pos x="294" y="55"/>
                      </a:cxn>
                      <a:cxn ang="0">
                        <a:pos x="336" y="89"/>
                      </a:cxn>
                      <a:cxn ang="0">
                        <a:pos x="391" y="145"/>
                      </a:cxn>
                      <a:cxn ang="0">
                        <a:pos x="468" y="175"/>
                      </a:cxn>
                      <a:cxn ang="0">
                        <a:pos x="549" y="214"/>
                      </a:cxn>
                      <a:cxn ang="0">
                        <a:pos x="616" y="238"/>
                      </a:cxn>
                      <a:cxn ang="0">
                        <a:pos x="702" y="251"/>
                      </a:cxn>
                      <a:cxn ang="0">
                        <a:pos x="697" y="311"/>
                      </a:cxn>
                      <a:cxn ang="0">
                        <a:pos x="726" y="398"/>
                      </a:cxn>
                      <a:cxn ang="0">
                        <a:pos x="714" y="461"/>
                      </a:cxn>
                      <a:cxn ang="0">
                        <a:pos x="765" y="509"/>
                      </a:cxn>
                      <a:cxn ang="0">
                        <a:pos x="760" y="575"/>
                      </a:cxn>
                      <a:cxn ang="0">
                        <a:pos x="684" y="622"/>
                      </a:cxn>
                      <a:cxn ang="0">
                        <a:pos x="652" y="653"/>
                      </a:cxn>
                      <a:cxn ang="0">
                        <a:pos x="618" y="685"/>
                      </a:cxn>
                      <a:cxn ang="0">
                        <a:pos x="589" y="677"/>
                      </a:cxn>
                      <a:cxn ang="0">
                        <a:pos x="582" y="638"/>
                      </a:cxn>
                      <a:cxn ang="0">
                        <a:pos x="558" y="608"/>
                      </a:cxn>
                      <a:cxn ang="0">
                        <a:pos x="525" y="569"/>
                      </a:cxn>
                      <a:cxn ang="0">
                        <a:pos x="499" y="538"/>
                      </a:cxn>
                      <a:cxn ang="0">
                        <a:pos x="469" y="557"/>
                      </a:cxn>
                      <a:cxn ang="0">
                        <a:pos x="417" y="548"/>
                      </a:cxn>
                      <a:cxn ang="0">
                        <a:pos x="372" y="544"/>
                      </a:cxn>
                      <a:cxn ang="0">
                        <a:pos x="328" y="550"/>
                      </a:cxn>
                      <a:cxn ang="0">
                        <a:pos x="277" y="560"/>
                      </a:cxn>
                      <a:cxn ang="0">
                        <a:pos x="219" y="533"/>
                      </a:cxn>
                      <a:cxn ang="0">
                        <a:pos x="193" y="499"/>
                      </a:cxn>
                      <a:cxn ang="0">
                        <a:pos x="162" y="467"/>
                      </a:cxn>
                      <a:cxn ang="0">
                        <a:pos x="130" y="427"/>
                      </a:cxn>
                      <a:cxn ang="0">
                        <a:pos x="147" y="388"/>
                      </a:cxn>
                      <a:cxn ang="0">
                        <a:pos x="174" y="341"/>
                      </a:cxn>
                      <a:cxn ang="0">
                        <a:pos x="162" y="313"/>
                      </a:cxn>
                      <a:cxn ang="0">
                        <a:pos x="115" y="305"/>
                      </a:cxn>
                      <a:cxn ang="0">
                        <a:pos x="120" y="280"/>
                      </a:cxn>
                      <a:cxn ang="0">
                        <a:pos x="156" y="259"/>
                      </a:cxn>
                      <a:cxn ang="0">
                        <a:pos x="138" y="245"/>
                      </a:cxn>
                      <a:cxn ang="0">
                        <a:pos x="114" y="235"/>
                      </a:cxn>
                      <a:cxn ang="0">
                        <a:pos x="76" y="230"/>
                      </a:cxn>
                      <a:cxn ang="0">
                        <a:pos x="70" y="203"/>
                      </a:cxn>
                      <a:cxn ang="0">
                        <a:pos x="45" y="212"/>
                      </a:cxn>
                      <a:cxn ang="0">
                        <a:pos x="54" y="254"/>
                      </a:cxn>
                      <a:cxn ang="0">
                        <a:pos x="25" y="245"/>
                      </a:cxn>
                      <a:cxn ang="0">
                        <a:pos x="4" y="220"/>
                      </a:cxn>
                      <a:cxn ang="0">
                        <a:pos x="40" y="175"/>
                      </a:cxn>
                      <a:cxn ang="0">
                        <a:pos x="85" y="136"/>
                      </a:cxn>
                    </a:cxnLst>
                    <a:rect l="0" t="0" r="r" b="b"/>
                    <a:pathLst>
                      <a:path w="768" h="695">
                        <a:moveTo>
                          <a:pt x="85" y="136"/>
                        </a:moveTo>
                        <a:cubicBezTo>
                          <a:pt x="90" y="134"/>
                          <a:pt x="99" y="132"/>
                          <a:pt x="105" y="127"/>
                        </a:cubicBezTo>
                        <a:cubicBezTo>
                          <a:pt x="111" y="122"/>
                          <a:pt x="117" y="111"/>
                          <a:pt x="123" y="107"/>
                        </a:cubicBezTo>
                        <a:cubicBezTo>
                          <a:pt x="132" y="101"/>
                          <a:pt x="133" y="106"/>
                          <a:pt x="139" y="103"/>
                        </a:cubicBezTo>
                        <a:cubicBezTo>
                          <a:pt x="145" y="100"/>
                          <a:pt x="144" y="103"/>
                          <a:pt x="159" y="88"/>
                        </a:cubicBezTo>
                        <a:cubicBezTo>
                          <a:pt x="173" y="82"/>
                          <a:pt x="212" y="13"/>
                          <a:pt x="229" y="11"/>
                        </a:cubicBezTo>
                        <a:cubicBezTo>
                          <a:pt x="243" y="0"/>
                          <a:pt x="244" y="2"/>
                          <a:pt x="250" y="13"/>
                        </a:cubicBezTo>
                        <a:cubicBezTo>
                          <a:pt x="258" y="18"/>
                          <a:pt x="273" y="34"/>
                          <a:pt x="280" y="41"/>
                        </a:cubicBezTo>
                        <a:cubicBezTo>
                          <a:pt x="287" y="48"/>
                          <a:pt x="291" y="50"/>
                          <a:pt x="294" y="55"/>
                        </a:cubicBezTo>
                        <a:cubicBezTo>
                          <a:pt x="297" y="60"/>
                          <a:pt x="295" y="68"/>
                          <a:pt x="298" y="73"/>
                        </a:cubicBezTo>
                        <a:cubicBezTo>
                          <a:pt x="312" y="78"/>
                          <a:pt x="300" y="85"/>
                          <a:pt x="315" y="86"/>
                        </a:cubicBezTo>
                        <a:cubicBezTo>
                          <a:pt x="339" y="91"/>
                          <a:pt x="311" y="86"/>
                          <a:pt x="336" y="89"/>
                        </a:cubicBezTo>
                        <a:cubicBezTo>
                          <a:pt x="342" y="90"/>
                          <a:pt x="334" y="121"/>
                          <a:pt x="334" y="121"/>
                        </a:cubicBezTo>
                        <a:cubicBezTo>
                          <a:pt x="335" y="134"/>
                          <a:pt x="362" y="130"/>
                          <a:pt x="364" y="139"/>
                        </a:cubicBezTo>
                        <a:cubicBezTo>
                          <a:pt x="373" y="143"/>
                          <a:pt x="383" y="142"/>
                          <a:pt x="391" y="145"/>
                        </a:cubicBezTo>
                        <a:cubicBezTo>
                          <a:pt x="392" y="152"/>
                          <a:pt x="413" y="151"/>
                          <a:pt x="415" y="158"/>
                        </a:cubicBezTo>
                        <a:cubicBezTo>
                          <a:pt x="426" y="160"/>
                          <a:pt x="429" y="164"/>
                          <a:pt x="439" y="172"/>
                        </a:cubicBezTo>
                        <a:cubicBezTo>
                          <a:pt x="457" y="176"/>
                          <a:pt x="445" y="172"/>
                          <a:pt x="468" y="175"/>
                        </a:cubicBezTo>
                        <a:cubicBezTo>
                          <a:pt x="475" y="180"/>
                          <a:pt x="477" y="170"/>
                          <a:pt x="489" y="182"/>
                        </a:cubicBezTo>
                        <a:cubicBezTo>
                          <a:pt x="497" y="184"/>
                          <a:pt x="507" y="182"/>
                          <a:pt x="517" y="187"/>
                        </a:cubicBezTo>
                        <a:cubicBezTo>
                          <a:pt x="528" y="196"/>
                          <a:pt x="538" y="200"/>
                          <a:pt x="549" y="214"/>
                        </a:cubicBezTo>
                        <a:cubicBezTo>
                          <a:pt x="559" y="221"/>
                          <a:pt x="568" y="224"/>
                          <a:pt x="576" y="227"/>
                        </a:cubicBezTo>
                        <a:cubicBezTo>
                          <a:pt x="584" y="230"/>
                          <a:pt x="588" y="231"/>
                          <a:pt x="595" y="233"/>
                        </a:cubicBezTo>
                        <a:cubicBezTo>
                          <a:pt x="601" y="238"/>
                          <a:pt x="610" y="228"/>
                          <a:pt x="616" y="238"/>
                        </a:cubicBezTo>
                        <a:cubicBezTo>
                          <a:pt x="623" y="240"/>
                          <a:pt x="630" y="246"/>
                          <a:pt x="639" y="247"/>
                        </a:cubicBezTo>
                        <a:cubicBezTo>
                          <a:pt x="648" y="248"/>
                          <a:pt x="663" y="246"/>
                          <a:pt x="673" y="247"/>
                        </a:cubicBezTo>
                        <a:cubicBezTo>
                          <a:pt x="683" y="248"/>
                          <a:pt x="698" y="247"/>
                          <a:pt x="702" y="251"/>
                        </a:cubicBezTo>
                        <a:cubicBezTo>
                          <a:pt x="706" y="255"/>
                          <a:pt x="698" y="264"/>
                          <a:pt x="697" y="272"/>
                        </a:cubicBezTo>
                        <a:cubicBezTo>
                          <a:pt x="696" y="280"/>
                          <a:pt x="696" y="292"/>
                          <a:pt x="696" y="298"/>
                        </a:cubicBezTo>
                        <a:cubicBezTo>
                          <a:pt x="701" y="302"/>
                          <a:pt x="691" y="308"/>
                          <a:pt x="697" y="311"/>
                        </a:cubicBezTo>
                        <a:cubicBezTo>
                          <a:pt x="702" y="318"/>
                          <a:pt x="692" y="325"/>
                          <a:pt x="699" y="331"/>
                        </a:cubicBezTo>
                        <a:cubicBezTo>
                          <a:pt x="697" y="321"/>
                          <a:pt x="717" y="349"/>
                          <a:pt x="723" y="352"/>
                        </a:cubicBezTo>
                        <a:cubicBezTo>
                          <a:pt x="727" y="362"/>
                          <a:pt x="726" y="387"/>
                          <a:pt x="726" y="398"/>
                        </a:cubicBezTo>
                        <a:cubicBezTo>
                          <a:pt x="726" y="409"/>
                          <a:pt x="725" y="417"/>
                          <a:pt x="724" y="421"/>
                        </a:cubicBezTo>
                        <a:cubicBezTo>
                          <a:pt x="723" y="425"/>
                          <a:pt x="719" y="418"/>
                          <a:pt x="717" y="425"/>
                        </a:cubicBezTo>
                        <a:cubicBezTo>
                          <a:pt x="716" y="444"/>
                          <a:pt x="714" y="451"/>
                          <a:pt x="714" y="461"/>
                        </a:cubicBezTo>
                        <a:cubicBezTo>
                          <a:pt x="717" y="468"/>
                          <a:pt x="728" y="464"/>
                          <a:pt x="732" y="469"/>
                        </a:cubicBezTo>
                        <a:cubicBezTo>
                          <a:pt x="736" y="474"/>
                          <a:pt x="734" y="483"/>
                          <a:pt x="739" y="490"/>
                        </a:cubicBezTo>
                        <a:cubicBezTo>
                          <a:pt x="744" y="497"/>
                          <a:pt x="760" y="498"/>
                          <a:pt x="765" y="509"/>
                        </a:cubicBezTo>
                        <a:cubicBezTo>
                          <a:pt x="767" y="518"/>
                          <a:pt x="763" y="545"/>
                          <a:pt x="768" y="553"/>
                        </a:cubicBezTo>
                        <a:cubicBezTo>
                          <a:pt x="767" y="562"/>
                          <a:pt x="763" y="561"/>
                          <a:pt x="762" y="565"/>
                        </a:cubicBezTo>
                        <a:cubicBezTo>
                          <a:pt x="761" y="569"/>
                          <a:pt x="766" y="568"/>
                          <a:pt x="760" y="575"/>
                        </a:cubicBezTo>
                        <a:cubicBezTo>
                          <a:pt x="754" y="582"/>
                          <a:pt x="737" y="601"/>
                          <a:pt x="727" y="608"/>
                        </a:cubicBezTo>
                        <a:cubicBezTo>
                          <a:pt x="717" y="615"/>
                          <a:pt x="707" y="617"/>
                          <a:pt x="700" y="619"/>
                        </a:cubicBezTo>
                        <a:cubicBezTo>
                          <a:pt x="693" y="621"/>
                          <a:pt x="691" y="619"/>
                          <a:pt x="684" y="622"/>
                        </a:cubicBezTo>
                        <a:cubicBezTo>
                          <a:pt x="679" y="630"/>
                          <a:pt x="668" y="633"/>
                          <a:pt x="660" y="638"/>
                        </a:cubicBezTo>
                        <a:cubicBezTo>
                          <a:pt x="656" y="639"/>
                          <a:pt x="659" y="639"/>
                          <a:pt x="657" y="641"/>
                        </a:cubicBezTo>
                        <a:cubicBezTo>
                          <a:pt x="656" y="643"/>
                          <a:pt x="655" y="649"/>
                          <a:pt x="652" y="653"/>
                        </a:cubicBezTo>
                        <a:cubicBezTo>
                          <a:pt x="645" y="665"/>
                          <a:pt x="648" y="654"/>
                          <a:pt x="637" y="665"/>
                        </a:cubicBezTo>
                        <a:cubicBezTo>
                          <a:pt x="635" y="668"/>
                          <a:pt x="628" y="671"/>
                          <a:pt x="624" y="673"/>
                        </a:cubicBezTo>
                        <a:cubicBezTo>
                          <a:pt x="621" y="676"/>
                          <a:pt x="622" y="682"/>
                          <a:pt x="618" y="685"/>
                        </a:cubicBezTo>
                        <a:cubicBezTo>
                          <a:pt x="614" y="688"/>
                          <a:pt x="605" y="693"/>
                          <a:pt x="601" y="694"/>
                        </a:cubicBezTo>
                        <a:cubicBezTo>
                          <a:pt x="596" y="695"/>
                          <a:pt x="587" y="695"/>
                          <a:pt x="585" y="692"/>
                        </a:cubicBezTo>
                        <a:cubicBezTo>
                          <a:pt x="583" y="689"/>
                          <a:pt x="588" y="682"/>
                          <a:pt x="589" y="677"/>
                        </a:cubicBezTo>
                        <a:cubicBezTo>
                          <a:pt x="590" y="672"/>
                          <a:pt x="590" y="668"/>
                          <a:pt x="589" y="664"/>
                        </a:cubicBezTo>
                        <a:cubicBezTo>
                          <a:pt x="575" y="665"/>
                          <a:pt x="581" y="657"/>
                          <a:pt x="580" y="653"/>
                        </a:cubicBezTo>
                        <a:cubicBezTo>
                          <a:pt x="579" y="649"/>
                          <a:pt x="582" y="644"/>
                          <a:pt x="582" y="638"/>
                        </a:cubicBezTo>
                        <a:cubicBezTo>
                          <a:pt x="582" y="632"/>
                          <a:pt x="582" y="624"/>
                          <a:pt x="580" y="619"/>
                        </a:cubicBezTo>
                        <a:cubicBezTo>
                          <a:pt x="578" y="614"/>
                          <a:pt x="571" y="612"/>
                          <a:pt x="568" y="610"/>
                        </a:cubicBezTo>
                        <a:cubicBezTo>
                          <a:pt x="565" y="608"/>
                          <a:pt x="561" y="610"/>
                          <a:pt x="558" y="608"/>
                        </a:cubicBezTo>
                        <a:cubicBezTo>
                          <a:pt x="555" y="606"/>
                          <a:pt x="556" y="602"/>
                          <a:pt x="553" y="598"/>
                        </a:cubicBezTo>
                        <a:cubicBezTo>
                          <a:pt x="550" y="594"/>
                          <a:pt x="545" y="586"/>
                          <a:pt x="540" y="581"/>
                        </a:cubicBezTo>
                        <a:cubicBezTo>
                          <a:pt x="535" y="576"/>
                          <a:pt x="529" y="573"/>
                          <a:pt x="525" y="569"/>
                        </a:cubicBezTo>
                        <a:cubicBezTo>
                          <a:pt x="521" y="565"/>
                          <a:pt x="516" y="559"/>
                          <a:pt x="513" y="554"/>
                        </a:cubicBezTo>
                        <a:cubicBezTo>
                          <a:pt x="510" y="549"/>
                          <a:pt x="510" y="539"/>
                          <a:pt x="508" y="536"/>
                        </a:cubicBezTo>
                        <a:cubicBezTo>
                          <a:pt x="500" y="510"/>
                          <a:pt x="503" y="538"/>
                          <a:pt x="499" y="538"/>
                        </a:cubicBezTo>
                        <a:cubicBezTo>
                          <a:pt x="496" y="539"/>
                          <a:pt x="492" y="541"/>
                          <a:pt x="489" y="542"/>
                        </a:cubicBezTo>
                        <a:cubicBezTo>
                          <a:pt x="486" y="543"/>
                          <a:pt x="484" y="542"/>
                          <a:pt x="481" y="544"/>
                        </a:cubicBezTo>
                        <a:cubicBezTo>
                          <a:pt x="478" y="546"/>
                          <a:pt x="473" y="555"/>
                          <a:pt x="469" y="557"/>
                        </a:cubicBezTo>
                        <a:cubicBezTo>
                          <a:pt x="465" y="559"/>
                          <a:pt x="460" y="557"/>
                          <a:pt x="453" y="557"/>
                        </a:cubicBezTo>
                        <a:cubicBezTo>
                          <a:pt x="446" y="557"/>
                          <a:pt x="432" y="560"/>
                          <a:pt x="426" y="559"/>
                        </a:cubicBezTo>
                        <a:cubicBezTo>
                          <a:pt x="411" y="555"/>
                          <a:pt x="421" y="551"/>
                          <a:pt x="417" y="548"/>
                        </a:cubicBezTo>
                        <a:cubicBezTo>
                          <a:pt x="413" y="545"/>
                          <a:pt x="408" y="539"/>
                          <a:pt x="403" y="538"/>
                        </a:cubicBezTo>
                        <a:cubicBezTo>
                          <a:pt x="398" y="537"/>
                          <a:pt x="392" y="540"/>
                          <a:pt x="387" y="541"/>
                        </a:cubicBezTo>
                        <a:cubicBezTo>
                          <a:pt x="382" y="542"/>
                          <a:pt x="376" y="544"/>
                          <a:pt x="372" y="544"/>
                        </a:cubicBezTo>
                        <a:cubicBezTo>
                          <a:pt x="368" y="544"/>
                          <a:pt x="364" y="543"/>
                          <a:pt x="360" y="544"/>
                        </a:cubicBezTo>
                        <a:cubicBezTo>
                          <a:pt x="356" y="545"/>
                          <a:pt x="351" y="552"/>
                          <a:pt x="346" y="553"/>
                        </a:cubicBezTo>
                        <a:cubicBezTo>
                          <a:pt x="341" y="554"/>
                          <a:pt x="334" y="550"/>
                          <a:pt x="328" y="550"/>
                        </a:cubicBezTo>
                        <a:cubicBezTo>
                          <a:pt x="317" y="551"/>
                          <a:pt x="316" y="555"/>
                          <a:pt x="310" y="554"/>
                        </a:cubicBezTo>
                        <a:cubicBezTo>
                          <a:pt x="304" y="554"/>
                          <a:pt x="299" y="550"/>
                          <a:pt x="294" y="551"/>
                        </a:cubicBezTo>
                        <a:cubicBezTo>
                          <a:pt x="289" y="552"/>
                          <a:pt x="284" y="559"/>
                          <a:pt x="277" y="560"/>
                        </a:cubicBezTo>
                        <a:cubicBezTo>
                          <a:pt x="270" y="561"/>
                          <a:pt x="260" y="561"/>
                          <a:pt x="253" y="559"/>
                        </a:cubicBezTo>
                        <a:cubicBezTo>
                          <a:pt x="246" y="557"/>
                          <a:pt x="243" y="552"/>
                          <a:pt x="237" y="548"/>
                        </a:cubicBezTo>
                        <a:cubicBezTo>
                          <a:pt x="221" y="547"/>
                          <a:pt x="224" y="537"/>
                          <a:pt x="219" y="533"/>
                        </a:cubicBezTo>
                        <a:cubicBezTo>
                          <a:pt x="214" y="529"/>
                          <a:pt x="208" y="525"/>
                          <a:pt x="205" y="521"/>
                        </a:cubicBezTo>
                        <a:cubicBezTo>
                          <a:pt x="202" y="517"/>
                          <a:pt x="201" y="515"/>
                          <a:pt x="199" y="511"/>
                        </a:cubicBezTo>
                        <a:cubicBezTo>
                          <a:pt x="194" y="507"/>
                          <a:pt x="196" y="502"/>
                          <a:pt x="193" y="499"/>
                        </a:cubicBezTo>
                        <a:cubicBezTo>
                          <a:pt x="190" y="496"/>
                          <a:pt x="186" y="498"/>
                          <a:pt x="181" y="496"/>
                        </a:cubicBezTo>
                        <a:cubicBezTo>
                          <a:pt x="176" y="494"/>
                          <a:pt x="168" y="489"/>
                          <a:pt x="165" y="484"/>
                        </a:cubicBezTo>
                        <a:cubicBezTo>
                          <a:pt x="162" y="479"/>
                          <a:pt x="164" y="472"/>
                          <a:pt x="162" y="467"/>
                        </a:cubicBezTo>
                        <a:cubicBezTo>
                          <a:pt x="160" y="462"/>
                          <a:pt x="157" y="456"/>
                          <a:pt x="153" y="451"/>
                        </a:cubicBezTo>
                        <a:cubicBezTo>
                          <a:pt x="149" y="446"/>
                          <a:pt x="140" y="443"/>
                          <a:pt x="136" y="439"/>
                        </a:cubicBezTo>
                        <a:cubicBezTo>
                          <a:pt x="132" y="435"/>
                          <a:pt x="129" y="430"/>
                          <a:pt x="130" y="427"/>
                        </a:cubicBezTo>
                        <a:cubicBezTo>
                          <a:pt x="131" y="424"/>
                          <a:pt x="141" y="422"/>
                          <a:pt x="144" y="418"/>
                        </a:cubicBezTo>
                        <a:cubicBezTo>
                          <a:pt x="147" y="414"/>
                          <a:pt x="147" y="409"/>
                          <a:pt x="147" y="404"/>
                        </a:cubicBezTo>
                        <a:cubicBezTo>
                          <a:pt x="147" y="399"/>
                          <a:pt x="145" y="392"/>
                          <a:pt x="147" y="388"/>
                        </a:cubicBezTo>
                        <a:cubicBezTo>
                          <a:pt x="144" y="373"/>
                          <a:pt x="155" y="379"/>
                          <a:pt x="160" y="376"/>
                        </a:cubicBezTo>
                        <a:cubicBezTo>
                          <a:pt x="165" y="373"/>
                          <a:pt x="175" y="374"/>
                          <a:pt x="177" y="368"/>
                        </a:cubicBezTo>
                        <a:cubicBezTo>
                          <a:pt x="171" y="358"/>
                          <a:pt x="174" y="341"/>
                          <a:pt x="174" y="341"/>
                        </a:cubicBezTo>
                        <a:cubicBezTo>
                          <a:pt x="178" y="333"/>
                          <a:pt x="165" y="334"/>
                          <a:pt x="163" y="331"/>
                        </a:cubicBezTo>
                        <a:cubicBezTo>
                          <a:pt x="161" y="328"/>
                          <a:pt x="163" y="323"/>
                          <a:pt x="163" y="320"/>
                        </a:cubicBezTo>
                        <a:cubicBezTo>
                          <a:pt x="163" y="317"/>
                          <a:pt x="164" y="315"/>
                          <a:pt x="162" y="313"/>
                        </a:cubicBezTo>
                        <a:cubicBezTo>
                          <a:pt x="160" y="311"/>
                          <a:pt x="158" y="305"/>
                          <a:pt x="153" y="304"/>
                        </a:cubicBezTo>
                        <a:cubicBezTo>
                          <a:pt x="148" y="303"/>
                          <a:pt x="138" y="304"/>
                          <a:pt x="132" y="304"/>
                        </a:cubicBezTo>
                        <a:cubicBezTo>
                          <a:pt x="126" y="304"/>
                          <a:pt x="120" y="306"/>
                          <a:pt x="115" y="305"/>
                        </a:cubicBezTo>
                        <a:cubicBezTo>
                          <a:pt x="110" y="304"/>
                          <a:pt x="101" y="302"/>
                          <a:pt x="99" y="299"/>
                        </a:cubicBezTo>
                        <a:cubicBezTo>
                          <a:pt x="97" y="296"/>
                          <a:pt x="97" y="287"/>
                          <a:pt x="100" y="284"/>
                        </a:cubicBezTo>
                        <a:cubicBezTo>
                          <a:pt x="103" y="281"/>
                          <a:pt x="115" y="283"/>
                          <a:pt x="120" y="280"/>
                        </a:cubicBezTo>
                        <a:cubicBezTo>
                          <a:pt x="125" y="277"/>
                          <a:pt x="126" y="270"/>
                          <a:pt x="130" y="268"/>
                        </a:cubicBezTo>
                        <a:cubicBezTo>
                          <a:pt x="134" y="266"/>
                          <a:pt x="143" y="267"/>
                          <a:pt x="147" y="266"/>
                        </a:cubicBezTo>
                        <a:cubicBezTo>
                          <a:pt x="151" y="265"/>
                          <a:pt x="154" y="262"/>
                          <a:pt x="156" y="259"/>
                        </a:cubicBezTo>
                        <a:cubicBezTo>
                          <a:pt x="152" y="240"/>
                          <a:pt x="158" y="250"/>
                          <a:pt x="157" y="248"/>
                        </a:cubicBezTo>
                        <a:cubicBezTo>
                          <a:pt x="156" y="246"/>
                          <a:pt x="150" y="247"/>
                          <a:pt x="147" y="247"/>
                        </a:cubicBezTo>
                        <a:cubicBezTo>
                          <a:pt x="144" y="247"/>
                          <a:pt x="141" y="245"/>
                          <a:pt x="138" y="245"/>
                        </a:cubicBezTo>
                        <a:cubicBezTo>
                          <a:pt x="135" y="245"/>
                          <a:pt x="131" y="249"/>
                          <a:pt x="129" y="247"/>
                        </a:cubicBezTo>
                        <a:cubicBezTo>
                          <a:pt x="127" y="245"/>
                          <a:pt x="129" y="235"/>
                          <a:pt x="126" y="233"/>
                        </a:cubicBezTo>
                        <a:cubicBezTo>
                          <a:pt x="123" y="231"/>
                          <a:pt x="118" y="235"/>
                          <a:pt x="114" y="235"/>
                        </a:cubicBezTo>
                        <a:cubicBezTo>
                          <a:pt x="110" y="235"/>
                          <a:pt x="107" y="233"/>
                          <a:pt x="103" y="233"/>
                        </a:cubicBezTo>
                        <a:cubicBezTo>
                          <a:pt x="99" y="233"/>
                          <a:pt x="94" y="236"/>
                          <a:pt x="90" y="236"/>
                        </a:cubicBezTo>
                        <a:cubicBezTo>
                          <a:pt x="86" y="236"/>
                          <a:pt x="79" y="232"/>
                          <a:pt x="76" y="230"/>
                        </a:cubicBezTo>
                        <a:cubicBezTo>
                          <a:pt x="73" y="228"/>
                          <a:pt x="71" y="223"/>
                          <a:pt x="69" y="221"/>
                        </a:cubicBezTo>
                        <a:cubicBezTo>
                          <a:pt x="67" y="219"/>
                          <a:pt x="66" y="217"/>
                          <a:pt x="66" y="214"/>
                        </a:cubicBezTo>
                        <a:cubicBezTo>
                          <a:pt x="66" y="211"/>
                          <a:pt x="71" y="206"/>
                          <a:pt x="70" y="203"/>
                        </a:cubicBezTo>
                        <a:cubicBezTo>
                          <a:pt x="69" y="200"/>
                          <a:pt x="62" y="196"/>
                          <a:pt x="60" y="197"/>
                        </a:cubicBezTo>
                        <a:cubicBezTo>
                          <a:pt x="63" y="196"/>
                          <a:pt x="61" y="220"/>
                          <a:pt x="57" y="212"/>
                        </a:cubicBezTo>
                        <a:cubicBezTo>
                          <a:pt x="51" y="213"/>
                          <a:pt x="44" y="209"/>
                          <a:pt x="45" y="212"/>
                        </a:cubicBezTo>
                        <a:cubicBezTo>
                          <a:pt x="46" y="215"/>
                          <a:pt x="58" y="224"/>
                          <a:pt x="61" y="229"/>
                        </a:cubicBezTo>
                        <a:cubicBezTo>
                          <a:pt x="64" y="234"/>
                          <a:pt x="67" y="241"/>
                          <a:pt x="66" y="245"/>
                        </a:cubicBezTo>
                        <a:cubicBezTo>
                          <a:pt x="65" y="249"/>
                          <a:pt x="58" y="251"/>
                          <a:pt x="54" y="254"/>
                        </a:cubicBezTo>
                        <a:cubicBezTo>
                          <a:pt x="50" y="257"/>
                          <a:pt x="46" y="264"/>
                          <a:pt x="42" y="266"/>
                        </a:cubicBezTo>
                        <a:cubicBezTo>
                          <a:pt x="38" y="268"/>
                          <a:pt x="30" y="269"/>
                          <a:pt x="27" y="266"/>
                        </a:cubicBezTo>
                        <a:cubicBezTo>
                          <a:pt x="24" y="263"/>
                          <a:pt x="26" y="250"/>
                          <a:pt x="25" y="245"/>
                        </a:cubicBezTo>
                        <a:cubicBezTo>
                          <a:pt x="24" y="240"/>
                          <a:pt x="22" y="237"/>
                          <a:pt x="18" y="235"/>
                        </a:cubicBezTo>
                        <a:cubicBezTo>
                          <a:pt x="14" y="233"/>
                          <a:pt x="5" y="232"/>
                          <a:pt x="3" y="230"/>
                        </a:cubicBezTo>
                        <a:cubicBezTo>
                          <a:pt x="1" y="228"/>
                          <a:pt x="0" y="223"/>
                          <a:pt x="4" y="220"/>
                        </a:cubicBezTo>
                        <a:cubicBezTo>
                          <a:pt x="8" y="217"/>
                          <a:pt x="21" y="214"/>
                          <a:pt x="25" y="209"/>
                        </a:cubicBezTo>
                        <a:cubicBezTo>
                          <a:pt x="29" y="204"/>
                          <a:pt x="29" y="197"/>
                          <a:pt x="31" y="191"/>
                        </a:cubicBezTo>
                        <a:cubicBezTo>
                          <a:pt x="33" y="185"/>
                          <a:pt x="37" y="180"/>
                          <a:pt x="40" y="175"/>
                        </a:cubicBezTo>
                        <a:cubicBezTo>
                          <a:pt x="43" y="170"/>
                          <a:pt x="45" y="162"/>
                          <a:pt x="49" y="158"/>
                        </a:cubicBezTo>
                        <a:cubicBezTo>
                          <a:pt x="53" y="154"/>
                          <a:pt x="61" y="152"/>
                          <a:pt x="67" y="148"/>
                        </a:cubicBezTo>
                        <a:cubicBezTo>
                          <a:pt x="68" y="142"/>
                          <a:pt x="85" y="139"/>
                          <a:pt x="85" y="136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4" name="Freeform 5">
                    <a:extLst>
                      <a:ext uri="{FF2B5EF4-FFF2-40B4-BE49-F238E27FC236}">
                        <a16:creationId xmlns:a16="http://schemas.microsoft.com/office/drawing/2014/main" id="{ABD36E4E-8DEF-4EDA-8A9C-2DBD4C6DDAC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85821" y="3200204"/>
                    <a:ext cx="2713867" cy="1672383"/>
                  </a:xfrm>
                  <a:custGeom>
                    <a:avLst/>
                    <a:gdLst/>
                    <a:ahLst/>
                    <a:cxnLst>
                      <a:cxn ang="0">
                        <a:pos x="216" y="180"/>
                      </a:cxn>
                      <a:cxn ang="0">
                        <a:pos x="228" y="168"/>
                      </a:cxn>
                      <a:cxn ang="0">
                        <a:pos x="234" y="128"/>
                      </a:cxn>
                      <a:cxn ang="0">
                        <a:pos x="258" y="87"/>
                      </a:cxn>
                      <a:cxn ang="0">
                        <a:pos x="288" y="65"/>
                      </a:cxn>
                      <a:cxn ang="0">
                        <a:pos x="324" y="47"/>
                      </a:cxn>
                      <a:cxn ang="0">
                        <a:pos x="372" y="39"/>
                      </a:cxn>
                      <a:cxn ang="0">
                        <a:pos x="403" y="14"/>
                      </a:cxn>
                      <a:cxn ang="0">
                        <a:pos x="447" y="2"/>
                      </a:cxn>
                      <a:cxn ang="0">
                        <a:pos x="481" y="24"/>
                      </a:cxn>
                      <a:cxn ang="0">
                        <a:pos x="514" y="24"/>
                      </a:cxn>
                      <a:cxn ang="0">
                        <a:pos x="553" y="32"/>
                      </a:cxn>
                      <a:cxn ang="0">
                        <a:pos x="595" y="39"/>
                      </a:cxn>
                      <a:cxn ang="0">
                        <a:pos x="634" y="57"/>
                      </a:cxn>
                      <a:cxn ang="0">
                        <a:pos x="658" y="104"/>
                      </a:cxn>
                      <a:cxn ang="0">
                        <a:pos x="693" y="143"/>
                      </a:cxn>
                      <a:cxn ang="0">
                        <a:pos x="685" y="189"/>
                      </a:cxn>
                      <a:cxn ang="0">
                        <a:pos x="661" y="237"/>
                      </a:cxn>
                      <a:cxn ang="0">
                        <a:pos x="670" y="273"/>
                      </a:cxn>
                      <a:cxn ang="0">
                        <a:pos x="643" y="311"/>
                      </a:cxn>
                      <a:cxn ang="0">
                        <a:pos x="592" y="335"/>
                      </a:cxn>
                      <a:cxn ang="0">
                        <a:pos x="558" y="363"/>
                      </a:cxn>
                      <a:cxn ang="0">
                        <a:pos x="462" y="398"/>
                      </a:cxn>
                      <a:cxn ang="0">
                        <a:pos x="409" y="390"/>
                      </a:cxn>
                      <a:cxn ang="0">
                        <a:pos x="354" y="396"/>
                      </a:cxn>
                      <a:cxn ang="0">
                        <a:pos x="309" y="413"/>
                      </a:cxn>
                      <a:cxn ang="0">
                        <a:pos x="259" y="435"/>
                      </a:cxn>
                      <a:cxn ang="0">
                        <a:pos x="210" y="431"/>
                      </a:cxn>
                      <a:cxn ang="0">
                        <a:pos x="166" y="399"/>
                      </a:cxn>
                      <a:cxn ang="0">
                        <a:pos x="126" y="380"/>
                      </a:cxn>
                      <a:cxn ang="0">
                        <a:pos x="75" y="372"/>
                      </a:cxn>
                      <a:cxn ang="0">
                        <a:pos x="40" y="362"/>
                      </a:cxn>
                      <a:cxn ang="0">
                        <a:pos x="22" y="314"/>
                      </a:cxn>
                      <a:cxn ang="0">
                        <a:pos x="3" y="276"/>
                      </a:cxn>
                      <a:cxn ang="0">
                        <a:pos x="24" y="245"/>
                      </a:cxn>
                      <a:cxn ang="0">
                        <a:pos x="46" y="218"/>
                      </a:cxn>
                      <a:cxn ang="0">
                        <a:pos x="64" y="180"/>
                      </a:cxn>
                      <a:cxn ang="0">
                        <a:pos x="93" y="141"/>
                      </a:cxn>
                      <a:cxn ang="0">
                        <a:pos x="117" y="110"/>
                      </a:cxn>
                      <a:cxn ang="0">
                        <a:pos x="148" y="92"/>
                      </a:cxn>
                      <a:cxn ang="0">
                        <a:pos x="189" y="114"/>
                      </a:cxn>
                      <a:cxn ang="0">
                        <a:pos x="192" y="149"/>
                      </a:cxn>
                    </a:cxnLst>
                    <a:rect l="0" t="0" r="r" b="b"/>
                    <a:pathLst>
                      <a:path w="702" h="438">
                        <a:moveTo>
                          <a:pt x="192" y="171"/>
                        </a:moveTo>
                        <a:cubicBezTo>
                          <a:pt x="197" y="177"/>
                          <a:pt x="193" y="174"/>
                          <a:pt x="201" y="177"/>
                        </a:cubicBezTo>
                        <a:cubicBezTo>
                          <a:pt x="216" y="188"/>
                          <a:pt x="198" y="177"/>
                          <a:pt x="216" y="180"/>
                        </a:cubicBezTo>
                        <a:cubicBezTo>
                          <a:pt x="226" y="181"/>
                          <a:pt x="216" y="171"/>
                          <a:pt x="216" y="171"/>
                        </a:cubicBezTo>
                        <a:cubicBezTo>
                          <a:pt x="223" y="170"/>
                          <a:pt x="221" y="172"/>
                          <a:pt x="228" y="170"/>
                        </a:cubicBezTo>
                        <a:cubicBezTo>
                          <a:pt x="230" y="169"/>
                          <a:pt x="228" y="171"/>
                          <a:pt x="228" y="168"/>
                        </a:cubicBezTo>
                        <a:cubicBezTo>
                          <a:pt x="228" y="165"/>
                          <a:pt x="226" y="157"/>
                          <a:pt x="228" y="153"/>
                        </a:cubicBezTo>
                        <a:cubicBezTo>
                          <a:pt x="230" y="149"/>
                          <a:pt x="236" y="150"/>
                          <a:pt x="237" y="146"/>
                        </a:cubicBezTo>
                        <a:cubicBezTo>
                          <a:pt x="238" y="142"/>
                          <a:pt x="234" y="135"/>
                          <a:pt x="234" y="128"/>
                        </a:cubicBezTo>
                        <a:cubicBezTo>
                          <a:pt x="234" y="119"/>
                          <a:pt x="233" y="107"/>
                          <a:pt x="235" y="102"/>
                        </a:cubicBezTo>
                        <a:cubicBezTo>
                          <a:pt x="237" y="97"/>
                          <a:pt x="243" y="100"/>
                          <a:pt x="247" y="98"/>
                        </a:cubicBezTo>
                        <a:cubicBezTo>
                          <a:pt x="251" y="96"/>
                          <a:pt x="253" y="89"/>
                          <a:pt x="258" y="87"/>
                        </a:cubicBezTo>
                        <a:cubicBezTo>
                          <a:pt x="263" y="85"/>
                          <a:pt x="276" y="89"/>
                          <a:pt x="280" y="87"/>
                        </a:cubicBezTo>
                        <a:cubicBezTo>
                          <a:pt x="284" y="85"/>
                          <a:pt x="281" y="79"/>
                          <a:pt x="282" y="75"/>
                        </a:cubicBezTo>
                        <a:cubicBezTo>
                          <a:pt x="289" y="72"/>
                          <a:pt x="281" y="68"/>
                          <a:pt x="288" y="65"/>
                        </a:cubicBezTo>
                        <a:cubicBezTo>
                          <a:pt x="294" y="63"/>
                          <a:pt x="301" y="60"/>
                          <a:pt x="301" y="60"/>
                        </a:cubicBezTo>
                        <a:cubicBezTo>
                          <a:pt x="302" y="51"/>
                          <a:pt x="306" y="58"/>
                          <a:pt x="310" y="56"/>
                        </a:cubicBezTo>
                        <a:cubicBezTo>
                          <a:pt x="314" y="54"/>
                          <a:pt x="319" y="48"/>
                          <a:pt x="324" y="47"/>
                        </a:cubicBezTo>
                        <a:cubicBezTo>
                          <a:pt x="329" y="46"/>
                          <a:pt x="334" y="50"/>
                          <a:pt x="339" y="50"/>
                        </a:cubicBezTo>
                        <a:cubicBezTo>
                          <a:pt x="344" y="50"/>
                          <a:pt x="352" y="46"/>
                          <a:pt x="357" y="44"/>
                        </a:cubicBezTo>
                        <a:cubicBezTo>
                          <a:pt x="361" y="32"/>
                          <a:pt x="368" y="42"/>
                          <a:pt x="372" y="39"/>
                        </a:cubicBezTo>
                        <a:cubicBezTo>
                          <a:pt x="376" y="36"/>
                          <a:pt x="375" y="30"/>
                          <a:pt x="379" y="27"/>
                        </a:cubicBezTo>
                        <a:cubicBezTo>
                          <a:pt x="376" y="0"/>
                          <a:pt x="392" y="23"/>
                          <a:pt x="396" y="21"/>
                        </a:cubicBezTo>
                        <a:cubicBezTo>
                          <a:pt x="400" y="19"/>
                          <a:pt x="400" y="17"/>
                          <a:pt x="403" y="14"/>
                        </a:cubicBezTo>
                        <a:cubicBezTo>
                          <a:pt x="406" y="11"/>
                          <a:pt x="410" y="6"/>
                          <a:pt x="415" y="5"/>
                        </a:cubicBezTo>
                        <a:cubicBezTo>
                          <a:pt x="420" y="4"/>
                          <a:pt x="427" y="9"/>
                          <a:pt x="432" y="8"/>
                        </a:cubicBezTo>
                        <a:cubicBezTo>
                          <a:pt x="437" y="7"/>
                          <a:pt x="443" y="1"/>
                          <a:pt x="447" y="2"/>
                        </a:cubicBezTo>
                        <a:cubicBezTo>
                          <a:pt x="451" y="3"/>
                          <a:pt x="450" y="9"/>
                          <a:pt x="454" y="11"/>
                        </a:cubicBezTo>
                        <a:cubicBezTo>
                          <a:pt x="482" y="12"/>
                          <a:pt x="448" y="11"/>
                          <a:pt x="471" y="14"/>
                        </a:cubicBezTo>
                        <a:cubicBezTo>
                          <a:pt x="478" y="20"/>
                          <a:pt x="472" y="21"/>
                          <a:pt x="481" y="24"/>
                        </a:cubicBezTo>
                        <a:cubicBezTo>
                          <a:pt x="486" y="30"/>
                          <a:pt x="478" y="39"/>
                          <a:pt x="495" y="35"/>
                        </a:cubicBezTo>
                        <a:cubicBezTo>
                          <a:pt x="490" y="25"/>
                          <a:pt x="502" y="31"/>
                          <a:pt x="505" y="29"/>
                        </a:cubicBezTo>
                        <a:cubicBezTo>
                          <a:pt x="508" y="27"/>
                          <a:pt x="512" y="25"/>
                          <a:pt x="514" y="24"/>
                        </a:cubicBezTo>
                        <a:cubicBezTo>
                          <a:pt x="515" y="26"/>
                          <a:pt x="518" y="24"/>
                          <a:pt x="519" y="26"/>
                        </a:cubicBezTo>
                        <a:cubicBezTo>
                          <a:pt x="519" y="26"/>
                          <a:pt x="531" y="29"/>
                          <a:pt x="532" y="33"/>
                        </a:cubicBezTo>
                        <a:cubicBezTo>
                          <a:pt x="532" y="27"/>
                          <a:pt x="548" y="30"/>
                          <a:pt x="553" y="32"/>
                        </a:cubicBezTo>
                        <a:cubicBezTo>
                          <a:pt x="558" y="34"/>
                          <a:pt x="558" y="43"/>
                          <a:pt x="562" y="45"/>
                        </a:cubicBezTo>
                        <a:cubicBezTo>
                          <a:pt x="566" y="47"/>
                          <a:pt x="571" y="48"/>
                          <a:pt x="576" y="47"/>
                        </a:cubicBezTo>
                        <a:cubicBezTo>
                          <a:pt x="581" y="46"/>
                          <a:pt x="590" y="38"/>
                          <a:pt x="595" y="39"/>
                        </a:cubicBezTo>
                        <a:cubicBezTo>
                          <a:pt x="600" y="40"/>
                          <a:pt x="603" y="50"/>
                          <a:pt x="607" y="51"/>
                        </a:cubicBezTo>
                        <a:cubicBezTo>
                          <a:pt x="611" y="52"/>
                          <a:pt x="614" y="44"/>
                          <a:pt x="618" y="45"/>
                        </a:cubicBezTo>
                        <a:cubicBezTo>
                          <a:pt x="622" y="46"/>
                          <a:pt x="629" y="53"/>
                          <a:pt x="634" y="57"/>
                        </a:cubicBezTo>
                        <a:cubicBezTo>
                          <a:pt x="639" y="61"/>
                          <a:pt x="644" y="67"/>
                          <a:pt x="646" y="72"/>
                        </a:cubicBezTo>
                        <a:cubicBezTo>
                          <a:pt x="631" y="90"/>
                          <a:pt x="646" y="81"/>
                          <a:pt x="649" y="86"/>
                        </a:cubicBezTo>
                        <a:cubicBezTo>
                          <a:pt x="672" y="74"/>
                          <a:pt x="655" y="100"/>
                          <a:pt x="658" y="104"/>
                        </a:cubicBezTo>
                        <a:cubicBezTo>
                          <a:pt x="661" y="108"/>
                          <a:pt x="663" y="110"/>
                          <a:pt x="667" y="113"/>
                        </a:cubicBezTo>
                        <a:cubicBezTo>
                          <a:pt x="681" y="116"/>
                          <a:pt x="681" y="118"/>
                          <a:pt x="685" y="123"/>
                        </a:cubicBezTo>
                        <a:cubicBezTo>
                          <a:pt x="689" y="128"/>
                          <a:pt x="690" y="138"/>
                          <a:pt x="693" y="143"/>
                        </a:cubicBezTo>
                        <a:cubicBezTo>
                          <a:pt x="696" y="148"/>
                          <a:pt x="702" y="151"/>
                          <a:pt x="702" y="156"/>
                        </a:cubicBezTo>
                        <a:cubicBezTo>
                          <a:pt x="702" y="161"/>
                          <a:pt x="694" y="166"/>
                          <a:pt x="691" y="171"/>
                        </a:cubicBezTo>
                        <a:cubicBezTo>
                          <a:pt x="697" y="178"/>
                          <a:pt x="687" y="183"/>
                          <a:pt x="685" y="189"/>
                        </a:cubicBezTo>
                        <a:cubicBezTo>
                          <a:pt x="683" y="195"/>
                          <a:pt x="681" y="202"/>
                          <a:pt x="679" y="207"/>
                        </a:cubicBezTo>
                        <a:cubicBezTo>
                          <a:pt x="677" y="212"/>
                          <a:pt x="675" y="217"/>
                          <a:pt x="672" y="222"/>
                        </a:cubicBezTo>
                        <a:cubicBezTo>
                          <a:pt x="669" y="227"/>
                          <a:pt x="667" y="234"/>
                          <a:pt x="661" y="237"/>
                        </a:cubicBezTo>
                        <a:cubicBezTo>
                          <a:pt x="670" y="249"/>
                          <a:pt x="660" y="250"/>
                          <a:pt x="660" y="254"/>
                        </a:cubicBezTo>
                        <a:cubicBezTo>
                          <a:pt x="660" y="258"/>
                          <a:pt x="661" y="261"/>
                          <a:pt x="663" y="264"/>
                        </a:cubicBezTo>
                        <a:cubicBezTo>
                          <a:pt x="665" y="267"/>
                          <a:pt x="670" y="270"/>
                          <a:pt x="670" y="273"/>
                        </a:cubicBezTo>
                        <a:cubicBezTo>
                          <a:pt x="670" y="276"/>
                          <a:pt x="665" y="279"/>
                          <a:pt x="663" y="284"/>
                        </a:cubicBezTo>
                        <a:cubicBezTo>
                          <a:pt x="661" y="289"/>
                          <a:pt x="660" y="301"/>
                          <a:pt x="657" y="305"/>
                        </a:cubicBezTo>
                        <a:cubicBezTo>
                          <a:pt x="654" y="309"/>
                          <a:pt x="648" y="309"/>
                          <a:pt x="643" y="311"/>
                        </a:cubicBezTo>
                        <a:cubicBezTo>
                          <a:pt x="638" y="313"/>
                          <a:pt x="636" y="313"/>
                          <a:pt x="628" y="315"/>
                        </a:cubicBezTo>
                        <a:cubicBezTo>
                          <a:pt x="620" y="317"/>
                          <a:pt x="601" y="317"/>
                          <a:pt x="595" y="320"/>
                        </a:cubicBezTo>
                        <a:cubicBezTo>
                          <a:pt x="590" y="330"/>
                          <a:pt x="594" y="331"/>
                          <a:pt x="592" y="335"/>
                        </a:cubicBezTo>
                        <a:cubicBezTo>
                          <a:pt x="590" y="339"/>
                          <a:pt x="588" y="339"/>
                          <a:pt x="585" y="342"/>
                        </a:cubicBezTo>
                        <a:cubicBezTo>
                          <a:pt x="583" y="348"/>
                          <a:pt x="577" y="348"/>
                          <a:pt x="573" y="351"/>
                        </a:cubicBezTo>
                        <a:cubicBezTo>
                          <a:pt x="569" y="354"/>
                          <a:pt x="564" y="361"/>
                          <a:pt x="558" y="363"/>
                        </a:cubicBezTo>
                        <a:cubicBezTo>
                          <a:pt x="552" y="365"/>
                          <a:pt x="548" y="356"/>
                          <a:pt x="538" y="363"/>
                        </a:cubicBezTo>
                        <a:cubicBezTo>
                          <a:pt x="529" y="367"/>
                          <a:pt x="508" y="399"/>
                          <a:pt x="495" y="405"/>
                        </a:cubicBezTo>
                        <a:cubicBezTo>
                          <a:pt x="482" y="411"/>
                          <a:pt x="471" y="398"/>
                          <a:pt x="462" y="398"/>
                        </a:cubicBezTo>
                        <a:cubicBezTo>
                          <a:pt x="453" y="398"/>
                          <a:pt x="444" y="404"/>
                          <a:pt x="438" y="404"/>
                        </a:cubicBezTo>
                        <a:cubicBezTo>
                          <a:pt x="432" y="404"/>
                          <a:pt x="428" y="397"/>
                          <a:pt x="423" y="395"/>
                        </a:cubicBezTo>
                        <a:cubicBezTo>
                          <a:pt x="418" y="393"/>
                          <a:pt x="414" y="391"/>
                          <a:pt x="409" y="390"/>
                        </a:cubicBezTo>
                        <a:cubicBezTo>
                          <a:pt x="404" y="389"/>
                          <a:pt x="399" y="386"/>
                          <a:pt x="393" y="386"/>
                        </a:cubicBezTo>
                        <a:cubicBezTo>
                          <a:pt x="376" y="389"/>
                          <a:pt x="376" y="390"/>
                          <a:pt x="370" y="392"/>
                        </a:cubicBezTo>
                        <a:cubicBezTo>
                          <a:pt x="364" y="394"/>
                          <a:pt x="359" y="395"/>
                          <a:pt x="354" y="396"/>
                        </a:cubicBezTo>
                        <a:cubicBezTo>
                          <a:pt x="349" y="397"/>
                          <a:pt x="344" y="397"/>
                          <a:pt x="339" y="399"/>
                        </a:cubicBezTo>
                        <a:cubicBezTo>
                          <a:pt x="334" y="401"/>
                          <a:pt x="327" y="406"/>
                          <a:pt x="322" y="408"/>
                        </a:cubicBezTo>
                        <a:cubicBezTo>
                          <a:pt x="317" y="410"/>
                          <a:pt x="314" y="412"/>
                          <a:pt x="309" y="413"/>
                        </a:cubicBezTo>
                        <a:cubicBezTo>
                          <a:pt x="294" y="423"/>
                          <a:pt x="298" y="411"/>
                          <a:pt x="294" y="413"/>
                        </a:cubicBezTo>
                        <a:cubicBezTo>
                          <a:pt x="290" y="415"/>
                          <a:pt x="288" y="421"/>
                          <a:pt x="282" y="425"/>
                        </a:cubicBezTo>
                        <a:cubicBezTo>
                          <a:pt x="276" y="429"/>
                          <a:pt x="266" y="433"/>
                          <a:pt x="259" y="435"/>
                        </a:cubicBezTo>
                        <a:cubicBezTo>
                          <a:pt x="252" y="437"/>
                          <a:pt x="247" y="438"/>
                          <a:pt x="241" y="437"/>
                        </a:cubicBezTo>
                        <a:cubicBezTo>
                          <a:pt x="235" y="436"/>
                          <a:pt x="228" y="427"/>
                          <a:pt x="223" y="426"/>
                        </a:cubicBezTo>
                        <a:cubicBezTo>
                          <a:pt x="218" y="425"/>
                          <a:pt x="215" y="432"/>
                          <a:pt x="210" y="431"/>
                        </a:cubicBezTo>
                        <a:cubicBezTo>
                          <a:pt x="205" y="430"/>
                          <a:pt x="197" y="421"/>
                          <a:pt x="192" y="417"/>
                        </a:cubicBezTo>
                        <a:cubicBezTo>
                          <a:pt x="173" y="410"/>
                          <a:pt x="198" y="415"/>
                          <a:pt x="178" y="408"/>
                        </a:cubicBezTo>
                        <a:cubicBezTo>
                          <a:pt x="172" y="404"/>
                          <a:pt x="173" y="402"/>
                          <a:pt x="166" y="399"/>
                        </a:cubicBezTo>
                        <a:cubicBezTo>
                          <a:pt x="160" y="392"/>
                          <a:pt x="161" y="397"/>
                          <a:pt x="154" y="392"/>
                        </a:cubicBezTo>
                        <a:cubicBezTo>
                          <a:pt x="150" y="385"/>
                          <a:pt x="150" y="392"/>
                          <a:pt x="142" y="389"/>
                        </a:cubicBezTo>
                        <a:cubicBezTo>
                          <a:pt x="138" y="385"/>
                          <a:pt x="131" y="382"/>
                          <a:pt x="126" y="380"/>
                        </a:cubicBezTo>
                        <a:cubicBezTo>
                          <a:pt x="121" y="378"/>
                          <a:pt x="117" y="377"/>
                          <a:pt x="111" y="377"/>
                        </a:cubicBezTo>
                        <a:cubicBezTo>
                          <a:pt x="105" y="377"/>
                          <a:pt x="96" y="387"/>
                          <a:pt x="91" y="378"/>
                        </a:cubicBezTo>
                        <a:cubicBezTo>
                          <a:pt x="85" y="377"/>
                          <a:pt x="81" y="373"/>
                          <a:pt x="75" y="372"/>
                        </a:cubicBezTo>
                        <a:cubicBezTo>
                          <a:pt x="69" y="371"/>
                          <a:pt x="60" y="369"/>
                          <a:pt x="55" y="369"/>
                        </a:cubicBezTo>
                        <a:cubicBezTo>
                          <a:pt x="50" y="368"/>
                          <a:pt x="45" y="370"/>
                          <a:pt x="43" y="369"/>
                        </a:cubicBezTo>
                        <a:cubicBezTo>
                          <a:pt x="41" y="368"/>
                          <a:pt x="42" y="364"/>
                          <a:pt x="40" y="362"/>
                        </a:cubicBezTo>
                        <a:cubicBezTo>
                          <a:pt x="38" y="360"/>
                          <a:pt x="35" y="359"/>
                          <a:pt x="33" y="354"/>
                        </a:cubicBezTo>
                        <a:cubicBezTo>
                          <a:pt x="31" y="349"/>
                          <a:pt x="32" y="336"/>
                          <a:pt x="30" y="329"/>
                        </a:cubicBezTo>
                        <a:cubicBezTo>
                          <a:pt x="28" y="322"/>
                          <a:pt x="23" y="319"/>
                          <a:pt x="22" y="314"/>
                        </a:cubicBezTo>
                        <a:cubicBezTo>
                          <a:pt x="10" y="308"/>
                          <a:pt x="23" y="305"/>
                          <a:pt x="22" y="300"/>
                        </a:cubicBezTo>
                        <a:cubicBezTo>
                          <a:pt x="21" y="295"/>
                          <a:pt x="18" y="289"/>
                          <a:pt x="15" y="285"/>
                        </a:cubicBezTo>
                        <a:cubicBezTo>
                          <a:pt x="0" y="285"/>
                          <a:pt x="5" y="280"/>
                          <a:pt x="3" y="276"/>
                        </a:cubicBezTo>
                        <a:cubicBezTo>
                          <a:pt x="1" y="272"/>
                          <a:pt x="2" y="267"/>
                          <a:pt x="3" y="263"/>
                        </a:cubicBezTo>
                        <a:cubicBezTo>
                          <a:pt x="4" y="259"/>
                          <a:pt x="8" y="257"/>
                          <a:pt x="12" y="254"/>
                        </a:cubicBezTo>
                        <a:cubicBezTo>
                          <a:pt x="16" y="251"/>
                          <a:pt x="19" y="247"/>
                          <a:pt x="24" y="245"/>
                        </a:cubicBezTo>
                        <a:cubicBezTo>
                          <a:pt x="20" y="240"/>
                          <a:pt x="37" y="243"/>
                          <a:pt x="40" y="240"/>
                        </a:cubicBezTo>
                        <a:cubicBezTo>
                          <a:pt x="43" y="237"/>
                          <a:pt x="42" y="232"/>
                          <a:pt x="43" y="228"/>
                        </a:cubicBezTo>
                        <a:cubicBezTo>
                          <a:pt x="44" y="224"/>
                          <a:pt x="44" y="222"/>
                          <a:pt x="46" y="218"/>
                        </a:cubicBezTo>
                        <a:cubicBezTo>
                          <a:pt x="48" y="214"/>
                          <a:pt x="52" y="208"/>
                          <a:pt x="54" y="204"/>
                        </a:cubicBezTo>
                        <a:cubicBezTo>
                          <a:pt x="56" y="200"/>
                          <a:pt x="59" y="195"/>
                          <a:pt x="61" y="191"/>
                        </a:cubicBezTo>
                        <a:cubicBezTo>
                          <a:pt x="62" y="182"/>
                          <a:pt x="63" y="184"/>
                          <a:pt x="64" y="180"/>
                        </a:cubicBezTo>
                        <a:cubicBezTo>
                          <a:pt x="65" y="176"/>
                          <a:pt x="67" y="171"/>
                          <a:pt x="69" y="167"/>
                        </a:cubicBezTo>
                        <a:cubicBezTo>
                          <a:pt x="71" y="163"/>
                          <a:pt x="74" y="157"/>
                          <a:pt x="78" y="153"/>
                        </a:cubicBezTo>
                        <a:cubicBezTo>
                          <a:pt x="82" y="149"/>
                          <a:pt x="90" y="146"/>
                          <a:pt x="93" y="141"/>
                        </a:cubicBezTo>
                        <a:cubicBezTo>
                          <a:pt x="96" y="136"/>
                          <a:pt x="91" y="128"/>
                          <a:pt x="93" y="123"/>
                        </a:cubicBezTo>
                        <a:cubicBezTo>
                          <a:pt x="95" y="122"/>
                          <a:pt x="100" y="105"/>
                          <a:pt x="106" y="111"/>
                        </a:cubicBezTo>
                        <a:cubicBezTo>
                          <a:pt x="110" y="109"/>
                          <a:pt x="114" y="113"/>
                          <a:pt x="117" y="110"/>
                        </a:cubicBezTo>
                        <a:cubicBezTo>
                          <a:pt x="120" y="107"/>
                          <a:pt x="119" y="98"/>
                          <a:pt x="123" y="95"/>
                        </a:cubicBezTo>
                        <a:cubicBezTo>
                          <a:pt x="127" y="92"/>
                          <a:pt x="135" y="89"/>
                          <a:pt x="139" y="89"/>
                        </a:cubicBezTo>
                        <a:cubicBezTo>
                          <a:pt x="143" y="89"/>
                          <a:pt x="145" y="90"/>
                          <a:pt x="148" y="92"/>
                        </a:cubicBezTo>
                        <a:cubicBezTo>
                          <a:pt x="152" y="94"/>
                          <a:pt x="162" y="96"/>
                          <a:pt x="166" y="99"/>
                        </a:cubicBezTo>
                        <a:cubicBezTo>
                          <a:pt x="167" y="104"/>
                          <a:pt x="176" y="98"/>
                          <a:pt x="172" y="110"/>
                        </a:cubicBezTo>
                        <a:cubicBezTo>
                          <a:pt x="176" y="112"/>
                          <a:pt x="184" y="111"/>
                          <a:pt x="189" y="114"/>
                        </a:cubicBezTo>
                        <a:cubicBezTo>
                          <a:pt x="194" y="117"/>
                          <a:pt x="197" y="122"/>
                          <a:pt x="199" y="126"/>
                        </a:cubicBezTo>
                        <a:cubicBezTo>
                          <a:pt x="201" y="130"/>
                          <a:pt x="187" y="127"/>
                          <a:pt x="199" y="137"/>
                        </a:cubicBezTo>
                        <a:cubicBezTo>
                          <a:pt x="198" y="141"/>
                          <a:pt x="192" y="145"/>
                          <a:pt x="192" y="149"/>
                        </a:cubicBezTo>
                        <a:cubicBezTo>
                          <a:pt x="192" y="153"/>
                          <a:pt x="198" y="158"/>
                          <a:pt x="198" y="162"/>
                        </a:cubicBezTo>
                        <a:cubicBezTo>
                          <a:pt x="198" y="166"/>
                          <a:pt x="204" y="169"/>
                          <a:pt x="192" y="17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5" name="Freeform 6">
                    <a:extLst>
                      <a:ext uri="{FF2B5EF4-FFF2-40B4-BE49-F238E27FC236}">
                        <a16:creationId xmlns:a16="http://schemas.microsoft.com/office/drawing/2014/main" id="{898DC164-5937-4E94-A96C-4F7F0B7F36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058489" y="5884415"/>
                    <a:ext cx="2319544" cy="2458938"/>
                  </a:xfrm>
                  <a:custGeom>
                    <a:avLst/>
                    <a:gdLst/>
                    <a:ahLst/>
                    <a:cxnLst>
                      <a:cxn ang="0">
                        <a:pos x="255" y="82"/>
                      </a:cxn>
                      <a:cxn ang="0">
                        <a:pos x="253" y="101"/>
                      </a:cxn>
                      <a:cxn ang="0">
                        <a:pos x="219" y="71"/>
                      </a:cxn>
                      <a:cxn ang="0">
                        <a:pos x="183" y="67"/>
                      </a:cxn>
                      <a:cxn ang="0">
                        <a:pos x="132" y="64"/>
                      </a:cxn>
                      <a:cxn ang="0">
                        <a:pos x="102" y="91"/>
                      </a:cxn>
                      <a:cxn ang="0">
                        <a:pos x="76" y="112"/>
                      </a:cxn>
                      <a:cxn ang="0">
                        <a:pos x="87" y="152"/>
                      </a:cxn>
                      <a:cxn ang="0">
                        <a:pos x="40" y="137"/>
                      </a:cxn>
                      <a:cxn ang="0">
                        <a:pos x="18" y="140"/>
                      </a:cxn>
                      <a:cxn ang="0">
                        <a:pos x="0" y="169"/>
                      </a:cxn>
                      <a:cxn ang="0">
                        <a:pos x="27" y="202"/>
                      </a:cxn>
                      <a:cxn ang="0">
                        <a:pos x="46" y="238"/>
                      </a:cxn>
                      <a:cxn ang="0">
                        <a:pos x="48" y="284"/>
                      </a:cxn>
                      <a:cxn ang="0">
                        <a:pos x="61" y="319"/>
                      </a:cxn>
                      <a:cxn ang="0">
                        <a:pos x="70" y="349"/>
                      </a:cxn>
                      <a:cxn ang="0">
                        <a:pos x="88" y="368"/>
                      </a:cxn>
                      <a:cxn ang="0">
                        <a:pos x="109" y="392"/>
                      </a:cxn>
                      <a:cxn ang="0">
                        <a:pos x="142" y="401"/>
                      </a:cxn>
                      <a:cxn ang="0">
                        <a:pos x="162" y="431"/>
                      </a:cxn>
                      <a:cxn ang="0">
                        <a:pos x="142" y="461"/>
                      </a:cxn>
                      <a:cxn ang="0">
                        <a:pos x="127" y="499"/>
                      </a:cxn>
                      <a:cxn ang="0">
                        <a:pos x="147" y="529"/>
                      </a:cxn>
                      <a:cxn ang="0">
                        <a:pos x="196" y="500"/>
                      </a:cxn>
                      <a:cxn ang="0">
                        <a:pos x="234" y="485"/>
                      </a:cxn>
                      <a:cxn ang="0">
                        <a:pos x="255" y="487"/>
                      </a:cxn>
                      <a:cxn ang="0">
                        <a:pos x="283" y="481"/>
                      </a:cxn>
                      <a:cxn ang="0">
                        <a:pos x="324" y="494"/>
                      </a:cxn>
                      <a:cxn ang="0">
                        <a:pos x="346" y="523"/>
                      </a:cxn>
                      <a:cxn ang="0">
                        <a:pos x="358" y="562"/>
                      </a:cxn>
                      <a:cxn ang="0">
                        <a:pos x="387" y="592"/>
                      </a:cxn>
                      <a:cxn ang="0">
                        <a:pos x="405" y="625"/>
                      </a:cxn>
                      <a:cxn ang="0">
                        <a:pos x="438" y="641"/>
                      </a:cxn>
                      <a:cxn ang="0">
                        <a:pos x="465" y="599"/>
                      </a:cxn>
                      <a:cxn ang="0">
                        <a:pos x="474" y="562"/>
                      </a:cxn>
                      <a:cxn ang="0">
                        <a:pos x="477" y="521"/>
                      </a:cxn>
                      <a:cxn ang="0">
                        <a:pos x="487" y="493"/>
                      </a:cxn>
                      <a:cxn ang="0">
                        <a:pos x="487" y="470"/>
                      </a:cxn>
                      <a:cxn ang="0">
                        <a:pos x="502" y="439"/>
                      </a:cxn>
                      <a:cxn ang="0">
                        <a:pos x="498" y="394"/>
                      </a:cxn>
                      <a:cxn ang="0">
                        <a:pos x="513" y="361"/>
                      </a:cxn>
                      <a:cxn ang="0">
                        <a:pos x="505" y="307"/>
                      </a:cxn>
                      <a:cxn ang="0">
                        <a:pos x="513" y="284"/>
                      </a:cxn>
                      <a:cxn ang="0">
                        <a:pos x="525" y="250"/>
                      </a:cxn>
                      <a:cxn ang="0">
                        <a:pos x="531" y="212"/>
                      </a:cxn>
                      <a:cxn ang="0">
                        <a:pos x="562" y="182"/>
                      </a:cxn>
                      <a:cxn ang="0">
                        <a:pos x="597" y="160"/>
                      </a:cxn>
                      <a:cxn ang="0">
                        <a:pos x="588" y="104"/>
                      </a:cxn>
                      <a:cxn ang="0">
                        <a:pos x="576" y="55"/>
                      </a:cxn>
                      <a:cxn ang="0">
                        <a:pos x="547" y="38"/>
                      </a:cxn>
                      <a:cxn ang="0">
                        <a:pos x="505" y="1"/>
                      </a:cxn>
                      <a:cxn ang="0">
                        <a:pos x="468" y="17"/>
                      </a:cxn>
                      <a:cxn ang="0">
                        <a:pos x="375" y="19"/>
                      </a:cxn>
                      <a:cxn ang="0">
                        <a:pos x="343" y="34"/>
                      </a:cxn>
                      <a:cxn ang="0">
                        <a:pos x="292" y="49"/>
                      </a:cxn>
                      <a:cxn ang="0">
                        <a:pos x="256" y="52"/>
                      </a:cxn>
                    </a:cxnLst>
                    <a:rect l="0" t="0" r="r" b="b"/>
                    <a:pathLst>
                      <a:path w="600" h="644">
                        <a:moveTo>
                          <a:pt x="244" y="61"/>
                        </a:moveTo>
                        <a:cubicBezTo>
                          <a:pt x="219" y="62"/>
                          <a:pt x="282" y="70"/>
                          <a:pt x="259" y="71"/>
                        </a:cubicBezTo>
                        <a:cubicBezTo>
                          <a:pt x="248" y="73"/>
                          <a:pt x="266" y="80"/>
                          <a:pt x="255" y="82"/>
                        </a:cubicBezTo>
                        <a:cubicBezTo>
                          <a:pt x="249" y="83"/>
                          <a:pt x="268" y="92"/>
                          <a:pt x="268" y="92"/>
                        </a:cubicBezTo>
                        <a:cubicBezTo>
                          <a:pt x="259" y="97"/>
                          <a:pt x="274" y="98"/>
                          <a:pt x="265" y="103"/>
                        </a:cubicBezTo>
                        <a:cubicBezTo>
                          <a:pt x="260" y="105"/>
                          <a:pt x="253" y="101"/>
                          <a:pt x="253" y="101"/>
                        </a:cubicBezTo>
                        <a:cubicBezTo>
                          <a:pt x="249" y="98"/>
                          <a:pt x="250" y="85"/>
                          <a:pt x="247" y="80"/>
                        </a:cubicBezTo>
                        <a:cubicBezTo>
                          <a:pt x="244" y="75"/>
                          <a:pt x="237" y="72"/>
                          <a:pt x="232" y="71"/>
                        </a:cubicBezTo>
                        <a:cubicBezTo>
                          <a:pt x="226" y="66"/>
                          <a:pt x="224" y="71"/>
                          <a:pt x="219" y="71"/>
                        </a:cubicBezTo>
                        <a:cubicBezTo>
                          <a:pt x="214" y="71"/>
                          <a:pt x="208" y="69"/>
                          <a:pt x="204" y="70"/>
                        </a:cubicBezTo>
                        <a:cubicBezTo>
                          <a:pt x="200" y="71"/>
                          <a:pt x="199" y="76"/>
                          <a:pt x="196" y="76"/>
                        </a:cubicBezTo>
                        <a:cubicBezTo>
                          <a:pt x="193" y="76"/>
                          <a:pt x="188" y="69"/>
                          <a:pt x="183" y="67"/>
                        </a:cubicBezTo>
                        <a:cubicBezTo>
                          <a:pt x="178" y="65"/>
                          <a:pt x="170" y="64"/>
                          <a:pt x="165" y="62"/>
                        </a:cubicBezTo>
                        <a:cubicBezTo>
                          <a:pt x="150" y="59"/>
                          <a:pt x="164" y="57"/>
                          <a:pt x="150" y="55"/>
                        </a:cubicBezTo>
                        <a:cubicBezTo>
                          <a:pt x="148" y="60"/>
                          <a:pt x="130" y="44"/>
                          <a:pt x="132" y="64"/>
                        </a:cubicBezTo>
                        <a:cubicBezTo>
                          <a:pt x="126" y="67"/>
                          <a:pt x="118" y="72"/>
                          <a:pt x="114" y="74"/>
                        </a:cubicBezTo>
                        <a:cubicBezTo>
                          <a:pt x="110" y="76"/>
                          <a:pt x="107" y="74"/>
                          <a:pt x="105" y="77"/>
                        </a:cubicBezTo>
                        <a:cubicBezTo>
                          <a:pt x="103" y="80"/>
                          <a:pt x="105" y="88"/>
                          <a:pt x="102" y="91"/>
                        </a:cubicBezTo>
                        <a:cubicBezTo>
                          <a:pt x="99" y="94"/>
                          <a:pt x="89" y="93"/>
                          <a:pt x="85" y="95"/>
                        </a:cubicBezTo>
                        <a:cubicBezTo>
                          <a:pt x="81" y="97"/>
                          <a:pt x="80" y="100"/>
                          <a:pt x="79" y="103"/>
                        </a:cubicBezTo>
                        <a:cubicBezTo>
                          <a:pt x="78" y="106"/>
                          <a:pt x="75" y="108"/>
                          <a:pt x="76" y="112"/>
                        </a:cubicBezTo>
                        <a:cubicBezTo>
                          <a:pt x="80" y="118"/>
                          <a:pt x="70" y="117"/>
                          <a:pt x="84" y="128"/>
                        </a:cubicBezTo>
                        <a:cubicBezTo>
                          <a:pt x="85" y="132"/>
                          <a:pt x="84" y="135"/>
                          <a:pt x="85" y="139"/>
                        </a:cubicBezTo>
                        <a:cubicBezTo>
                          <a:pt x="82" y="145"/>
                          <a:pt x="90" y="146"/>
                          <a:pt x="87" y="152"/>
                        </a:cubicBezTo>
                        <a:cubicBezTo>
                          <a:pt x="88" y="161"/>
                          <a:pt x="71" y="133"/>
                          <a:pt x="73" y="142"/>
                        </a:cubicBezTo>
                        <a:cubicBezTo>
                          <a:pt x="74" y="144"/>
                          <a:pt x="60" y="140"/>
                          <a:pt x="55" y="139"/>
                        </a:cubicBezTo>
                        <a:cubicBezTo>
                          <a:pt x="50" y="138"/>
                          <a:pt x="44" y="139"/>
                          <a:pt x="40" y="137"/>
                        </a:cubicBezTo>
                        <a:cubicBezTo>
                          <a:pt x="35" y="136"/>
                          <a:pt x="34" y="128"/>
                          <a:pt x="30" y="127"/>
                        </a:cubicBezTo>
                        <a:cubicBezTo>
                          <a:pt x="26" y="126"/>
                          <a:pt x="15" y="126"/>
                          <a:pt x="13" y="128"/>
                        </a:cubicBezTo>
                        <a:cubicBezTo>
                          <a:pt x="11" y="130"/>
                          <a:pt x="18" y="137"/>
                          <a:pt x="18" y="140"/>
                        </a:cubicBezTo>
                        <a:cubicBezTo>
                          <a:pt x="18" y="143"/>
                          <a:pt x="15" y="146"/>
                          <a:pt x="12" y="148"/>
                        </a:cubicBezTo>
                        <a:cubicBezTo>
                          <a:pt x="9" y="150"/>
                          <a:pt x="3" y="152"/>
                          <a:pt x="1" y="155"/>
                        </a:cubicBezTo>
                        <a:lnTo>
                          <a:pt x="0" y="169"/>
                        </a:lnTo>
                        <a:cubicBezTo>
                          <a:pt x="1" y="173"/>
                          <a:pt x="4" y="175"/>
                          <a:pt x="7" y="179"/>
                        </a:cubicBezTo>
                        <a:cubicBezTo>
                          <a:pt x="1" y="195"/>
                          <a:pt x="12" y="188"/>
                          <a:pt x="18" y="193"/>
                        </a:cubicBezTo>
                        <a:cubicBezTo>
                          <a:pt x="21" y="197"/>
                          <a:pt x="23" y="200"/>
                          <a:pt x="27" y="202"/>
                        </a:cubicBezTo>
                        <a:cubicBezTo>
                          <a:pt x="31" y="204"/>
                          <a:pt x="40" y="200"/>
                          <a:pt x="43" y="203"/>
                        </a:cubicBezTo>
                        <a:cubicBezTo>
                          <a:pt x="46" y="206"/>
                          <a:pt x="45" y="211"/>
                          <a:pt x="45" y="217"/>
                        </a:cubicBezTo>
                        <a:lnTo>
                          <a:pt x="46" y="238"/>
                        </a:lnTo>
                        <a:lnTo>
                          <a:pt x="55" y="242"/>
                        </a:lnTo>
                        <a:lnTo>
                          <a:pt x="48" y="262"/>
                        </a:lnTo>
                        <a:lnTo>
                          <a:pt x="48" y="284"/>
                        </a:lnTo>
                        <a:lnTo>
                          <a:pt x="52" y="301"/>
                        </a:lnTo>
                        <a:cubicBezTo>
                          <a:pt x="52" y="305"/>
                          <a:pt x="46" y="308"/>
                          <a:pt x="48" y="311"/>
                        </a:cubicBezTo>
                        <a:cubicBezTo>
                          <a:pt x="50" y="314"/>
                          <a:pt x="57" y="317"/>
                          <a:pt x="61" y="319"/>
                        </a:cubicBezTo>
                        <a:cubicBezTo>
                          <a:pt x="65" y="321"/>
                          <a:pt x="69" y="323"/>
                          <a:pt x="70" y="326"/>
                        </a:cubicBezTo>
                        <a:cubicBezTo>
                          <a:pt x="71" y="329"/>
                          <a:pt x="66" y="334"/>
                          <a:pt x="66" y="338"/>
                        </a:cubicBezTo>
                        <a:cubicBezTo>
                          <a:pt x="66" y="342"/>
                          <a:pt x="68" y="347"/>
                          <a:pt x="70" y="349"/>
                        </a:cubicBezTo>
                        <a:cubicBezTo>
                          <a:pt x="72" y="351"/>
                          <a:pt x="75" y="347"/>
                          <a:pt x="76" y="349"/>
                        </a:cubicBezTo>
                        <a:cubicBezTo>
                          <a:pt x="77" y="351"/>
                          <a:pt x="76" y="356"/>
                          <a:pt x="78" y="359"/>
                        </a:cubicBezTo>
                        <a:cubicBezTo>
                          <a:pt x="80" y="362"/>
                          <a:pt x="83" y="365"/>
                          <a:pt x="88" y="368"/>
                        </a:cubicBezTo>
                        <a:cubicBezTo>
                          <a:pt x="93" y="371"/>
                          <a:pt x="102" y="377"/>
                          <a:pt x="106" y="379"/>
                        </a:cubicBezTo>
                        <a:cubicBezTo>
                          <a:pt x="110" y="381"/>
                          <a:pt x="115" y="377"/>
                          <a:pt x="115" y="379"/>
                        </a:cubicBezTo>
                        <a:cubicBezTo>
                          <a:pt x="115" y="381"/>
                          <a:pt x="107" y="390"/>
                          <a:pt x="109" y="392"/>
                        </a:cubicBezTo>
                        <a:cubicBezTo>
                          <a:pt x="111" y="394"/>
                          <a:pt x="123" y="389"/>
                          <a:pt x="126" y="391"/>
                        </a:cubicBezTo>
                        <a:cubicBezTo>
                          <a:pt x="129" y="393"/>
                          <a:pt x="128" y="401"/>
                          <a:pt x="130" y="403"/>
                        </a:cubicBezTo>
                        <a:cubicBezTo>
                          <a:pt x="132" y="405"/>
                          <a:pt x="138" y="401"/>
                          <a:pt x="142" y="401"/>
                        </a:cubicBezTo>
                        <a:cubicBezTo>
                          <a:pt x="146" y="401"/>
                          <a:pt x="154" y="401"/>
                          <a:pt x="156" y="403"/>
                        </a:cubicBezTo>
                        <a:cubicBezTo>
                          <a:pt x="158" y="405"/>
                          <a:pt x="153" y="410"/>
                          <a:pt x="154" y="415"/>
                        </a:cubicBezTo>
                        <a:cubicBezTo>
                          <a:pt x="155" y="420"/>
                          <a:pt x="162" y="427"/>
                          <a:pt x="162" y="431"/>
                        </a:cubicBezTo>
                        <a:cubicBezTo>
                          <a:pt x="162" y="435"/>
                          <a:pt x="156" y="439"/>
                          <a:pt x="153" y="442"/>
                        </a:cubicBezTo>
                        <a:cubicBezTo>
                          <a:pt x="150" y="445"/>
                          <a:pt x="144" y="446"/>
                          <a:pt x="142" y="449"/>
                        </a:cubicBezTo>
                        <a:cubicBezTo>
                          <a:pt x="140" y="452"/>
                          <a:pt x="144" y="458"/>
                          <a:pt x="142" y="461"/>
                        </a:cubicBezTo>
                        <a:cubicBezTo>
                          <a:pt x="140" y="464"/>
                          <a:pt x="131" y="465"/>
                          <a:pt x="129" y="469"/>
                        </a:cubicBezTo>
                        <a:cubicBezTo>
                          <a:pt x="127" y="473"/>
                          <a:pt x="132" y="483"/>
                          <a:pt x="132" y="488"/>
                        </a:cubicBezTo>
                        <a:cubicBezTo>
                          <a:pt x="132" y="493"/>
                          <a:pt x="125" y="497"/>
                          <a:pt x="127" y="499"/>
                        </a:cubicBezTo>
                        <a:cubicBezTo>
                          <a:pt x="129" y="501"/>
                          <a:pt x="143" y="497"/>
                          <a:pt x="145" y="500"/>
                        </a:cubicBezTo>
                        <a:cubicBezTo>
                          <a:pt x="147" y="503"/>
                          <a:pt x="141" y="510"/>
                          <a:pt x="141" y="515"/>
                        </a:cubicBezTo>
                        <a:cubicBezTo>
                          <a:pt x="141" y="520"/>
                          <a:pt x="143" y="528"/>
                          <a:pt x="147" y="529"/>
                        </a:cubicBezTo>
                        <a:cubicBezTo>
                          <a:pt x="151" y="530"/>
                          <a:pt x="159" y="523"/>
                          <a:pt x="165" y="521"/>
                        </a:cubicBezTo>
                        <a:cubicBezTo>
                          <a:pt x="171" y="519"/>
                          <a:pt x="178" y="518"/>
                          <a:pt x="183" y="514"/>
                        </a:cubicBezTo>
                        <a:cubicBezTo>
                          <a:pt x="188" y="510"/>
                          <a:pt x="191" y="503"/>
                          <a:pt x="196" y="500"/>
                        </a:cubicBezTo>
                        <a:cubicBezTo>
                          <a:pt x="201" y="497"/>
                          <a:pt x="206" y="495"/>
                          <a:pt x="211" y="494"/>
                        </a:cubicBezTo>
                        <a:cubicBezTo>
                          <a:pt x="215" y="485"/>
                          <a:pt x="221" y="496"/>
                          <a:pt x="225" y="494"/>
                        </a:cubicBezTo>
                        <a:cubicBezTo>
                          <a:pt x="229" y="492"/>
                          <a:pt x="230" y="484"/>
                          <a:pt x="234" y="485"/>
                        </a:cubicBezTo>
                        <a:cubicBezTo>
                          <a:pt x="235" y="495"/>
                          <a:pt x="244" y="493"/>
                          <a:pt x="247" y="503"/>
                        </a:cubicBezTo>
                        <a:cubicBezTo>
                          <a:pt x="251" y="510"/>
                          <a:pt x="254" y="502"/>
                          <a:pt x="255" y="497"/>
                        </a:cubicBezTo>
                        <a:cubicBezTo>
                          <a:pt x="256" y="494"/>
                          <a:pt x="253" y="488"/>
                          <a:pt x="255" y="487"/>
                        </a:cubicBezTo>
                        <a:cubicBezTo>
                          <a:pt x="258" y="482"/>
                          <a:pt x="261" y="490"/>
                          <a:pt x="267" y="488"/>
                        </a:cubicBezTo>
                        <a:cubicBezTo>
                          <a:pt x="271" y="488"/>
                          <a:pt x="277" y="491"/>
                          <a:pt x="280" y="490"/>
                        </a:cubicBezTo>
                        <a:cubicBezTo>
                          <a:pt x="283" y="489"/>
                          <a:pt x="281" y="481"/>
                          <a:pt x="283" y="481"/>
                        </a:cubicBezTo>
                        <a:cubicBezTo>
                          <a:pt x="288" y="481"/>
                          <a:pt x="290" y="486"/>
                          <a:pt x="295" y="487"/>
                        </a:cubicBezTo>
                        <a:cubicBezTo>
                          <a:pt x="300" y="488"/>
                          <a:pt x="310" y="487"/>
                          <a:pt x="315" y="488"/>
                        </a:cubicBezTo>
                        <a:cubicBezTo>
                          <a:pt x="320" y="489"/>
                          <a:pt x="322" y="491"/>
                          <a:pt x="324" y="494"/>
                        </a:cubicBezTo>
                        <a:cubicBezTo>
                          <a:pt x="326" y="497"/>
                          <a:pt x="323" y="504"/>
                          <a:pt x="325" y="508"/>
                        </a:cubicBezTo>
                        <a:cubicBezTo>
                          <a:pt x="331" y="508"/>
                          <a:pt x="326" y="521"/>
                          <a:pt x="337" y="517"/>
                        </a:cubicBezTo>
                        <a:cubicBezTo>
                          <a:pt x="340" y="519"/>
                          <a:pt x="345" y="519"/>
                          <a:pt x="346" y="523"/>
                        </a:cubicBezTo>
                        <a:cubicBezTo>
                          <a:pt x="347" y="527"/>
                          <a:pt x="344" y="539"/>
                          <a:pt x="345" y="542"/>
                        </a:cubicBezTo>
                        <a:cubicBezTo>
                          <a:pt x="346" y="545"/>
                          <a:pt x="352" y="538"/>
                          <a:pt x="354" y="541"/>
                        </a:cubicBezTo>
                        <a:cubicBezTo>
                          <a:pt x="356" y="544"/>
                          <a:pt x="355" y="558"/>
                          <a:pt x="358" y="562"/>
                        </a:cubicBezTo>
                        <a:cubicBezTo>
                          <a:pt x="361" y="566"/>
                          <a:pt x="369" y="565"/>
                          <a:pt x="372" y="568"/>
                        </a:cubicBezTo>
                        <a:cubicBezTo>
                          <a:pt x="375" y="571"/>
                          <a:pt x="374" y="577"/>
                          <a:pt x="376" y="581"/>
                        </a:cubicBezTo>
                        <a:cubicBezTo>
                          <a:pt x="381" y="583"/>
                          <a:pt x="371" y="592"/>
                          <a:pt x="387" y="592"/>
                        </a:cubicBezTo>
                        <a:cubicBezTo>
                          <a:pt x="388" y="597"/>
                          <a:pt x="384" y="605"/>
                          <a:pt x="385" y="610"/>
                        </a:cubicBezTo>
                        <a:cubicBezTo>
                          <a:pt x="386" y="615"/>
                          <a:pt x="393" y="620"/>
                          <a:pt x="396" y="622"/>
                        </a:cubicBezTo>
                        <a:cubicBezTo>
                          <a:pt x="399" y="624"/>
                          <a:pt x="402" y="623"/>
                          <a:pt x="405" y="625"/>
                        </a:cubicBezTo>
                        <a:cubicBezTo>
                          <a:pt x="408" y="627"/>
                          <a:pt x="408" y="631"/>
                          <a:pt x="411" y="634"/>
                        </a:cubicBezTo>
                        <a:cubicBezTo>
                          <a:pt x="414" y="637"/>
                          <a:pt x="422" y="642"/>
                          <a:pt x="426" y="643"/>
                        </a:cubicBezTo>
                        <a:cubicBezTo>
                          <a:pt x="430" y="644"/>
                          <a:pt x="435" y="644"/>
                          <a:pt x="438" y="641"/>
                        </a:cubicBezTo>
                        <a:cubicBezTo>
                          <a:pt x="441" y="638"/>
                          <a:pt x="441" y="627"/>
                          <a:pt x="445" y="623"/>
                        </a:cubicBezTo>
                        <a:cubicBezTo>
                          <a:pt x="449" y="619"/>
                          <a:pt x="459" y="621"/>
                          <a:pt x="462" y="617"/>
                        </a:cubicBezTo>
                        <a:cubicBezTo>
                          <a:pt x="465" y="613"/>
                          <a:pt x="463" y="604"/>
                          <a:pt x="465" y="599"/>
                        </a:cubicBezTo>
                        <a:cubicBezTo>
                          <a:pt x="467" y="594"/>
                          <a:pt x="471" y="588"/>
                          <a:pt x="472" y="584"/>
                        </a:cubicBezTo>
                        <a:cubicBezTo>
                          <a:pt x="473" y="580"/>
                          <a:pt x="471" y="576"/>
                          <a:pt x="471" y="572"/>
                        </a:cubicBezTo>
                        <a:cubicBezTo>
                          <a:pt x="469" y="565"/>
                          <a:pt x="474" y="562"/>
                          <a:pt x="474" y="562"/>
                        </a:cubicBezTo>
                        <a:cubicBezTo>
                          <a:pt x="489" y="579"/>
                          <a:pt x="477" y="552"/>
                          <a:pt x="478" y="548"/>
                        </a:cubicBezTo>
                        <a:cubicBezTo>
                          <a:pt x="479" y="544"/>
                          <a:pt x="483" y="542"/>
                          <a:pt x="483" y="538"/>
                        </a:cubicBezTo>
                        <a:cubicBezTo>
                          <a:pt x="483" y="534"/>
                          <a:pt x="478" y="526"/>
                          <a:pt x="477" y="521"/>
                        </a:cubicBezTo>
                        <a:cubicBezTo>
                          <a:pt x="476" y="516"/>
                          <a:pt x="473" y="508"/>
                          <a:pt x="474" y="505"/>
                        </a:cubicBezTo>
                        <a:cubicBezTo>
                          <a:pt x="475" y="502"/>
                          <a:pt x="482" y="502"/>
                          <a:pt x="484" y="500"/>
                        </a:cubicBezTo>
                        <a:cubicBezTo>
                          <a:pt x="486" y="498"/>
                          <a:pt x="485" y="495"/>
                          <a:pt x="487" y="493"/>
                        </a:cubicBezTo>
                        <a:cubicBezTo>
                          <a:pt x="489" y="491"/>
                          <a:pt x="494" y="493"/>
                          <a:pt x="496" y="490"/>
                        </a:cubicBezTo>
                        <a:cubicBezTo>
                          <a:pt x="498" y="487"/>
                          <a:pt x="500" y="479"/>
                          <a:pt x="498" y="476"/>
                        </a:cubicBezTo>
                        <a:cubicBezTo>
                          <a:pt x="496" y="473"/>
                          <a:pt x="487" y="472"/>
                          <a:pt x="487" y="470"/>
                        </a:cubicBezTo>
                        <a:cubicBezTo>
                          <a:pt x="487" y="468"/>
                          <a:pt x="494" y="466"/>
                          <a:pt x="495" y="463"/>
                        </a:cubicBezTo>
                        <a:cubicBezTo>
                          <a:pt x="496" y="460"/>
                          <a:pt x="492" y="455"/>
                          <a:pt x="493" y="451"/>
                        </a:cubicBezTo>
                        <a:cubicBezTo>
                          <a:pt x="494" y="447"/>
                          <a:pt x="501" y="444"/>
                          <a:pt x="502" y="439"/>
                        </a:cubicBezTo>
                        <a:cubicBezTo>
                          <a:pt x="503" y="434"/>
                          <a:pt x="501" y="424"/>
                          <a:pt x="499" y="418"/>
                        </a:cubicBezTo>
                        <a:cubicBezTo>
                          <a:pt x="497" y="412"/>
                          <a:pt x="490" y="408"/>
                          <a:pt x="490" y="404"/>
                        </a:cubicBezTo>
                        <a:cubicBezTo>
                          <a:pt x="490" y="400"/>
                          <a:pt x="496" y="398"/>
                          <a:pt x="498" y="394"/>
                        </a:cubicBezTo>
                        <a:cubicBezTo>
                          <a:pt x="500" y="390"/>
                          <a:pt x="504" y="386"/>
                          <a:pt x="505" y="382"/>
                        </a:cubicBezTo>
                        <a:cubicBezTo>
                          <a:pt x="506" y="378"/>
                          <a:pt x="504" y="374"/>
                          <a:pt x="505" y="371"/>
                        </a:cubicBezTo>
                        <a:cubicBezTo>
                          <a:pt x="506" y="368"/>
                          <a:pt x="512" y="365"/>
                          <a:pt x="513" y="361"/>
                        </a:cubicBezTo>
                        <a:cubicBezTo>
                          <a:pt x="523" y="358"/>
                          <a:pt x="500" y="348"/>
                          <a:pt x="511" y="346"/>
                        </a:cubicBezTo>
                        <a:cubicBezTo>
                          <a:pt x="522" y="353"/>
                          <a:pt x="514" y="328"/>
                          <a:pt x="513" y="322"/>
                        </a:cubicBezTo>
                        <a:cubicBezTo>
                          <a:pt x="512" y="316"/>
                          <a:pt x="504" y="310"/>
                          <a:pt x="505" y="307"/>
                        </a:cubicBezTo>
                        <a:cubicBezTo>
                          <a:pt x="506" y="304"/>
                          <a:pt x="515" y="308"/>
                          <a:pt x="517" y="305"/>
                        </a:cubicBezTo>
                        <a:cubicBezTo>
                          <a:pt x="527" y="311"/>
                          <a:pt x="518" y="296"/>
                          <a:pt x="517" y="292"/>
                        </a:cubicBezTo>
                        <a:cubicBezTo>
                          <a:pt x="516" y="289"/>
                          <a:pt x="512" y="287"/>
                          <a:pt x="513" y="284"/>
                        </a:cubicBezTo>
                        <a:cubicBezTo>
                          <a:pt x="514" y="281"/>
                          <a:pt x="518" y="278"/>
                          <a:pt x="520" y="274"/>
                        </a:cubicBezTo>
                        <a:cubicBezTo>
                          <a:pt x="522" y="270"/>
                          <a:pt x="525" y="266"/>
                          <a:pt x="526" y="262"/>
                        </a:cubicBezTo>
                        <a:cubicBezTo>
                          <a:pt x="527" y="258"/>
                          <a:pt x="526" y="255"/>
                          <a:pt x="525" y="250"/>
                        </a:cubicBezTo>
                        <a:cubicBezTo>
                          <a:pt x="524" y="245"/>
                          <a:pt x="518" y="236"/>
                          <a:pt x="519" y="232"/>
                        </a:cubicBezTo>
                        <a:cubicBezTo>
                          <a:pt x="526" y="232"/>
                          <a:pt x="530" y="230"/>
                          <a:pt x="532" y="227"/>
                        </a:cubicBezTo>
                        <a:cubicBezTo>
                          <a:pt x="534" y="224"/>
                          <a:pt x="530" y="217"/>
                          <a:pt x="531" y="212"/>
                        </a:cubicBezTo>
                        <a:cubicBezTo>
                          <a:pt x="532" y="207"/>
                          <a:pt x="537" y="201"/>
                          <a:pt x="540" y="196"/>
                        </a:cubicBezTo>
                        <a:cubicBezTo>
                          <a:pt x="543" y="191"/>
                          <a:pt x="543" y="181"/>
                          <a:pt x="547" y="179"/>
                        </a:cubicBezTo>
                        <a:cubicBezTo>
                          <a:pt x="551" y="177"/>
                          <a:pt x="556" y="182"/>
                          <a:pt x="562" y="182"/>
                        </a:cubicBezTo>
                        <a:cubicBezTo>
                          <a:pt x="568" y="182"/>
                          <a:pt x="577" y="183"/>
                          <a:pt x="583" y="182"/>
                        </a:cubicBezTo>
                        <a:cubicBezTo>
                          <a:pt x="589" y="181"/>
                          <a:pt x="595" y="179"/>
                          <a:pt x="597" y="175"/>
                        </a:cubicBezTo>
                        <a:cubicBezTo>
                          <a:pt x="599" y="171"/>
                          <a:pt x="597" y="167"/>
                          <a:pt x="597" y="160"/>
                        </a:cubicBezTo>
                        <a:cubicBezTo>
                          <a:pt x="597" y="153"/>
                          <a:pt x="600" y="139"/>
                          <a:pt x="598" y="134"/>
                        </a:cubicBezTo>
                        <a:cubicBezTo>
                          <a:pt x="596" y="129"/>
                          <a:pt x="587" y="132"/>
                          <a:pt x="585" y="127"/>
                        </a:cubicBezTo>
                        <a:cubicBezTo>
                          <a:pt x="583" y="122"/>
                          <a:pt x="589" y="109"/>
                          <a:pt x="588" y="104"/>
                        </a:cubicBezTo>
                        <a:cubicBezTo>
                          <a:pt x="587" y="99"/>
                          <a:pt x="580" y="98"/>
                          <a:pt x="579" y="95"/>
                        </a:cubicBezTo>
                        <a:cubicBezTo>
                          <a:pt x="578" y="92"/>
                          <a:pt x="580" y="92"/>
                          <a:pt x="580" y="85"/>
                        </a:cubicBezTo>
                        <a:cubicBezTo>
                          <a:pt x="580" y="78"/>
                          <a:pt x="579" y="59"/>
                          <a:pt x="576" y="55"/>
                        </a:cubicBezTo>
                        <a:cubicBezTo>
                          <a:pt x="573" y="51"/>
                          <a:pt x="564" y="62"/>
                          <a:pt x="561" y="61"/>
                        </a:cubicBezTo>
                        <a:cubicBezTo>
                          <a:pt x="558" y="60"/>
                          <a:pt x="558" y="54"/>
                          <a:pt x="556" y="50"/>
                        </a:cubicBezTo>
                        <a:cubicBezTo>
                          <a:pt x="554" y="46"/>
                          <a:pt x="551" y="42"/>
                          <a:pt x="547" y="38"/>
                        </a:cubicBezTo>
                        <a:cubicBezTo>
                          <a:pt x="543" y="34"/>
                          <a:pt x="536" y="32"/>
                          <a:pt x="531" y="28"/>
                        </a:cubicBezTo>
                        <a:cubicBezTo>
                          <a:pt x="526" y="24"/>
                          <a:pt x="523" y="18"/>
                          <a:pt x="519" y="14"/>
                        </a:cubicBezTo>
                        <a:cubicBezTo>
                          <a:pt x="515" y="10"/>
                          <a:pt x="509" y="2"/>
                          <a:pt x="505" y="1"/>
                        </a:cubicBezTo>
                        <a:cubicBezTo>
                          <a:pt x="501" y="0"/>
                          <a:pt x="497" y="10"/>
                          <a:pt x="493" y="11"/>
                        </a:cubicBezTo>
                        <a:cubicBezTo>
                          <a:pt x="489" y="12"/>
                          <a:pt x="485" y="7"/>
                          <a:pt x="481" y="8"/>
                        </a:cubicBezTo>
                        <a:cubicBezTo>
                          <a:pt x="477" y="9"/>
                          <a:pt x="473" y="17"/>
                          <a:pt x="468" y="17"/>
                        </a:cubicBezTo>
                        <a:cubicBezTo>
                          <a:pt x="463" y="17"/>
                          <a:pt x="466" y="11"/>
                          <a:pt x="453" y="10"/>
                        </a:cubicBezTo>
                        <a:cubicBezTo>
                          <a:pt x="440" y="9"/>
                          <a:pt x="400" y="6"/>
                          <a:pt x="387" y="8"/>
                        </a:cubicBezTo>
                        <a:cubicBezTo>
                          <a:pt x="374" y="10"/>
                          <a:pt x="380" y="17"/>
                          <a:pt x="375" y="19"/>
                        </a:cubicBezTo>
                        <a:cubicBezTo>
                          <a:pt x="370" y="21"/>
                          <a:pt x="358" y="18"/>
                          <a:pt x="354" y="19"/>
                        </a:cubicBezTo>
                        <a:cubicBezTo>
                          <a:pt x="350" y="20"/>
                          <a:pt x="353" y="26"/>
                          <a:pt x="351" y="28"/>
                        </a:cubicBezTo>
                        <a:cubicBezTo>
                          <a:pt x="349" y="30"/>
                          <a:pt x="346" y="33"/>
                          <a:pt x="343" y="34"/>
                        </a:cubicBezTo>
                        <a:cubicBezTo>
                          <a:pt x="340" y="35"/>
                          <a:pt x="337" y="31"/>
                          <a:pt x="333" y="32"/>
                        </a:cubicBezTo>
                        <a:cubicBezTo>
                          <a:pt x="326" y="25"/>
                          <a:pt x="325" y="40"/>
                          <a:pt x="318" y="43"/>
                        </a:cubicBezTo>
                        <a:cubicBezTo>
                          <a:pt x="311" y="46"/>
                          <a:pt x="299" y="49"/>
                          <a:pt x="292" y="49"/>
                        </a:cubicBezTo>
                        <a:cubicBezTo>
                          <a:pt x="288" y="56"/>
                          <a:pt x="279" y="45"/>
                          <a:pt x="274" y="44"/>
                        </a:cubicBezTo>
                        <a:cubicBezTo>
                          <a:pt x="269" y="43"/>
                          <a:pt x="262" y="40"/>
                          <a:pt x="259" y="41"/>
                        </a:cubicBezTo>
                        <a:cubicBezTo>
                          <a:pt x="256" y="42"/>
                          <a:pt x="258" y="49"/>
                          <a:pt x="256" y="52"/>
                        </a:cubicBezTo>
                        <a:cubicBezTo>
                          <a:pt x="254" y="55"/>
                          <a:pt x="245" y="59"/>
                          <a:pt x="244" y="6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6" name="Freeform 7">
                    <a:extLst>
                      <a:ext uri="{FF2B5EF4-FFF2-40B4-BE49-F238E27FC236}">
                        <a16:creationId xmlns:a16="http://schemas.microsoft.com/office/drawing/2014/main" id="{59493EDD-0145-4273-85B5-B394F83F8AB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393553" y="4548036"/>
                    <a:ext cx="2876235" cy="1573109"/>
                  </a:xfrm>
                  <a:custGeom>
                    <a:avLst/>
                    <a:gdLst/>
                    <a:ahLst/>
                    <a:cxnLst>
                      <a:cxn ang="0">
                        <a:pos x="67" y="19"/>
                      </a:cxn>
                      <a:cxn ang="0">
                        <a:pos x="115" y="21"/>
                      </a:cxn>
                      <a:cxn ang="0">
                        <a:pos x="148" y="33"/>
                      </a:cxn>
                      <a:cxn ang="0">
                        <a:pos x="185" y="61"/>
                      </a:cxn>
                      <a:cxn ang="0">
                        <a:pos x="221" y="70"/>
                      </a:cxn>
                      <a:cxn ang="0">
                        <a:pos x="265" y="79"/>
                      </a:cxn>
                      <a:cxn ang="0">
                        <a:pos x="311" y="61"/>
                      </a:cxn>
                      <a:cxn ang="0">
                        <a:pos x="361" y="39"/>
                      </a:cxn>
                      <a:cxn ang="0">
                        <a:pos x="409" y="37"/>
                      </a:cxn>
                      <a:cxn ang="0">
                        <a:pos x="448" y="46"/>
                      </a:cxn>
                      <a:cxn ang="0">
                        <a:pos x="503" y="45"/>
                      </a:cxn>
                      <a:cxn ang="0">
                        <a:pos x="541" y="7"/>
                      </a:cxn>
                      <a:cxn ang="0">
                        <a:pos x="584" y="4"/>
                      </a:cxn>
                      <a:cxn ang="0">
                        <a:pos x="611" y="30"/>
                      </a:cxn>
                      <a:cxn ang="0">
                        <a:pos x="640" y="66"/>
                      </a:cxn>
                      <a:cxn ang="0">
                        <a:pos x="659" y="108"/>
                      </a:cxn>
                      <a:cxn ang="0">
                        <a:pos x="665" y="175"/>
                      </a:cxn>
                      <a:cxn ang="0">
                        <a:pos x="658" y="211"/>
                      </a:cxn>
                      <a:cxn ang="0">
                        <a:pos x="653" y="261"/>
                      </a:cxn>
                      <a:cxn ang="0">
                        <a:pos x="667" y="298"/>
                      </a:cxn>
                      <a:cxn ang="0">
                        <a:pos x="698" y="337"/>
                      </a:cxn>
                      <a:cxn ang="0">
                        <a:pos x="739" y="360"/>
                      </a:cxn>
                      <a:cxn ang="0">
                        <a:pos x="743" y="399"/>
                      </a:cxn>
                      <a:cxn ang="0">
                        <a:pos x="703" y="378"/>
                      </a:cxn>
                      <a:cxn ang="0">
                        <a:pos x="664" y="360"/>
                      </a:cxn>
                      <a:cxn ang="0">
                        <a:pos x="631" y="363"/>
                      </a:cxn>
                      <a:cxn ang="0">
                        <a:pos x="578" y="360"/>
                      </a:cxn>
                      <a:cxn ang="0">
                        <a:pos x="527" y="373"/>
                      </a:cxn>
                      <a:cxn ang="0">
                        <a:pos x="496" y="390"/>
                      </a:cxn>
                      <a:cxn ang="0">
                        <a:pos x="452" y="397"/>
                      </a:cxn>
                      <a:cxn ang="0">
                        <a:pos x="449" y="348"/>
                      </a:cxn>
                      <a:cxn ang="0">
                        <a:pos x="455" y="267"/>
                      </a:cxn>
                      <a:cxn ang="0">
                        <a:pos x="380" y="235"/>
                      </a:cxn>
                      <a:cxn ang="0">
                        <a:pos x="253" y="232"/>
                      </a:cxn>
                      <a:cxn ang="0">
                        <a:pos x="218" y="250"/>
                      </a:cxn>
                      <a:cxn ang="0">
                        <a:pos x="169" y="252"/>
                      </a:cxn>
                      <a:cxn ang="0">
                        <a:pos x="104" y="244"/>
                      </a:cxn>
                      <a:cxn ang="0">
                        <a:pos x="125" y="166"/>
                      </a:cxn>
                      <a:cxn ang="0">
                        <a:pos x="97" y="100"/>
                      </a:cxn>
                      <a:cxn ang="0">
                        <a:pos x="43" y="73"/>
                      </a:cxn>
                      <a:cxn ang="0">
                        <a:pos x="11" y="73"/>
                      </a:cxn>
                      <a:cxn ang="0">
                        <a:pos x="13" y="21"/>
                      </a:cxn>
                    </a:cxnLst>
                    <a:rect l="0" t="0" r="r" b="b"/>
                    <a:pathLst>
                      <a:path w="744" h="412">
                        <a:moveTo>
                          <a:pt x="34" y="9"/>
                        </a:moveTo>
                        <a:cubicBezTo>
                          <a:pt x="36" y="10"/>
                          <a:pt x="48" y="11"/>
                          <a:pt x="53" y="13"/>
                        </a:cubicBezTo>
                        <a:cubicBezTo>
                          <a:pt x="58" y="15"/>
                          <a:pt x="63" y="18"/>
                          <a:pt x="67" y="19"/>
                        </a:cubicBezTo>
                        <a:cubicBezTo>
                          <a:pt x="72" y="22"/>
                          <a:pt x="74" y="20"/>
                          <a:pt x="80" y="21"/>
                        </a:cubicBezTo>
                        <a:cubicBezTo>
                          <a:pt x="88" y="20"/>
                          <a:pt x="90" y="24"/>
                          <a:pt x="97" y="27"/>
                        </a:cubicBezTo>
                        <a:cubicBezTo>
                          <a:pt x="102" y="27"/>
                          <a:pt x="109" y="20"/>
                          <a:pt x="115" y="21"/>
                        </a:cubicBezTo>
                        <a:cubicBezTo>
                          <a:pt x="121" y="22"/>
                          <a:pt x="127" y="27"/>
                          <a:pt x="131" y="30"/>
                        </a:cubicBezTo>
                        <a:cubicBezTo>
                          <a:pt x="135" y="33"/>
                          <a:pt x="137" y="36"/>
                          <a:pt x="140" y="36"/>
                        </a:cubicBezTo>
                        <a:cubicBezTo>
                          <a:pt x="147" y="38"/>
                          <a:pt x="145" y="32"/>
                          <a:pt x="148" y="33"/>
                        </a:cubicBezTo>
                        <a:cubicBezTo>
                          <a:pt x="151" y="34"/>
                          <a:pt x="153" y="39"/>
                          <a:pt x="157" y="42"/>
                        </a:cubicBezTo>
                        <a:cubicBezTo>
                          <a:pt x="164" y="44"/>
                          <a:pt x="167" y="48"/>
                          <a:pt x="172" y="51"/>
                        </a:cubicBezTo>
                        <a:cubicBezTo>
                          <a:pt x="177" y="54"/>
                          <a:pt x="181" y="58"/>
                          <a:pt x="185" y="61"/>
                        </a:cubicBezTo>
                        <a:cubicBezTo>
                          <a:pt x="191" y="67"/>
                          <a:pt x="195" y="66"/>
                          <a:pt x="199" y="69"/>
                        </a:cubicBezTo>
                        <a:cubicBezTo>
                          <a:pt x="203" y="72"/>
                          <a:pt x="205" y="76"/>
                          <a:pt x="209" y="76"/>
                        </a:cubicBezTo>
                        <a:cubicBezTo>
                          <a:pt x="215" y="77"/>
                          <a:pt x="218" y="70"/>
                          <a:pt x="221" y="70"/>
                        </a:cubicBezTo>
                        <a:cubicBezTo>
                          <a:pt x="224" y="70"/>
                          <a:pt x="226" y="74"/>
                          <a:pt x="230" y="76"/>
                        </a:cubicBezTo>
                        <a:cubicBezTo>
                          <a:pt x="235" y="80"/>
                          <a:pt x="238" y="84"/>
                          <a:pt x="244" y="85"/>
                        </a:cubicBezTo>
                        <a:cubicBezTo>
                          <a:pt x="250" y="84"/>
                          <a:pt x="258" y="82"/>
                          <a:pt x="265" y="79"/>
                        </a:cubicBezTo>
                        <a:cubicBezTo>
                          <a:pt x="272" y="76"/>
                          <a:pt x="280" y="72"/>
                          <a:pt x="286" y="67"/>
                        </a:cubicBezTo>
                        <a:cubicBezTo>
                          <a:pt x="292" y="62"/>
                          <a:pt x="295" y="53"/>
                          <a:pt x="299" y="52"/>
                        </a:cubicBezTo>
                        <a:cubicBezTo>
                          <a:pt x="301" y="40"/>
                          <a:pt x="291" y="66"/>
                          <a:pt x="311" y="61"/>
                        </a:cubicBezTo>
                        <a:cubicBezTo>
                          <a:pt x="317" y="58"/>
                          <a:pt x="321" y="54"/>
                          <a:pt x="326" y="51"/>
                        </a:cubicBezTo>
                        <a:cubicBezTo>
                          <a:pt x="331" y="48"/>
                          <a:pt x="337" y="44"/>
                          <a:pt x="343" y="42"/>
                        </a:cubicBezTo>
                        <a:cubicBezTo>
                          <a:pt x="349" y="40"/>
                          <a:pt x="355" y="40"/>
                          <a:pt x="361" y="39"/>
                        </a:cubicBezTo>
                        <a:cubicBezTo>
                          <a:pt x="367" y="38"/>
                          <a:pt x="371" y="35"/>
                          <a:pt x="377" y="34"/>
                        </a:cubicBezTo>
                        <a:cubicBezTo>
                          <a:pt x="391" y="30"/>
                          <a:pt x="390" y="30"/>
                          <a:pt x="395" y="30"/>
                        </a:cubicBezTo>
                        <a:cubicBezTo>
                          <a:pt x="400" y="30"/>
                          <a:pt x="404" y="34"/>
                          <a:pt x="409" y="37"/>
                        </a:cubicBezTo>
                        <a:cubicBezTo>
                          <a:pt x="414" y="40"/>
                          <a:pt x="421" y="43"/>
                          <a:pt x="425" y="45"/>
                        </a:cubicBezTo>
                        <a:cubicBezTo>
                          <a:pt x="434" y="46"/>
                          <a:pt x="432" y="52"/>
                          <a:pt x="436" y="52"/>
                        </a:cubicBezTo>
                        <a:cubicBezTo>
                          <a:pt x="440" y="52"/>
                          <a:pt x="443" y="47"/>
                          <a:pt x="448" y="46"/>
                        </a:cubicBezTo>
                        <a:cubicBezTo>
                          <a:pt x="453" y="45"/>
                          <a:pt x="463" y="45"/>
                          <a:pt x="469" y="46"/>
                        </a:cubicBezTo>
                        <a:cubicBezTo>
                          <a:pt x="475" y="47"/>
                          <a:pt x="478" y="52"/>
                          <a:pt x="484" y="52"/>
                        </a:cubicBezTo>
                        <a:cubicBezTo>
                          <a:pt x="494" y="51"/>
                          <a:pt x="494" y="48"/>
                          <a:pt x="503" y="45"/>
                        </a:cubicBezTo>
                        <a:cubicBezTo>
                          <a:pt x="497" y="39"/>
                          <a:pt x="508" y="34"/>
                          <a:pt x="511" y="30"/>
                        </a:cubicBezTo>
                        <a:cubicBezTo>
                          <a:pt x="514" y="26"/>
                          <a:pt x="519" y="25"/>
                          <a:pt x="524" y="21"/>
                        </a:cubicBezTo>
                        <a:cubicBezTo>
                          <a:pt x="530" y="16"/>
                          <a:pt x="536" y="8"/>
                          <a:pt x="541" y="7"/>
                        </a:cubicBezTo>
                        <a:cubicBezTo>
                          <a:pt x="546" y="5"/>
                          <a:pt x="552" y="8"/>
                          <a:pt x="557" y="7"/>
                        </a:cubicBezTo>
                        <a:cubicBezTo>
                          <a:pt x="564" y="5"/>
                          <a:pt x="567" y="0"/>
                          <a:pt x="571" y="0"/>
                        </a:cubicBezTo>
                        <a:cubicBezTo>
                          <a:pt x="575" y="0"/>
                          <a:pt x="579" y="3"/>
                          <a:pt x="584" y="4"/>
                        </a:cubicBezTo>
                        <a:cubicBezTo>
                          <a:pt x="589" y="5"/>
                          <a:pt x="598" y="2"/>
                          <a:pt x="602" y="4"/>
                        </a:cubicBezTo>
                        <a:cubicBezTo>
                          <a:pt x="609" y="5"/>
                          <a:pt x="606" y="14"/>
                          <a:pt x="607" y="18"/>
                        </a:cubicBezTo>
                        <a:cubicBezTo>
                          <a:pt x="608" y="22"/>
                          <a:pt x="610" y="25"/>
                          <a:pt x="611" y="30"/>
                        </a:cubicBezTo>
                        <a:cubicBezTo>
                          <a:pt x="613" y="36"/>
                          <a:pt x="614" y="44"/>
                          <a:pt x="616" y="49"/>
                        </a:cubicBezTo>
                        <a:cubicBezTo>
                          <a:pt x="618" y="54"/>
                          <a:pt x="621" y="60"/>
                          <a:pt x="625" y="63"/>
                        </a:cubicBezTo>
                        <a:cubicBezTo>
                          <a:pt x="626" y="64"/>
                          <a:pt x="639" y="66"/>
                          <a:pt x="640" y="66"/>
                        </a:cubicBezTo>
                        <a:cubicBezTo>
                          <a:pt x="647" y="67"/>
                          <a:pt x="647" y="64"/>
                          <a:pt x="653" y="66"/>
                        </a:cubicBezTo>
                        <a:cubicBezTo>
                          <a:pt x="653" y="66"/>
                          <a:pt x="658" y="76"/>
                          <a:pt x="659" y="78"/>
                        </a:cubicBezTo>
                        <a:cubicBezTo>
                          <a:pt x="658" y="88"/>
                          <a:pt x="665" y="88"/>
                          <a:pt x="659" y="108"/>
                        </a:cubicBezTo>
                        <a:cubicBezTo>
                          <a:pt x="659" y="118"/>
                          <a:pt x="659" y="127"/>
                          <a:pt x="659" y="136"/>
                        </a:cubicBezTo>
                        <a:cubicBezTo>
                          <a:pt x="659" y="145"/>
                          <a:pt x="658" y="154"/>
                          <a:pt x="659" y="160"/>
                        </a:cubicBezTo>
                        <a:cubicBezTo>
                          <a:pt x="660" y="166"/>
                          <a:pt x="664" y="170"/>
                          <a:pt x="665" y="175"/>
                        </a:cubicBezTo>
                        <a:cubicBezTo>
                          <a:pt x="666" y="180"/>
                          <a:pt x="664" y="186"/>
                          <a:pt x="664" y="190"/>
                        </a:cubicBezTo>
                        <a:cubicBezTo>
                          <a:pt x="664" y="194"/>
                          <a:pt x="665" y="198"/>
                          <a:pt x="664" y="202"/>
                        </a:cubicBezTo>
                        <a:cubicBezTo>
                          <a:pt x="663" y="206"/>
                          <a:pt x="662" y="213"/>
                          <a:pt x="658" y="211"/>
                        </a:cubicBezTo>
                        <a:cubicBezTo>
                          <a:pt x="655" y="216"/>
                          <a:pt x="663" y="219"/>
                          <a:pt x="656" y="226"/>
                        </a:cubicBezTo>
                        <a:cubicBezTo>
                          <a:pt x="655" y="231"/>
                          <a:pt x="653" y="237"/>
                          <a:pt x="653" y="243"/>
                        </a:cubicBezTo>
                        <a:cubicBezTo>
                          <a:pt x="653" y="249"/>
                          <a:pt x="653" y="256"/>
                          <a:pt x="653" y="261"/>
                        </a:cubicBezTo>
                        <a:cubicBezTo>
                          <a:pt x="649" y="276"/>
                          <a:pt x="651" y="270"/>
                          <a:pt x="653" y="273"/>
                        </a:cubicBezTo>
                        <a:cubicBezTo>
                          <a:pt x="655" y="276"/>
                          <a:pt x="663" y="278"/>
                          <a:pt x="665" y="282"/>
                        </a:cubicBezTo>
                        <a:cubicBezTo>
                          <a:pt x="667" y="286"/>
                          <a:pt x="666" y="293"/>
                          <a:pt x="667" y="298"/>
                        </a:cubicBezTo>
                        <a:cubicBezTo>
                          <a:pt x="668" y="303"/>
                          <a:pt x="667" y="308"/>
                          <a:pt x="670" y="312"/>
                        </a:cubicBezTo>
                        <a:cubicBezTo>
                          <a:pt x="673" y="316"/>
                          <a:pt x="678" y="320"/>
                          <a:pt x="683" y="324"/>
                        </a:cubicBezTo>
                        <a:cubicBezTo>
                          <a:pt x="688" y="332"/>
                          <a:pt x="689" y="335"/>
                          <a:pt x="698" y="337"/>
                        </a:cubicBezTo>
                        <a:cubicBezTo>
                          <a:pt x="702" y="340"/>
                          <a:pt x="707" y="337"/>
                          <a:pt x="710" y="340"/>
                        </a:cubicBezTo>
                        <a:cubicBezTo>
                          <a:pt x="714" y="341"/>
                          <a:pt x="717" y="343"/>
                          <a:pt x="722" y="346"/>
                        </a:cubicBezTo>
                        <a:cubicBezTo>
                          <a:pt x="726" y="350"/>
                          <a:pt x="737" y="356"/>
                          <a:pt x="739" y="360"/>
                        </a:cubicBezTo>
                        <a:cubicBezTo>
                          <a:pt x="742" y="364"/>
                          <a:pt x="742" y="369"/>
                          <a:pt x="742" y="373"/>
                        </a:cubicBezTo>
                        <a:cubicBezTo>
                          <a:pt x="743" y="379"/>
                          <a:pt x="740" y="379"/>
                          <a:pt x="742" y="385"/>
                        </a:cubicBezTo>
                        <a:cubicBezTo>
                          <a:pt x="742" y="389"/>
                          <a:pt x="744" y="395"/>
                          <a:pt x="743" y="399"/>
                        </a:cubicBezTo>
                        <a:cubicBezTo>
                          <a:pt x="741" y="403"/>
                          <a:pt x="735" y="412"/>
                          <a:pt x="731" y="411"/>
                        </a:cubicBezTo>
                        <a:cubicBezTo>
                          <a:pt x="724" y="406"/>
                          <a:pt x="730" y="394"/>
                          <a:pt x="721" y="391"/>
                        </a:cubicBezTo>
                        <a:cubicBezTo>
                          <a:pt x="715" y="384"/>
                          <a:pt x="710" y="384"/>
                          <a:pt x="703" y="378"/>
                        </a:cubicBezTo>
                        <a:cubicBezTo>
                          <a:pt x="699" y="372"/>
                          <a:pt x="698" y="369"/>
                          <a:pt x="691" y="366"/>
                        </a:cubicBezTo>
                        <a:cubicBezTo>
                          <a:pt x="687" y="360"/>
                          <a:pt x="686" y="356"/>
                          <a:pt x="680" y="352"/>
                        </a:cubicBezTo>
                        <a:cubicBezTo>
                          <a:pt x="667" y="355"/>
                          <a:pt x="673" y="353"/>
                          <a:pt x="664" y="360"/>
                        </a:cubicBezTo>
                        <a:cubicBezTo>
                          <a:pt x="658" y="356"/>
                          <a:pt x="657" y="360"/>
                          <a:pt x="649" y="361"/>
                        </a:cubicBezTo>
                        <a:cubicBezTo>
                          <a:pt x="643" y="373"/>
                          <a:pt x="650" y="371"/>
                          <a:pt x="640" y="366"/>
                        </a:cubicBezTo>
                        <a:cubicBezTo>
                          <a:pt x="637" y="364"/>
                          <a:pt x="635" y="364"/>
                          <a:pt x="631" y="363"/>
                        </a:cubicBezTo>
                        <a:cubicBezTo>
                          <a:pt x="627" y="362"/>
                          <a:pt x="619" y="360"/>
                          <a:pt x="614" y="360"/>
                        </a:cubicBezTo>
                        <a:cubicBezTo>
                          <a:pt x="608" y="360"/>
                          <a:pt x="604" y="360"/>
                          <a:pt x="598" y="360"/>
                        </a:cubicBezTo>
                        <a:cubicBezTo>
                          <a:pt x="592" y="360"/>
                          <a:pt x="584" y="360"/>
                          <a:pt x="578" y="360"/>
                        </a:cubicBezTo>
                        <a:cubicBezTo>
                          <a:pt x="572" y="360"/>
                          <a:pt x="564" y="355"/>
                          <a:pt x="559" y="357"/>
                        </a:cubicBezTo>
                        <a:cubicBezTo>
                          <a:pt x="548" y="360"/>
                          <a:pt x="552" y="369"/>
                          <a:pt x="547" y="372"/>
                        </a:cubicBezTo>
                        <a:cubicBezTo>
                          <a:pt x="542" y="375"/>
                          <a:pt x="532" y="371"/>
                          <a:pt x="527" y="373"/>
                        </a:cubicBezTo>
                        <a:cubicBezTo>
                          <a:pt x="521" y="378"/>
                          <a:pt x="521" y="383"/>
                          <a:pt x="518" y="384"/>
                        </a:cubicBezTo>
                        <a:cubicBezTo>
                          <a:pt x="515" y="385"/>
                          <a:pt x="510" y="380"/>
                          <a:pt x="506" y="381"/>
                        </a:cubicBezTo>
                        <a:cubicBezTo>
                          <a:pt x="500" y="383"/>
                          <a:pt x="501" y="388"/>
                          <a:pt x="496" y="390"/>
                        </a:cubicBezTo>
                        <a:cubicBezTo>
                          <a:pt x="491" y="392"/>
                          <a:pt x="483" y="394"/>
                          <a:pt x="478" y="396"/>
                        </a:cubicBezTo>
                        <a:cubicBezTo>
                          <a:pt x="472" y="399"/>
                          <a:pt x="468" y="402"/>
                          <a:pt x="464" y="402"/>
                        </a:cubicBezTo>
                        <a:cubicBezTo>
                          <a:pt x="460" y="402"/>
                          <a:pt x="456" y="399"/>
                          <a:pt x="452" y="397"/>
                        </a:cubicBezTo>
                        <a:cubicBezTo>
                          <a:pt x="448" y="395"/>
                          <a:pt x="441" y="393"/>
                          <a:pt x="442" y="388"/>
                        </a:cubicBezTo>
                        <a:cubicBezTo>
                          <a:pt x="443" y="378"/>
                          <a:pt x="451" y="376"/>
                          <a:pt x="457" y="369"/>
                        </a:cubicBezTo>
                        <a:cubicBezTo>
                          <a:pt x="459" y="361"/>
                          <a:pt x="454" y="355"/>
                          <a:pt x="449" y="348"/>
                        </a:cubicBezTo>
                        <a:cubicBezTo>
                          <a:pt x="453" y="337"/>
                          <a:pt x="452" y="330"/>
                          <a:pt x="463" y="324"/>
                        </a:cubicBezTo>
                        <a:cubicBezTo>
                          <a:pt x="470" y="311"/>
                          <a:pt x="465" y="315"/>
                          <a:pt x="473" y="309"/>
                        </a:cubicBezTo>
                        <a:cubicBezTo>
                          <a:pt x="480" y="297"/>
                          <a:pt x="467" y="273"/>
                          <a:pt x="455" y="267"/>
                        </a:cubicBezTo>
                        <a:cubicBezTo>
                          <a:pt x="450" y="257"/>
                          <a:pt x="444" y="253"/>
                          <a:pt x="434" y="247"/>
                        </a:cubicBezTo>
                        <a:cubicBezTo>
                          <a:pt x="427" y="249"/>
                          <a:pt x="420" y="250"/>
                          <a:pt x="413" y="252"/>
                        </a:cubicBezTo>
                        <a:cubicBezTo>
                          <a:pt x="400" y="248"/>
                          <a:pt x="389" y="244"/>
                          <a:pt x="380" y="235"/>
                        </a:cubicBezTo>
                        <a:cubicBezTo>
                          <a:pt x="376" y="237"/>
                          <a:pt x="371" y="238"/>
                          <a:pt x="367" y="240"/>
                        </a:cubicBezTo>
                        <a:cubicBezTo>
                          <a:pt x="357" y="234"/>
                          <a:pt x="357" y="230"/>
                          <a:pt x="344" y="226"/>
                        </a:cubicBezTo>
                        <a:cubicBezTo>
                          <a:pt x="313" y="227"/>
                          <a:pt x="283" y="228"/>
                          <a:pt x="253" y="232"/>
                        </a:cubicBezTo>
                        <a:cubicBezTo>
                          <a:pt x="248" y="234"/>
                          <a:pt x="244" y="233"/>
                          <a:pt x="239" y="235"/>
                        </a:cubicBezTo>
                        <a:cubicBezTo>
                          <a:pt x="235" y="236"/>
                          <a:pt x="229" y="240"/>
                          <a:pt x="229" y="240"/>
                        </a:cubicBezTo>
                        <a:cubicBezTo>
                          <a:pt x="225" y="245"/>
                          <a:pt x="225" y="249"/>
                          <a:pt x="218" y="250"/>
                        </a:cubicBezTo>
                        <a:cubicBezTo>
                          <a:pt x="212" y="255"/>
                          <a:pt x="206" y="258"/>
                          <a:pt x="199" y="261"/>
                        </a:cubicBezTo>
                        <a:cubicBezTo>
                          <a:pt x="197" y="262"/>
                          <a:pt x="193" y="264"/>
                          <a:pt x="193" y="264"/>
                        </a:cubicBezTo>
                        <a:cubicBezTo>
                          <a:pt x="184" y="261"/>
                          <a:pt x="177" y="256"/>
                          <a:pt x="169" y="252"/>
                        </a:cubicBezTo>
                        <a:cubicBezTo>
                          <a:pt x="160" y="253"/>
                          <a:pt x="154" y="254"/>
                          <a:pt x="146" y="256"/>
                        </a:cubicBezTo>
                        <a:cubicBezTo>
                          <a:pt x="141" y="259"/>
                          <a:pt x="136" y="262"/>
                          <a:pt x="131" y="264"/>
                        </a:cubicBezTo>
                        <a:cubicBezTo>
                          <a:pt x="123" y="260"/>
                          <a:pt x="114" y="250"/>
                          <a:pt x="104" y="244"/>
                        </a:cubicBezTo>
                        <a:cubicBezTo>
                          <a:pt x="100" y="238"/>
                          <a:pt x="90" y="217"/>
                          <a:pt x="86" y="208"/>
                        </a:cubicBezTo>
                        <a:cubicBezTo>
                          <a:pt x="89" y="188"/>
                          <a:pt x="95" y="182"/>
                          <a:pt x="115" y="178"/>
                        </a:cubicBezTo>
                        <a:cubicBezTo>
                          <a:pt x="121" y="174"/>
                          <a:pt x="124" y="174"/>
                          <a:pt x="125" y="166"/>
                        </a:cubicBezTo>
                        <a:cubicBezTo>
                          <a:pt x="115" y="159"/>
                          <a:pt x="117" y="148"/>
                          <a:pt x="127" y="142"/>
                        </a:cubicBezTo>
                        <a:cubicBezTo>
                          <a:pt x="128" y="133"/>
                          <a:pt x="123" y="128"/>
                          <a:pt x="115" y="124"/>
                        </a:cubicBezTo>
                        <a:cubicBezTo>
                          <a:pt x="111" y="115"/>
                          <a:pt x="106" y="104"/>
                          <a:pt x="97" y="100"/>
                        </a:cubicBezTo>
                        <a:cubicBezTo>
                          <a:pt x="86" y="102"/>
                          <a:pt x="84" y="102"/>
                          <a:pt x="86" y="91"/>
                        </a:cubicBezTo>
                        <a:cubicBezTo>
                          <a:pt x="77" y="82"/>
                          <a:pt x="74" y="72"/>
                          <a:pt x="64" y="64"/>
                        </a:cubicBezTo>
                        <a:cubicBezTo>
                          <a:pt x="56" y="67"/>
                          <a:pt x="52" y="71"/>
                          <a:pt x="43" y="73"/>
                        </a:cubicBezTo>
                        <a:cubicBezTo>
                          <a:pt x="38" y="75"/>
                          <a:pt x="34" y="72"/>
                          <a:pt x="31" y="73"/>
                        </a:cubicBezTo>
                        <a:cubicBezTo>
                          <a:pt x="28" y="74"/>
                          <a:pt x="25" y="82"/>
                          <a:pt x="22" y="82"/>
                        </a:cubicBezTo>
                        <a:cubicBezTo>
                          <a:pt x="19" y="82"/>
                          <a:pt x="13" y="76"/>
                          <a:pt x="11" y="73"/>
                        </a:cubicBezTo>
                        <a:cubicBezTo>
                          <a:pt x="9" y="70"/>
                          <a:pt x="8" y="69"/>
                          <a:pt x="7" y="63"/>
                        </a:cubicBezTo>
                        <a:cubicBezTo>
                          <a:pt x="1" y="53"/>
                          <a:pt x="0" y="48"/>
                          <a:pt x="7" y="37"/>
                        </a:cubicBezTo>
                        <a:cubicBezTo>
                          <a:pt x="8" y="31"/>
                          <a:pt x="13" y="21"/>
                          <a:pt x="13" y="21"/>
                        </a:cubicBezTo>
                        <a:cubicBezTo>
                          <a:pt x="15" y="0"/>
                          <a:pt x="18" y="8"/>
                          <a:pt x="35" y="10"/>
                        </a:cubicBezTo>
                        <a:cubicBezTo>
                          <a:pt x="42" y="13"/>
                          <a:pt x="41" y="8"/>
                          <a:pt x="34" y="9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7" name="Freeform 8">
                    <a:extLst>
                      <a:ext uri="{FF2B5EF4-FFF2-40B4-BE49-F238E27FC236}">
                        <a16:creationId xmlns:a16="http://schemas.microsoft.com/office/drawing/2014/main" id="{0D0E4CE3-13C9-4136-8340-7C3FF8B9102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85523" y="3730936"/>
                    <a:ext cx="3243497" cy="2817851"/>
                  </a:xfrm>
                  <a:custGeom>
                    <a:avLst/>
                    <a:gdLst/>
                    <a:ahLst/>
                    <a:cxnLst>
                      <a:cxn ang="0">
                        <a:pos x="116" y="47"/>
                      </a:cxn>
                      <a:cxn ang="0">
                        <a:pos x="93" y="107"/>
                      </a:cxn>
                      <a:cxn ang="0">
                        <a:pos x="93" y="142"/>
                      </a:cxn>
                      <a:cxn ang="0">
                        <a:pos x="48" y="178"/>
                      </a:cxn>
                      <a:cxn ang="0">
                        <a:pos x="12" y="203"/>
                      </a:cxn>
                      <a:cxn ang="0">
                        <a:pos x="33" y="218"/>
                      </a:cxn>
                      <a:cxn ang="0">
                        <a:pos x="56" y="277"/>
                      </a:cxn>
                      <a:cxn ang="0">
                        <a:pos x="90" y="305"/>
                      </a:cxn>
                      <a:cxn ang="0">
                        <a:pos x="90" y="361"/>
                      </a:cxn>
                      <a:cxn ang="0">
                        <a:pos x="95" y="421"/>
                      </a:cxn>
                      <a:cxn ang="0">
                        <a:pos x="84" y="466"/>
                      </a:cxn>
                      <a:cxn ang="0">
                        <a:pos x="101" y="518"/>
                      </a:cxn>
                      <a:cxn ang="0">
                        <a:pos x="139" y="556"/>
                      </a:cxn>
                      <a:cxn ang="0">
                        <a:pos x="172" y="584"/>
                      </a:cxn>
                      <a:cxn ang="0">
                        <a:pos x="185" y="626"/>
                      </a:cxn>
                      <a:cxn ang="0">
                        <a:pos x="188" y="662"/>
                      </a:cxn>
                      <a:cxn ang="0">
                        <a:pos x="197" y="694"/>
                      </a:cxn>
                      <a:cxn ang="0">
                        <a:pos x="202" y="737"/>
                      </a:cxn>
                      <a:cxn ang="0">
                        <a:pos x="256" y="722"/>
                      </a:cxn>
                      <a:cxn ang="0">
                        <a:pos x="313" y="715"/>
                      </a:cxn>
                      <a:cxn ang="0">
                        <a:pos x="376" y="691"/>
                      </a:cxn>
                      <a:cxn ang="0">
                        <a:pos x="400" y="646"/>
                      </a:cxn>
                      <a:cxn ang="0">
                        <a:pos x="433" y="610"/>
                      </a:cxn>
                      <a:cxn ang="0">
                        <a:pos x="473" y="563"/>
                      </a:cxn>
                      <a:cxn ang="0">
                        <a:pos x="523" y="532"/>
                      </a:cxn>
                      <a:cxn ang="0">
                        <a:pos x="565" y="509"/>
                      </a:cxn>
                      <a:cxn ang="0">
                        <a:pos x="604" y="457"/>
                      </a:cxn>
                      <a:cxn ang="0">
                        <a:pos x="686" y="473"/>
                      </a:cxn>
                      <a:cxn ang="0">
                        <a:pos x="709" y="505"/>
                      </a:cxn>
                      <a:cxn ang="0">
                        <a:pos x="734" y="520"/>
                      </a:cxn>
                      <a:cxn ang="0">
                        <a:pos x="775" y="497"/>
                      </a:cxn>
                      <a:cxn ang="0">
                        <a:pos x="808" y="470"/>
                      </a:cxn>
                      <a:cxn ang="0">
                        <a:pos x="838" y="439"/>
                      </a:cxn>
                      <a:cxn ang="0">
                        <a:pos x="797" y="383"/>
                      </a:cxn>
                      <a:cxn ang="0">
                        <a:pos x="763" y="340"/>
                      </a:cxn>
                      <a:cxn ang="0">
                        <a:pos x="701" y="317"/>
                      </a:cxn>
                      <a:cxn ang="0">
                        <a:pos x="700" y="238"/>
                      </a:cxn>
                      <a:cxn ang="0">
                        <a:pos x="721" y="172"/>
                      </a:cxn>
                      <a:cxn ang="0">
                        <a:pos x="710" y="118"/>
                      </a:cxn>
                      <a:cxn ang="0">
                        <a:pos x="680" y="61"/>
                      </a:cxn>
                      <a:cxn ang="0">
                        <a:pos x="638" y="61"/>
                      </a:cxn>
                      <a:cxn ang="0">
                        <a:pos x="595" y="92"/>
                      </a:cxn>
                      <a:cxn ang="0">
                        <a:pos x="539" y="67"/>
                      </a:cxn>
                      <a:cxn ang="0">
                        <a:pos x="486" y="88"/>
                      </a:cxn>
                      <a:cxn ang="0">
                        <a:pos x="448" y="52"/>
                      </a:cxn>
                      <a:cxn ang="0">
                        <a:pos x="423" y="28"/>
                      </a:cxn>
                      <a:cxn ang="0">
                        <a:pos x="390" y="35"/>
                      </a:cxn>
                      <a:cxn ang="0">
                        <a:pos x="333" y="17"/>
                      </a:cxn>
                      <a:cxn ang="0">
                        <a:pos x="281" y="19"/>
                      </a:cxn>
                      <a:cxn ang="0">
                        <a:pos x="215" y="31"/>
                      </a:cxn>
                      <a:cxn ang="0">
                        <a:pos x="179" y="35"/>
                      </a:cxn>
                      <a:cxn ang="0">
                        <a:pos x="137" y="1"/>
                      </a:cxn>
                    </a:cxnLst>
                    <a:rect l="0" t="0" r="r" b="b"/>
                    <a:pathLst>
                      <a:path w="839" h="738">
                        <a:moveTo>
                          <a:pt x="131" y="20"/>
                        </a:moveTo>
                        <a:cubicBezTo>
                          <a:pt x="131" y="29"/>
                          <a:pt x="120" y="24"/>
                          <a:pt x="119" y="28"/>
                        </a:cubicBezTo>
                        <a:cubicBezTo>
                          <a:pt x="118" y="31"/>
                          <a:pt x="122" y="38"/>
                          <a:pt x="122" y="41"/>
                        </a:cubicBezTo>
                        <a:cubicBezTo>
                          <a:pt x="122" y="44"/>
                          <a:pt x="118" y="43"/>
                          <a:pt x="116" y="47"/>
                        </a:cubicBezTo>
                        <a:cubicBezTo>
                          <a:pt x="114" y="51"/>
                          <a:pt x="110" y="59"/>
                          <a:pt x="108" y="64"/>
                        </a:cubicBezTo>
                        <a:cubicBezTo>
                          <a:pt x="106" y="69"/>
                          <a:pt x="105" y="74"/>
                          <a:pt x="102" y="79"/>
                        </a:cubicBezTo>
                        <a:cubicBezTo>
                          <a:pt x="99" y="84"/>
                          <a:pt x="91" y="89"/>
                          <a:pt x="90" y="94"/>
                        </a:cubicBezTo>
                        <a:cubicBezTo>
                          <a:pt x="89" y="99"/>
                          <a:pt x="93" y="103"/>
                          <a:pt x="93" y="107"/>
                        </a:cubicBezTo>
                        <a:cubicBezTo>
                          <a:pt x="93" y="111"/>
                          <a:pt x="89" y="113"/>
                          <a:pt x="89" y="116"/>
                        </a:cubicBezTo>
                        <a:cubicBezTo>
                          <a:pt x="89" y="119"/>
                          <a:pt x="91" y="121"/>
                          <a:pt x="93" y="124"/>
                        </a:cubicBezTo>
                        <a:cubicBezTo>
                          <a:pt x="95" y="127"/>
                          <a:pt x="99" y="130"/>
                          <a:pt x="99" y="133"/>
                        </a:cubicBezTo>
                        <a:cubicBezTo>
                          <a:pt x="98" y="140"/>
                          <a:pt x="96" y="136"/>
                          <a:pt x="93" y="142"/>
                        </a:cubicBezTo>
                        <a:cubicBezTo>
                          <a:pt x="92" y="149"/>
                          <a:pt x="87" y="152"/>
                          <a:pt x="84" y="157"/>
                        </a:cubicBezTo>
                        <a:cubicBezTo>
                          <a:pt x="81" y="162"/>
                          <a:pt x="80" y="166"/>
                          <a:pt x="77" y="169"/>
                        </a:cubicBezTo>
                        <a:cubicBezTo>
                          <a:pt x="74" y="172"/>
                          <a:pt x="70" y="174"/>
                          <a:pt x="65" y="175"/>
                        </a:cubicBezTo>
                        <a:cubicBezTo>
                          <a:pt x="64" y="180"/>
                          <a:pt x="45" y="165"/>
                          <a:pt x="48" y="178"/>
                        </a:cubicBezTo>
                        <a:cubicBezTo>
                          <a:pt x="43" y="178"/>
                          <a:pt x="40" y="175"/>
                          <a:pt x="36" y="176"/>
                        </a:cubicBezTo>
                        <a:cubicBezTo>
                          <a:pt x="32" y="177"/>
                          <a:pt x="25" y="179"/>
                          <a:pt x="23" y="182"/>
                        </a:cubicBezTo>
                        <a:cubicBezTo>
                          <a:pt x="21" y="185"/>
                          <a:pt x="25" y="191"/>
                          <a:pt x="23" y="194"/>
                        </a:cubicBezTo>
                        <a:cubicBezTo>
                          <a:pt x="21" y="197"/>
                          <a:pt x="16" y="200"/>
                          <a:pt x="12" y="203"/>
                        </a:cubicBezTo>
                        <a:cubicBezTo>
                          <a:pt x="8" y="206"/>
                          <a:pt x="0" y="209"/>
                          <a:pt x="0" y="211"/>
                        </a:cubicBezTo>
                        <a:cubicBezTo>
                          <a:pt x="0" y="213"/>
                          <a:pt x="5" y="217"/>
                          <a:pt x="9" y="218"/>
                        </a:cubicBezTo>
                        <a:cubicBezTo>
                          <a:pt x="13" y="219"/>
                          <a:pt x="19" y="218"/>
                          <a:pt x="23" y="218"/>
                        </a:cubicBezTo>
                        <a:cubicBezTo>
                          <a:pt x="27" y="218"/>
                          <a:pt x="31" y="216"/>
                          <a:pt x="33" y="218"/>
                        </a:cubicBezTo>
                        <a:cubicBezTo>
                          <a:pt x="35" y="220"/>
                          <a:pt x="37" y="228"/>
                          <a:pt x="38" y="232"/>
                        </a:cubicBezTo>
                        <a:cubicBezTo>
                          <a:pt x="39" y="236"/>
                          <a:pt x="39" y="240"/>
                          <a:pt x="41" y="245"/>
                        </a:cubicBezTo>
                        <a:cubicBezTo>
                          <a:pt x="43" y="250"/>
                          <a:pt x="46" y="255"/>
                          <a:pt x="48" y="260"/>
                        </a:cubicBezTo>
                        <a:cubicBezTo>
                          <a:pt x="50" y="265"/>
                          <a:pt x="52" y="274"/>
                          <a:pt x="56" y="277"/>
                        </a:cubicBezTo>
                        <a:cubicBezTo>
                          <a:pt x="60" y="280"/>
                          <a:pt x="66" y="280"/>
                          <a:pt x="71" y="280"/>
                        </a:cubicBezTo>
                        <a:cubicBezTo>
                          <a:pt x="73" y="290"/>
                          <a:pt x="76" y="274"/>
                          <a:pt x="84" y="280"/>
                        </a:cubicBezTo>
                        <a:cubicBezTo>
                          <a:pt x="87" y="286"/>
                          <a:pt x="84" y="287"/>
                          <a:pt x="89" y="292"/>
                        </a:cubicBezTo>
                        <a:cubicBezTo>
                          <a:pt x="92" y="295"/>
                          <a:pt x="86" y="303"/>
                          <a:pt x="90" y="305"/>
                        </a:cubicBezTo>
                        <a:cubicBezTo>
                          <a:pt x="91" y="309"/>
                          <a:pt x="93" y="314"/>
                          <a:pt x="93" y="319"/>
                        </a:cubicBezTo>
                        <a:cubicBezTo>
                          <a:pt x="93" y="324"/>
                          <a:pt x="89" y="329"/>
                          <a:pt x="89" y="334"/>
                        </a:cubicBezTo>
                        <a:cubicBezTo>
                          <a:pt x="89" y="339"/>
                          <a:pt x="90" y="348"/>
                          <a:pt x="90" y="352"/>
                        </a:cubicBezTo>
                        <a:cubicBezTo>
                          <a:pt x="90" y="356"/>
                          <a:pt x="90" y="357"/>
                          <a:pt x="90" y="361"/>
                        </a:cubicBezTo>
                        <a:cubicBezTo>
                          <a:pt x="90" y="365"/>
                          <a:pt x="89" y="371"/>
                          <a:pt x="90" y="376"/>
                        </a:cubicBezTo>
                        <a:cubicBezTo>
                          <a:pt x="91" y="381"/>
                          <a:pt x="97" y="384"/>
                          <a:pt x="98" y="389"/>
                        </a:cubicBezTo>
                        <a:cubicBezTo>
                          <a:pt x="99" y="394"/>
                          <a:pt x="97" y="399"/>
                          <a:pt x="96" y="404"/>
                        </a:cubicBezTo>
                        <a:cubicBezTo>
                          <a:pt x="97" y="405"/>
                          <a:pt x="94" y="420"/>
                          <a:pt x="95" y="421"/>
                        </a:cubicBezTo>
                        <a:cubicBezTo>
                          <a:pt x="98" y="424"/>
                          <a:pt x="89" y="412"/>
                          <a:pt x="86" y="427"/>
                        </a:cubicBezTo>
                        <a:cubicBezTo>
                          <a:pt x="79" y="433"/>
                          <a:pt x="94" y="408"/>
                          <a:pt x="89" y="439"/>
                        </a:cubicBezTo>
                        <a:cubicBezTo>
                          <a:pt x="92" y="445"/>
                          <a:pt x="79" y="449"/>
                          <a:pt x="84" y="455"/>
                        </a:cubicBezTo>
                        <a:cubicBezTo>
                          <a:pt x="83" y="459"/>
                          <a:pt x="84" y="461"/>
                          <a:pt x="84" y="466"/>
                        </a:cubicBezTo>
                        <a:cubicBezTo>
                          <a:pt x="86" y="472"/>
                          <a:pt x="67" y="469"/>
                          <a:pt x="81" y="484"/>
                        </a:cubicBezTo>
                        <a:cubicBezTo>
                          <a:pt x="83" y="488"/>
                          <a:pt x="92" y="488"/>
                          <a:pt x="95" y="491"/>
                        </a:cubicBezTo>
                        <a:cubicBezTo>
                          <a:pt x="98" y="494"/>
                          <a:pt x="99" y="501"/>
                          <a:pt x="100" y="505"/>
                        </a:cubicBezTo>
                        <a:cubicBezTo>
                          <a:pt x="101" y="509"/>
                          <a:pt x="100" y="514"/>
                          <a:pt x="101" y="518"/>
                        </a:cubicBezTo>
                        <a:cubicBezTo>
                          <a:pt x="102" y="522"/>
                          <a:pt x="104" y="526"/>
                          <a:pt x="106" y="529"/>
                        </a:cubicBezTo>
                        <a:cubicBezTo>
                          <a:pt x="108" y="532"/>
                          <a:pt x="110" y="535"/>
                          <a:pt x="113" y="538"/>
                        </a:cubicBezTo>
                        <a:cubicBezTo>
                          <a:pt x="116" y="541"/>
                          <a:pt x="118" y="544"/>
                          <a:pt x="122" y="547"/>
                        </a:cubicBezTo>
                        <a:cubicBezTo>
                          <a:pt x="126" y="550"/>
                          <a:pt x="134" y="554"/>
                          <a:pt x="139" y="556"/>
                        </a:cubicBezTo>
                        <a:cubicBezTo>
                          <a:pt x="144" y="558"/>
                          <a:pt x="147" y="557"/>
                          <a:pt x="151" y="559"/>
                        </a:cubicBezTo>
                        <a:cubicBezTo>
                          <a:pt x="155" y="561"/>
                          <a:pt x="160" y="564"/>
                          <a:pt x="163" y="566"/>
                        </a:cubicBezTo>
                        <a:cubicBezTo>
                          <a:pt x="167" y="567"/>
                          <a:pt x="168" y="567"/>
                          <a:pt x="170" y="569"/>
                        </a:cubicBezTo>
                        <a:cubicBezTo>
                          <a:pt x="171" y="572"/>
                          <a:pt x="171" y="580"/>
                          <a:pt x="172" y="584"/>
                        </a:cubicBezTo>
                        <a:cubicBezTo>
                          <a:pt x="177" y="587"/>
                          <a:pt x="168" y="592"/>
                          <a:pt x="173" y="595"/>
                        </a:cubicBezTo>
                        <a:cubicBezTo>
                          <a:pt x="176" y="598"/>
                          <a:pt x="175" y="604"/>
                          <a:pt x="175" y="608"/>
                        </a:cubicBezTo>
                        <a:cubicBezTo>
                          <a:pt x="175" y="612"/>
                          <a:pt x="173" y="617"/>
                          <a:pt x="175" y="620"/>
                        </a:cubicBezTo>
                        <a:cubicBezTo>
                          <a:pt x="178" y="623"/>
                          <a:pt x="183" y="624"/>
                          <a:pt x="185" y="626"/>
                        </a:cubicBezTo>
                        <a:cubicBezTo>
                          <a:pt x="186" y="628"/>
                          <a:pt x="184" y="632"/>
                          <a:pt x="184" y="635"/>
                        </a:cubicBezTo>
                        <a:cubicBezTo>
                          <a:pt x="184" y="638"/>
                          <a:pt x="185" y="639"/>
                          <a:pt x="185" y="643"/>
                        </a:cubicBezTo>
                        <a:cubicBezTo>
                          <a:pt x="185" y="647"/>
                          <a:pt x="181" y="656"/>
                          <a:pt x="181" y="659"/>
                        </a:cubicBezTo>
                        <a:cubicBezTo>
                          <a:pt x="181" y="662"/>
                          <a:pt x="186" y="660"/>
                          <a:pt x="188" y="662"/>
                        </a:cubicBezTo>
                        <a:cubicBezTo>
                          <a:pt x="190" y="664"/>
                          <a:pt x="191" y="668"/>
                          <a:pt x="191" y="671"/>
                        </a:cubicBezTo>
                        <a:cubicBezTo>
                          <a:pt x="191" y="674"/>
                          <a:pt x="191" y="676"/>
                          <a:pt x="191" y="679"/>
                        </a:cubicBezTo>
                        <a:cubicBezTo>
                          <a:pt x="191" y="682"/>
                          <a:pt x="189" y="690"/>
                          <a:pt x="190" y="692"/>
                        </a:cubicBezTo>
                        <a:cubicBezTo>
                          <a:pt x="191" y="694"/>
                          <a:pt x="194" y="693"/>
                          <a:pt x="197" y="694"/>
                        </a:cubicBezTo>
                        <a:cubicBezTo>
                          <a:pt x="200" y="695"/>
                          <a:pt x="205" y="695"/>
                          <a:pt x="206" y="698"/>
                        </a:cubicBezTo>
                        <a:cubicBezTo>
                          <a:pt x="207" y="701"/>
                          <a:pt x="201" y="706"/>
                          <a:pt x="200" y="710"/>
                        </a:cubicBezTo>
                        <a:cubicBezTo>
                          <a:pt x="199" y="714"/>
                          <a:pt x="199" y="718"/>
                          <a:pt x="199" y="722"/>
                        </a:cubicBezTo>
                        <a:cubicBezTo>
                          <a:pt x="199" y="726"/>
                          <a:pt x="199" y="736"/>
                          <a:pt x="202" y="737"/>
                        </a:cubicBezTo>
                        <a:cubicBezTo>
                          <a:pt x="205" y="738"/>
                          <a:pt x="212" y="729"/>
                          <a:pt x="217" y="727"/>
                        </a:cubicBezTo>
                        <a:cubicBezTo>
                          <a:pt x="222" y="725"/>
                          <a:pt x="226" y="726"/>
                          <a:pt x="230" y="725"/>
                        </a:cubicBezTo>
                        <a:cubicBezTo>
                          <a:pt x="234" y="724"/>
                          <a:pt x="238" y="718"/>
                          <a:pt x="242" y="718"/>
                        </a:cubicBezTo>
                        <a:cubicBezTo>
                          <a:pt x="244" y="729"/>
                          <a:pt x="246" y="721"/>
                          <a:pt x="256" y="722"/>
                        </a:cubicBezTo>
                        <a:cubicBezTo>
                          <a:pt x="266" y="726"/>
                          <a:pt x="257" y="720"/>
                          <a:pt x="274" y="713"/>
                        </a:cubicBezTo>
                        <a:cubicBezTo>
                          <a:pt x="278" y="711"/>
                          <a:pt x="287" y="718"/>
                          <a:pt x="287" y="718"/>
                        </a:cubicBezTo>
                        <a:cubicBezTo>
                          <a:pt x="292" y="715"/>
                          <a:pt x="279" y="726"/>
                          <a:pt x="298" y="712"/>
                        </a:cubicBezTo>
                        <a:cubicBezTo>
                          <a:pt x="302" y="712"/>
                          <a:pt x="309" y="716"/>
                          <a:pt x="313" y="715"/>
                        </a:cubicBezTo>
                        <a:cubicBezTo>
                          <a:pt x="317" y="714"/>
                          <a:pt x="318" y="706"/>
                          <a:pt x="323" y="703"/>
                        </a:cubicBezTo>
                        <a:cubicBezTo>
                          <a:pt x="328" y="700"/>
                          <a:pt x="338" y="698"/>
                          <a:pt x="344" y="698"/>
                        </a:cubicBezTo>
                        <a:cubicBezTo>
                          <a:pt x="350" y="698"/>
                          <a:pt x="356" y="701"/>
                          <a:pt x="361" y="700"/>
                        </a:cubicBezTo>
                        <a:cubicBezTo>
                          <a:pt x="366" y="699"/>
                          <a:pt x="375" y="694"/>
                          <a:pt x="376" y="691"/>
                        </a:cubicBezTo>
                        <a:cubicBezTo>
                          <a:pt x="377" y="688"/>
                          <a:pt x="366" y="684"/>
                          <a:pt x="367" y="680"/>
                        </a:cubicBezTo>
                        <a:cubicBezTo>
                          <a:pt x="368" y="676"/>
                          <a:pt x="376" y="671"/>
                          <a:pt x="380" y="667"/>
                        </a:cubicBezTo>
                        <a:cubicBezTo>
                          <a:pt x="384" y="663"/>
                          <a:pt x="391" y="661"/>
                          <a:pt x="394" y="658"/>
                        </a:cubicBezTo>
                        <a:cubicBezTo>
                          <a:pt x="397" y="655"/>
                          <a:pt x="398" y="649"/>
                          <a:pt x="400" y="646"/>
                        </a:cubicBezTo>
                        <a:cubicBezTo>
                          <a:pt x="402" y="643"/>
                          <a:pt x="402" y="640"/>
                          <a:pt x="404" y="638"/>
                        </a:cubicBezTo>
                        <a:cubicBezTo>
                          <a:pt x="406" y="636"/>
                          <a:pt x="409" y="637"/>
                          <a:pt x="413" y="635"/>
                        </a:cubicBezTo>
                        <a:cubicBezTo>
                          <a:pt x="417" y="633"/>
                          <a:pt x="425" y="630"/>
                          <a:pt x="428" y="626"/>
                        </a:cubicBezTo>
                        <a:cubicBezTo>
                          <a:pt x="431" y="622"/>
                          <a:pt x="430" y="616"/>
                          <a:pt x="433" y="610"/>
                        </a:cubicBezTo>
                        <a:cubicBezTo>
                          <a:pt x="439" y="604"/>
                          <a:pt x="446" y="602"/>
                          <a:pt x="446" y="590"/>
                        </a:cubicBezTo>
                        <a:cubicBezTo>
                          <a:pt x="447" y="580"/>
                          <a:pt x="448" y="590"/>
                          <a:pt x="452" y="577"/>
                        </a:cubicBezTo>
                        <a:cubicBezTo>
                          <a:pt x="455" y="574"/>
                          <a:pt x="460" y="576"/>
                          <a:pt x="464" y="574"/>
                        </a:cubicBezTo>
                        <a:cubicBezTo>
                          <a:pt x="468" y="572"/>
                          <a:pt x="469" y="566"/>
                          <a:pt x="473" y="563"/>
                        </a:cubicBezTo>
                        <a:cubicBezTo>
                          <a:pt x="477" y="560"/>
                          <a:pt x="485" y="556"/>
                          <a:pt x="490" y="554"/>
                        </a:cubicBezTo>
                        <a:cubicBezTo>
                          <a:pt x="495" y="552"/>
                          <a:pt x="501" y="553"/>
                          <a:pt x="505" y="551"/>
                        </a:cubicBezTo>
                        <a:cubicBezTo>
                          <a:pt x="509" y="549"/>
                          <a:pt x="511" y="544"/>
                          <a:pt x="514" y="541"/>
                        </a:cubicBezTo>
                        <a:cubicBezTo>
                          <a:pt x="517" y="538"/>
                          <a:pt x="521" y="535"/>
                          <a:pt x="523" y="532"/>
                        </a:cubicBezTo>
                        <a:cubicBezTo>
                          <a:pt x="525" y="529"/>
                          <a:pt x="523" y="527"/>
                          <a:pt x="526" y="526"/>
                        </a:cubicBezTo>
                        <a:cubicBezTo>
                          <a:pt x="529" y="525"/>
                          <a:pt x="537" y="525"/>
                          <a:pt x="541" y="524"/>
                        </a:cubicBezTo>
                        <a:cubicBezTo>
                          <a:pt x="543" y="511"/>
                          <a:pt x="539" y="526"/>
                          <a:pt x="553" y="518"/>
                        </a:cubicBezTo>
                        <a:cubicBezTo>
                          <a:pt x="557" y="512"/>
                          <a:pt x="558" y="510"/>
                          <a:pt x="565" y="509"/>
                        </a:cubicBezTo>
                        <a:cubicBezTo>
                          <a:pt x="571" y="504"/>
                          <a:pt x="571" y="499"/>
                          <a:pt x="578" y="496"/>
                        </a:cubicBezTo>
                        <a:cubicBezTo>
                          <a:pt x="585" y="489"/>
                          <a:pt x="574" y="488"/>
                          <a:pt x="583" y="484"/>
                        </a:cubicBezTo>
                        <a:cubicBezTo>
                          <a:pt x="584" y="477"/>
                          <a:pt x="589" y="476"/>
                          <a:pt x="596" y="475"/>
                        </a:cubicBezTo>
                        <a:cubicBezTo>
                          <a:pt x="601" y="468"/>
                          <a:pt x="601" y="462"/>
                          <a:pt x="604" y="457"/>
                        </a:cubicBezTo>
                        <a:cubicBezTo>
                          <a:pt x="607" y="452"/>
                          <a:pt x="611" y="447"/>
                          <a:pt x="616" y="443"/>
                        </a:cubicBezTo>
                        <a:cubicBezTo>
                          <a:pt x="621" y="439"/>
                          <a:pt x="627" y="433"/>
                          <a:pt x="632" y="431"/>
                        </a:cubicBezTo>
                        <a:cubicBezTo>
                          <a:pt x="637" y="429"/>
                          <a:pt x="637" y="424"/>
                          <a:pt x="646" y="431"/>
                        </a:cubicBezTo>
                        <a:cubicBezTo>
                          <a:pt x="662" y="434"/>
                          <a:pt x="675" y="476"/>
                          <a:pt x="686" y="473"/>
                        </a:cubicBezTo>
                        <a:cubicBezTo>
                          <a:pt x="694" y="480"/>
                          <a:pt x="695" y="473"/>
                          <a:pt x="697" y="476"/>
                        </a:cubicBezTo>
                        <a:cubicBezTo>
                          <a:pt x="698" y="479"/>
                          <a:pt x="691" y="487"/>
                          <a:pt x="692" y="491"/>
                        </a:cubicBezTo>
                        <a:cubicBezTo>
                          <a:pt x="695" y="489"/>
                          <a:pt x="698" y="500"/>
                          <a:pt x="701" y="502"/>
                        </a:cubicBezTo>
                        <a:cubicBezTo>
                          <a:pt x="704" y="504"/>
                          <a:pt x="707" y="502"/>
                          <a:pt x="709" y="505"/>
                        </a:cubicBezTo>
                        <a:cubicBezTo>
                          <a:pt x="711" y="508"/>
                          <a:pt x="713" y="517"/>
                          <a:pt x="715" y="517"/>
                        </a:cubicBezTo>
                        <a:cubicBezTo>
                          <a:pt x="717" y="517"/>
                          <a:pt x="722" y="509"/>
                          <a:pt x="724" y="508"/>
                        </a:cubicBezTo>
                        <a:cubicBezTo>
                          <a:pt x="726" y="507"/>
                          <a:pt x="726" y="509"/>
                          <a:pt x="728" y="511"/>
                        </a:cubicBezTo>
                        <a:cubicBezTo>
                          <a:pt x="730" y="513"/>
                          <a:pt x="733" y="516"/>
                          <a:pt x="734" y="520"/>
                        </a:cubicBezTo>
                        <a:cubicBezTo>
                          <a:pt x="735" y="524"/>
                          <a:pt x="732" y="535"/>
                          <a:pt x="734" y="536"/>
                        </a:cubicBezTo>
                        <a:cubicBezTo>
                          <a:pt x="736" y="537"/>
                          <a:pt x="741" y="529"/>
                          <a:pt x="746" y="526"/>
                        </a:cubicBezTo>
                        <a:cubicBezTo>
                          <a:pt x="751" y="523"/>
                          <a:pt x="758" y="520"/>
                          <a:pt x="763" y="515"/>
                        </a:cubicBezTo>
                        <a:cubicBezTo>
                          <a:pt x="768" y="510"/>
                          <a:pt x="771" y="501"/>
                          <a:pt x="775" y="497"/>
                        </a:cubicBezTo>
                        <a:cubicBezTo>
                          <a:pt x="779" y="493"/>
                          <a:pt x="784" y="489"/>
                          <a:pt x="788" y="488"/>
                        </a:cubicBezTo>
                        <a:cubicBezTo>
                          <a:pt x="792" y="487"/>
                          <a:pt x="798" y="493"/>
                          <a:pt x="800" y="491"/>
                        </a:cubicBezTo>
                        <a:cubicBezTo>
                          <a:pt x="802" y="489"/>
                          <a:pt x="798" y="481"/>
                          <a:pt x="799" y="478"/>
                        </a:cubicBezTo>
                        <a:cubicBezTo>
                          <a:pt x="800" y="475"/>
                          <a:pt x="806" y="473"/>
                          <a:pt x="808" y="470"/>
                        </a:cubicBezTo>
                        <a:cubicBezTo>
                          <a:pt x="810" y="467"/>
                          <a:pt x="810" y="464"/>
                          <a:pt x="811" y="460"/>
                        </a:cubicBezTo>
                        <a:cubicBezTo>
                          <a:pt x="812" y="456"/>
                          <a:pt x="812" y="451"/>
                          <a:pt x="815" y="448"/>
                        </a:cubicBezTo>
                        <a:cubicBezTo>
                          <a:pt x="814" y="440"/>
                          <a:pt x="834" y="448"/>
                          <a:pt x="827" y="443"/>
                        </a:cubicBezTo>
                        <a:cubicBezTo>
                          <a:pt x="831" y="442"/>
                          <a:pt x="837" y="443"/>
                          <a:pt x="838" y="439"/>
                        </a:cubicBezTo>
                        <a:cubicBezTo>
                          <a:pt x="839" y="435"/>
                          <a:pt x="835" y="424"/>
                          <a:pt x="833" y="419"/>
                        </a:cubicBezTo>
                        <a:cubicBezTo>
                          <a:pt x="831" y="414"/>
                          <a:pt x="829" y="411"/>
                          <a:pt x="826" y="407"/>
                        </a:cubicBezTo>
                        <a:cubicBezTo>
                          <a:pt x="823" y="403"/>
                          <a:pt x="817" y="398"/>
                          <a:pt x="812" y="394"/>
                        </a:cubicBezTo>
                        <a:cubicBezTo>
                          <a:pt x="807" y="390"/>
                          <a:pt x="801" y="387"/>
                          <a:pt x="797" y="383"/>
                        </a:cubicBezTo>
                        <a:cubicBezTo>
                          <a:pt x="793" y="379"/>
                          <a:pt x="790" y="375"/>
                          <a:pt x="787" y="371"/>
                        </a:cubicBezTo>
                        <a:cubicBezTo>
                          <a:pt x="784" y="367"/>
                          <a:pt x="781" y="363"/>
                          <a:pt x="778" y="361"/>
                        </a:cubicBezTo>
                        <a:cubicBezTo>
                          <a:pt x="775" y="359"/>
                          <a:pt x="769" y="359"/>
                          <a:pt x="767" y="356"/>
                        </a:cubicBezTo>
                        <a:cubicBezTo>
                          <a:pt x="765" y="353"/>
                          <a:pt x="767" y="343"/>
                          <a:pt x="763" y="340"/>
                        </a:cubicBezTo>
                        <a:cubicBezTo>
                          <a:pt x="759" y="337"/>
                          <a:pt x="751" y="340"/>
                          <a:pt x="746" y="337"/>
                        </a:cubicBezTo>
                        <a:cubicBezTo>
                          <a:pt x="741" y="334"/>
                          <a:pt x="739" y="325"/>
                          <a:pt x="734" y="320"/>
                        </a:cubicBezTo>
                        <a:cubicBezTo>
                          <a:pt x="729" y="315"/>
                          <a:pt x="724" y="308"/>
                          <a:pt x="719" y="308"/>
                        </a:cubicBezTo>
                        <a:cubicBezTo>
                          <a:pt x="714" y="308"/>
                          <a:pt x="704" y="318"/>
                          <a:pt x="701" y="317"/>
                        </a:cubicBezTo>
                        <a:cubicBezTo>
                          <a:pt x="698" y="316"/>
                          <a:pt x="701" y="306"/>
                          <a:pt x="700" y="302"/>
                        </a:cubicBezTo>
                        <a:cubicBezTo>
                          <a:pt x="699" y="298"/>
                          <a:pt x="694" y="298"/>
                          <a:pt x="694" y="293"/>
                        </a:cubicBezTo>
                        <a:cubicBezTo>
                          <a:pt x="685" y="285"/>
                          <a:pt x="707" y="275"/>
                          <a:pt x="697" y="269"/>
                        </a:cubicBezTo>
                        <a:cubicBezTo>
                          <a:pt x="688" y="254"/>
                          <a:pt x="704" y="255"/>
                          <a:pt x="700" y="238"/>
                        </a:cubicBezTo>
                        <a:cubicBezTo>
                          <a:pt x="701" y="219"/>
                          <a:pt x="695" y="233"/>
                          <a:pt x="703" y="217"/>
                        </a:cubicBezTo>
                        <a:cubicBezTo>
                          <a:pt x="705" y="208"/>
                          <a:pt x="702" y="210"/>
                          <a:pt x="707" y="202"/>
                        </a:cubicBezTo>
                        <a:cubicBezTo>
                          <a:pt x="708" y="191"/>
                          <a:pt x="710" y="194"/>
                          <a:pt x="715" y="185"/>
                        </a:cubicBezTo>
                        <a:cubicBezTo>
                          <a:pt x="720" y="176"/>
                          <a:pt x="719" y="177"/>
                          <a:pt x="721" y="172"/>
                        </a:cubicBezTo>
                        <a:cubicBezTo>
                          <a:pt x="723" y="167"/>
                          <a:pt x="725" y="160"/>
                          <a:pt x="725" y="155"/>
                        </a:cubicBezTo>
                        <a:cubicBezTo>
                          <a:pt x="728" y="145"/>
                          <a:pt x="716" y="152"/>
                          <a:pt x="722" y="143"/>
                        </a:cubicBezTo>
                        <a:cubicBezTo>
                          <a:pt x="718" y="127"/>
                          <a:pt x="732" y="135"/>
                          <a:pt x="718" y="127"/>
                        </a:cubicBezTo>
                        <a:cubicBezTo>
                          <a:pt x="717" y="121"/>
                          <a:pt x="712" y="121"/>
                          <a:pt x="710" y="118"/>
                        </a:cubicBezTo>
                        <a:cubicBezTo>
                          <a:pt x="709" y="114"/>
                          <a:pt x="713" y="107"/>
                          <a:pt x="712" y="103"/>
                        </a:cubicBezTo>
                        <a:cubicBezTo>
                          <a:pt x="711" y="99"/>
                          <a:pt x="706" y="98"/>
                          <a:pt x="704" y="92"/>
                        </a:cubicBezTo>
                        <a:cubicBezTo>
                          <a:pt x="702" y="86"/>
                          <a:pt x="701" y="73"/>
                          <a:pt x="697" y="68"/>
                        </a:cubicBezTo>
                        <a:cubicBezTo>
                          <a:pt x="693" y="63"/>
                          <a:pt x="685" y="65"/>
                          <a:pt x="680" y="61"/>
                        </a:cubicBezTo>
                        <a:cubicBezTo>
                          <a:pt x="675" y="57"/>
                          <a:pt x="673" y="48"/>
                          <a:pt x="668" y="46"/>
                        </a:cubicBezTo>
                        <a:cubicBezTo>
                          <a:pt x="663" y="44"/>
                          <a:pt x="655" y="44"/>
                          <a:pt x="652" y="46"/>
                        </a:cubicBezTo>
                        <a:cubicBezTo>
                          <a:pt x="649" y="48"/>
                          <a:pt x="652" y="58"/>
                          <a:pt x="650" y="61"/>
                        </a:cubicBezTo>
                        <a:cubicBezTo>
                          <a:pt x="648" y="64"/>
                          <a:pt x="641" y="59"/>
                          <a:pt x="638" y="61"/>
                        </a:cubicBezTo>
                        <a:cubicBezTo>
                          <a:pt x="635" y="63"/>
                          <a:pt x="635" y="71"/>
                          <a:pt x="632" y="73"/>
                        </a:cubicBezTo>
                        <a:cubicBezTo>
                          <a:pt x="629" y="75"/>
                          <a:pt x="623" y="74"/>
                          <a:pt x="619" y="76"/>
                        </a:cubicBezTo>
                        <a:cubicBezTo>
                          <a:pt x="616" y="80"/>
                          <a:pt x="613" y="84"/>
                          <a:pt x="608" y="85"/>
                        </a:cubicBezTo>
                        <a:cubicBezTo>
                          <a:pt x="600" y="84"/>
                          <a:pt x="601" y="92"/>
                          <a:pt x="595" y="92"/>
                        </a:cubicBezTo>
                        <a:cubicBezTo>
                          <a:pt x="589" y="92"/>
                          <a:pt x="579" y="90"/>
                          <a:pt x="574" y="88"/>
                        </a:cubicBezTo>
                        <a:cubicBezTo>
                          <a:pt x="569" y="86"/>
                          <a:pt x="570" y="81"/>
                          <a:pt x="566" y="79"/>
                        </a:cubicBezTo>
                        <a:cubicBezTo>
                          <a:pt x="562" y="77"/>
                          <a:pt x="552" y="78"/>
                          <a:pt x="548" y="76"/>
                        </a:cubicBezTo>
                        <a:cubicBezTo>
                          <a:pt x="544" y="74"/>
                          <a:pt x="543" y="68"/>
                          <a:pt x="539" y="67"/>
                        </a:cubicBezTo>
                        <a:cubicBezTo>
                          <a:pt x="535" y="66"/>
                          <a:pt x="528" y="68"/>
                          <a:pt x="524" y="70"/>
                        </a:cubicBezTo>
                        <a:cubicBezTo>
                          <a:pt x="513" y="71"/>
                          <a:pt x="528" y="78"/>
                          <a:pt x="515" y="80"/>
                        </a:cubicBezTo>
                        <a:cubicBezTo>
                          <a:pt x="488" y="93"/>
                          <a:pt x="531" y="94"/>
                          <a:pt x="503" y="88"/>
                        </a:cubicBezTo>
                        <a:cubicBezTo>
                          <a:pt x="490" y="82"/>
                          <a:pt x="491" y="91"/>
                          <a:pt x="486" y="88"/>
                        </a:cubicBezTo>
                        <a:cubicBezTo>
                          <a:pt x="481" y="85"/>
                          <a:pt x="477" y="75"/>
                          <a:pt x="473" y="71"/>
                        </a:cubicBezTo>
                        <a:cubicBezTo>
                          <a:pt x="469" y="67"/>
                          <a:pt x="462" y="64"/>
                          <a:pt x="459" y="61"/>
                        </a:cubicBezTo>
                        <a:cubicBezTo>
                          <a:pt x="456" y="58"/>
                          <a:pt x="459" y="53"/>
                          <a:pt x="457" y="52"/>
                        </a:cubicBezTo>
                        <a:cubicBezTo>
                          <a:pt x="455" y="51"/>
                          <a:pt x="450" y="53"/>
                          <a:pt x="448" y="52"/>
                        </a:cubicBezTo>
                        <a:cubicBezTo>
                          <a:pt x="446" y="51"/>
                          <a:pt x="444" y="49"/>
                          <a:pt x="443" y="46"/>
                        </a:cubicBezTo>
                        <a:cubicBezTo>
                          <a:pt x="442" y="43"/>
                          <a:pt x="444" y="36"/>
                          <a:pt x="442" y="34"/>
                        </a:cubicBezTo>
                        <a:cubicBezTo>
                          <a:pt x="440" y="32"/>
                          <a:pt x="432" y="36"/>
                          <a:pt x="429" y="35"/>
                        </a:cubicBezTo>
                        <a:cubicBezTo>
                          <a:pt x="426" y="34"/>
                          <a:pt x="426" y="28"/>
                          <a:pt x="423" y="28"/>
                        </a:cubicBezTo>
                        <a:cubicBezTo>
                          <a:pt x="420" y="28"/>
                          <a:pt x="416" y="32"/>
                          <a:pt x="413" y="32"/>
                        </a:cubicBezTo>
                        <a:cubicBezTo>
                          <a:pt x="410" y="32"/>
                          <a:pt x="407" y="26"/>
                          <a:pt x="404" y="25"/>
                        </a:cubicBezTo>
                        <a:cubicBezTo>
                          <a:pt x="401" y="24"/>
                          <a:pt x="397" y="24"/>
                          <a:pt x="395" y="26"/>
                        </a:cubicBezTo>
                        <a:cubicBezTo>
                          <a:pt x="393" y="28"/>
                          <a:pt x="392" y="36"/>
                          <a:pt x="390" y="35"/>
                        </a:cubicBezTo>
                        <a:cubicBezTo>
                          <a:pt x="388" y="34"/>
                          <a:pt x="389" y="25"/>
                          <a:pt x="383" y="23"/>
                        </a:cubicBezTo>
                        <a:cubicBezTo>
                          <a:pt x="377" y="24"/>
                          <a:pt x="364" y="17"/>
                          <a:pt x="351" y="25"/>
                        </a:cubicBezTo>
                        <a:cubicBezTo>
                          <a:pt x="344" y="26"/>
                          <a:pt x="341" y="29"/>
                          <a:pt x="338" y="28"/>
                        </a:cubicBezTo>
                        <a:cubicBezTo>
                          <a:pt x="335" y="27"/>
                          <a:pt x="337" y="18"/>
                          <a:pt x="333" y="17"/>
                        </a:cubicBezTo>
                        <a:cubicBezTo>
                          <a:pt x="329" y="16"/>
                          <a:pt x="317" y="20"/>
                          <a:pt x="312" y="19"/>
                        </a:cubicBezTo>
                        <a:cubicBezTo>
                          <a:pt x="307" y="18"/>
                          <a:pt x="306" y="13"/>
                          <a:pt x="302" y="11"/>
                        </a:cubicBezTo>
                        <a:cubicBezTo>
                          <a:pt x="298" y="9"/>
                          <a:pt x="288" y="6"/>
                          <a:pt x="285" y="7"/>
                        </a:cubicBezTo>
                        <a:cubicBezTo>
                          <a:pt x="282" y="8"/>
                          <a:pt x="287" y="17"/>
                          <a:pt x="281" y="19"/>
                        </a:cubicBezTo>
                        <a:cubicBezTo>
                          <a:pt x="275" y="21"/>
                          <a:pt x="255" y="16"/>
                          <a:pt x="248" y="17"/>
                        </a:cubicBezTo>
                        <a:cubicBezTo>
                          <a:pt x="245" y="20"/>
                          <a:pt x="230" y="15"/>
                          <a:pt x="237" y="23"/>
                        </a:cubicBezTo>
                        <a:cubicBezTo>
                          <a:pt x="234" y="25"/>
                          <a:pt x="231" y="27"/>
                          <a:pt x="227" y="28"/>
                        </a:cubicBezTo>
                        <a:cubicBezTo>
                          <a:pt x="223" y="29"/>
                          <a:pt x="218" y="29"/>
                          <a:pt x="215" y="31"/>
                        </a:cubicBezTo>
                        <a:cubicBezTo>
                          <a:pt x="213" y="33"/>
                          <a:pt x="208" y="37"/>
                          <a:pt x="206" y="40"/>
                        </a:cubicBezTo>
                        <a:cubicBezTo>
                          <a:pt x="204" y="43"/>
                          <a:pt x="205" y="52"/>
                          <a:pt x="203" y="52"/>
                        </a:cubicBezTo>
                        <a:cubicBezTo>
                          <a:pt x="179" y="57"/>
                          <a:pt x="196" y="41"/>
                          <a:pt x="192" y="41"/>
                        </a:cubicBezTo>
                        <a:cubicBezTo>
                          <a:pt x="188" y="41"/>
                          <a:pt x="183" y="39"/>
                          <a:pt x="179" y="35"/>
                        </a:cubicBezTo>
                        <a:cubicBezTo>
                          <a:pt x="175" y="31"/>
                          <a:pt x="174" y="21"/>
                          <a:pt x="170" y="17"/>
                        </a:cubicBezTo>
                        <a:cubicBezTo>
                          <a:pt x="166" y="16"/>
                          <a:pt x="161" y="6"/>
                          <a:pt x="156" y="11"/>
                        </a:cubicBezTo>
                        <a:cubicBezTo>
                          <a:pt x="152" y="10"/>
                          <a:pt x="149" y="12"/>
                          <a:pt x="146" y="10"/>
                        </a:cubicBezTo>
                        <a:cubicBezTo>
                          <a:pt x="143" y="8"/>
                          <a:pt x="140" y="2"/>
                          <a:pt x="137" y="1"/>
                        </a:cubicBezTo>
                        <a:cubicBezTo>
                          <a:pt x="134" y="0"/>
                          <a:pt x="127" y="2"/>
                          <a:pt x="126" y="5"/>
                        </a:cubicBezTo>
                        <a:cubicBezTo>
                          <a:pt x="125" y="8"/>
                          <a:pt x="131" y="11"/>
                          <a:pt x="131" y="20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8" name="Freeform 9">
                    <a:extLst>
                      <a:ext uri="{FF2B5EF4-FFF2-40B4-BE49-F238E27FC236}">
                        <a16:creationId xmlns:a16="http://schemas.microsoft.com/office/drawing/2014/main" id="{46BD1DA4-0A31-4AB3-9A9B-64AE2E80051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92441" y="2371647"/>
                    <a:ext cx="2304081" cy="2978216"/>
                  </a:xfrm>
                  <a:custGeom>
                    <a:avLst/>
                    <a:gdLst/>
                    <a:ahLst/>
                    <a:cxnLst>
                      <a:cxn ang="0">
                        <a:pos x="219" y="706"/>
                      </a:cxn>
                      <a:cxn ang="0">
                        <a:pos x="176" y="667"/>
                      </a:cxn>
                      <a:cxn ang="0">
                        <a:pos x="152" y="637"/>
                      </a:cxn>
                      <a:cxn ang="0">
                        <a:pos x="156" y="598"/>
                      </a:cxn>
                      <a:cxn ang="0">
                        <a:pos x="162" y="555"/>
                      </a:cxn>
                      <a:cxn ang="0">
                        <a:pos x="180" y="510"/>
                      </a:cxn>
                      <a:cxn ang="0">
                        <a:pos x="168" y="462"/>
                      </a:cxn>
                      <a:cxn ang="0">
                        <a:pos x="135" y="417"/>
                      </a:cxn>
                      <a:cxn ang="0">
                        <a:pos x="99" y="391"/>
                      </a:cxn>
                      <a:cxn ang="0">
                        <a:pos x="54" y="367"/>
                      </a:cxn>
                      <a:cxn ang="0">
                        <a:pos x="17" y="334"/>
                      </a:cxn>
                      <a:cxn ang="0">
                        <a:pos x="11" y="298"/>
                      </a:cxn>
                      <a:cxn ang="0">
                        <a:pos x="50" y="276"/>
                      </a:cxn>
                      <a:cxn ang="0">
                        <a:pos x="60" y="247"/>
                      </a:cxn>
                      <a:cxn ang="0">
                        <a:pos x="60" y="201"/>
                      </a:cxn>
                      <a:cxn ang="0">
                        <a:pos x="120" y="187"/>
                      </a:cxn>
                      <a:cxn ang="0">
                        <a:pos x="110" y="165"/>
                      </a:cxn>
                      <a:cxn ang="0">
                        <a:pos x="90" y="124"/>
                      </a:cxn>
                      <a:cxn ang="0">
                        <a:pos x="89" y="69"/>
                      </a:cxn>
                      <a:cxn ang="0">
                        <a:pos x="138" y="66"/>
                      </a:cxn>
                      <a:cxn ang="0">
                        <a:pos x="179" y="67"/>
                      </a:cxn>
                      <a:cxn ang="0">
                        <a:pos x="233" y="67"/>
                      </a:cxn>
                      <a:cxn ang="0">
                        <a:pos x="288" y="43"/>
                      </a:cxn>
                      <a:cxn ang="0">
                        <a:pos x="344" y="40"/>
                      </a:cxn>
                      <a:cxn ang="0">
                        <a:pos x="389" y="7"/>
                      </a:cxn>
                      <a:cxn ang="0">
                        <a:pos x="417" y="25"/>
                      </a:cxn>
                      <a:cxn ang="0">
                        <a:pos x="434" y="87"/>
                      </a:cxn>
                      <a:cxn ang="0">
                        <a:pos x="446" y="129"/>
                      </a:cxn>
                      <a:cxn ang="0">
                        <a:pos x="459" y="183"/>
                      </a:cxn>
                      <a:cxn ang="0">
                        <a:pos x="438" y="223"/>
                      </a:cxn>
                      <a:cxn ang="0">
                        <a:pos x="422" y="259"/>
                      </a:cxn>
                      <a:cxn ang="0">
                        <a:pos x="411" y="303"/>
                      </a:cxn>
                      <a:cxn ang="0">
                        <a:pos x="378" y="354"/>
                      </a:cxn>
                      <a:cxn ang="0">
                        <a:pos x="365" y="394"/>
                      </a:cxn>
                      <a:cxn ang="0">
                        <a:pos x="392" y="448"/>
                      </a:cxn>
                      <a:cxn ang="0">
                        <a:pos x="456" y="450"/>
                      </a:cxn>
                      <a:cxn ang="0">
                        <a:pos x="498" y="454"/>
                      </a:cxn>
                      <a:cxn ang="0">
                        <a:pos x="533" y="498"/>
                      </a:cxn>
                      <a:cxn ang="0">
                        <a:pos x="594" y="480"/>
                      </a:cxn>
                      <a:cxn ang="0">
                        <a:pos x="555" y="534"/>
                      </a:cxn>
                      <a:cxn ang="0">
                        <a:pos x="534" y="579"/>
                      </a:cxn>
                      <a:cxn ang="0">
                        <a:pos x="504" y="621"/>
                      </a:cxn>
                      <a:cxn ang="0">
                        <a:pos x="456" y="646"/>
                      </a:cxn>
                      <a:cxn ang="0">
                        <a:pos x="407" y="672"/>
                      </a:cxn>
                      <a:cxn ang="0">
                        <a:pos x="354" y="690"/>
                      </a:cxn>
                      <a:cxn ang="0">
                        <a:pos x="317" y="727"/>
                      </a:cxn>
                      <a:cxn ang="0">
                        <a:pos x="288" y="774"/>
                      </a:cxn>
                      <a:cxn ang="0">
                        <a:pos x="248" y="735"/>
                      </a:cxn>
                    </a:cxnLst>
                    <a:rect l="0" t="0" r="r" b="b"/>
                    <a:pathLst>
                      <a:path w="596" h="780">
                        <a:moveTo>
                          <a:pt x="248" y="735"/>
                        </a:moveTo>
                        <a:cubicBezTo>
                          <a:pt x="240" y="737"/>
                          <a:pt x="243" y="727"/>
                          <a:pt x="240" y="724"/>
                        </a:cubicBezTo>
                        <a:cubicBezTo>
                          <a:pt x="237" y="721"/>
                          <a:pt x="232" y="717"/>
                          <a:pt x="228" y="714"/>
                        </a:cubicBezTo>
                        <a:cubicBezTo>
                          <a:pt x="224" y="711"/>
                          <a:pt x="221" y="709"/>
                          <a:pt x="219" y="706"/>
                        </a:cubicBezTo>
                        <a:cubicBezTo>
                          <a:pt x="217" y="703"/>
                          <a:pt x="222" y="698"/>
                          <a:pt x="218" y="696"/>
                        </a:cubicBezTo>
                        <a:cubicBezTo>
                          <a:pt x="214" y="694"/>
                          <a:pt x="200" y="696"/>
                          <a:pt x="195" y="693"/>
                        </a:cubicBezTo>
                        <a:cubicBezTo>
                          <a:pt x="185" y="683"/>
                          <a:pt x="191" y="679"/>
                          <a:pt x="188" y="675"/>
                        </a:cubicBezTo>
                        <a:cubicBezTo>
                          <a:pt x="185" y="671"/>
                          <a:pt x="181" y="667"/>
                          <a:pt x="176" y="667"/>
                        </a:cubicBezTo>
                        <a:cubicBezTo>
                          <a:pt x="171" y="667"/>
                          <a:pt x="159" y="676"/>
                          <a:pt x="156" y="675"/>
                        </a:cubicBezTo>
                        <a:cubicBezTo>
                          <a:pt x="153" y="674"/>
                          <a:pt x="156" y="668"/>
                          <a:pt x="155" y="663"/>
                        </a:cubicBezTo>
                        <a:cubicBezTo>
                          <a:pt x="154" y="658"/>
                          <a:pt x="148" y="649"/>
                          <a:pt x="147" y="645"/>
                        </a:cubicBezTo>
                        <a:cubicBezTo>
                          <a:pt x="146" y="641"/>
                          <a:pt x="152" y="640"/>
                          <a:pt x="152" y="637"/>
                        </a:cubicBezTo>
                        <a:cubicBezTo>
                          <a:pt x="152" y="634"/>
                          <a:pt x="151" y="628"/>
                          <a:pt x="150" y="625"/>
                        </a:cubicBezTo>
                        <a:cubicBezTo>
                          <a:pt x="149" y="622"/>
                          <a:pt x="146" y="622"/>
                          <a:pt x="146" y="619"/>
                        </a:cubicBezTo>
                        <a:cubicBezTo>
                          <a:pt x="146" y="616"/>
                          <a:pt x="150" y="612"/>
                          <a:pt x="152" y="609"/>
                        </a:cubicBezTo>
                        <a:cubicBezTo>
                          <a:pt x="154" y="606"/>
                          <a:pt x="156" y="602"/>
                          <a:pt x="156" y="598"/>
                        </a:cubicBezTo>
                        <a:cubicBezTo>
                          <a:pt x="156" y="594"/>
                          <a:pt x="152" y="589"/>
                          <a:pt x="152" y="586"/>
                        </a:cubicBezTo>
                        <a:cubicBezTo>
                          <a:pt x="152" y="583"/>
                          <a:pt x="154" y="582"/>
                          <a:pt x="155" y="579"/>
                        </a:cubicBezTo>
                        <a:cubicBezTo>
                          <a:pt x="156" y="576"/>
                          <a:pt x="158" y="571"/>
                          <a:pt x="159" y="567"/>
                        </a:cubicBezTo>
                        <a:cubicBezTo>
                          <a:pt x="160" y="563"/>
                          <a:pt x="162" y="558"/>
                          <a:pt x="162" y="555"/>
                        </a:cubicBezTo>
                        <a:cubicBezTo>
                          <a:pt x="162" y="552"/>
                          <a:pt x="160" y="548"/>
                          <a:pt x="161" y="546"/>
                        </a:cubicBezTo>
                        <a:cubicBezTo>
                          <a:pt x="162" y="544"/>
                          <a:pt x="168" y="544"/>
                          <a:pt x="170" y="540"/>
                        </a:cubicBezTo>
                        <a:cubicBezTo>
                          <a:pt x="173" y="534"/>
                          <a:pt x="172" y="528"/>
                          <a:pt x="174" y="522"/>
                        </a:cubicBezTo>
                        <a:cubicBezTo>
                          <a:pt x="180" y="517"/>
                          <a:pt x="172" y="514"/>
                          <a:pt x="180" y="510"/>
                        </a:cubicBezTo>
                        <a:cubicBezTo>
                          <a:pt x="180" y="507"/>
                          <a:pt x="174" y="505"/>
                          <a:pt x="174" y="501"/>
                        </a:cubicBezTo>
                        <a:cubicBezTo>
                          <a:pt x="174" y="497"/>
                          <a:pt x="180" y="491"/>
                          <a:pt x="179" y="487"/>
                        </a:cubicBezTo>
                        <a:cubicBezTo>
                          <a:pt x="178" y="483"/>
                          <a:pt x="169" y="479"/>
                          <a:pt x="167" y="475"/>
                        </a:cubicBezTo>
                        <a:cubicBezTo>
                          <a:pt x="165" y="471"/>
                          <a:pt x="169" y="466"/>
                          <a:pt x="168" y="462"/>
                        </a:cubicBezTo>
                        <a:cubicBezTo>
                          <a:pt x="170" y="457"/>
                          <a:pt x="154" y="456"/>
                          <a:pt x="159" y="450"/>
                        </a:cubicBezTo>
                        <a:cubicBezTo>
                          <a:pt x="157" y="446"/>
                          <a:pt x="157" y="440"/>
                          <a:pt x="156" y="436"/>
                        </a:cubicBezTo>
                        <a:cubicBezTo>
                          <a:pt x="155" y="432"/>
                          <a:pt x="156" y="426"/>
                          <a:pt x="153" y="423"/>
                        </a:cubicBezTo>
                        <a:cubicBezTo>
                          <a:pt x="150" y="420"/>
                          <a:pt x="139" y="420"/>
                          <a:pt x="135" y="417"/>
                        </a:cubicBezTo>
                        <a:cubicBezTo>
                          <a:pt x="131" y="414"/>
                          <a:pt x="131" y="410"/>
                          <a:pt x="129" y="408"/>
                        </a:cubicBezTo>
                        <a:cubicBezTo>
                          <a:pt x="125" y="402"/>
                          <a:pt x="128" y="406"/>
                          <a:pt x="122" y="402"/>
                        </a:cubicBezTo>
                        <a:cubicBezTo>
                          <a:pt x="124" y="399"/>
                          <a:pt x="102" y="403"/>
                          <a:pt x="108" y="400"/>
                        </a:cubicBezTo>
                        <a:cubicBezTo>
                          <a:pt x="104" y="398"/>
                          <a:pt x="103" y="393"/>
                          <a:pt x="99" y="391"/>
                        </a:cubicBezTo>
                        <a:cubicBezTo>
                          <a:pt x="91" y="383"/>
                          <a:pt x="88" y="397"/>
                          <a:pt x="81" y="388"/>
                        </a:cubicBezTo>
                        <a:cubicBezTo>
                          <a:pt x="78" y="384"/>
                          <a:pt x="80" y="383"/>
                          <a:pt x="77" y="379"/>
                        </a:cubicBezTo>
                        <a:cubicBezTo>
                          <a:pt x="72" y="372"/>
                          <a:pt x="66" y="376"/>
                          <a:pt x="66" y="376"/>
                        </a:cubicBezTo>
                        <a:cubicBezTo>
                          <a:pt x="65" y="369"/>
                          <a:pt x="49" y="387"/>
                          <a:pt x="54" y="367"/>
                        </a:cubicBezTo>
                        <a:cubicBezTo>
                          <a:pt x="51" y="364"/>
                          <a:pt x="50" y="361"/>
                          <a:pt x="47" y="358"/>
                        </a:cubicBezTo>
                        <a:cubicBezTo>
                          <a:pt x="44" y="355"/>
                          <a:pt x="42" y="352"/>
                          <a:pt x="39" y="349"/>
                        </a:cubicBezTo>
                        <a:cubicBezTo>
                          <a:pt x="36" y="346"/>
                          <a:pt x="31" y="344"/>
                          <a:pt x="27" y="342"/>
                        </a:cubicBezTo>
                        <a:cubicBezTo>
                          <a:pt x="23" y="340"/>
                          <a:pt x="21" y="336"/>
                          <a:pt x="17" y="334"/>
                        </a:cubicBezTo>
                        <a:cubicBezTo>
                          <a:pt x="13" y="332"/>
                          <a:pt x="4" y="333"/>
                          <a:pt x="2" y="330"/>
                        </a:cubicBezTo>
                        <a:cubicBezTo>
                          <a:pt x="0" y="327"/>
                          <a:pt x="0" y="318"/>
                          <a:pt x="2" y="315"/>
                        </a:cubicBezTo>
                        <a:cubicBezTo>
                          <a:pt x="4" y="312"/>
                          <a:pt x="13" y="315"/>
                          <a:pt x="14" y="312"/>
                        </a:cubicBezTo>
                        <a:cubicBezTo>
                          <a:pt x="15" y="309"/>
                          <a:pt x="11" y="302"/>
                          <a:pt x="11" y="298"/>
                        </a:cubicBezTo>
                        <a:cubicBezTo>
                          <a:pt x="11" y="294"/>
                          <a:pt x="10" y="290"/>
                          <a:pt x="12" y="288"/>
                        </a:cubicBezTo>
                        <a:cubicBezTo>
                          <a:pt x="16" y="283"/>
                          <a:pt x="9" y="297"/>
                          <a:pt x="27" y="288"/>
                        </a:cubicBezTo>
                        <a:cubicBezTo>
                          <a:pt x="31" y="286"/>
                          <a:pt x="31" y="279"/>
                          <a:pt x="35" y="277"/>
                        </a:cubicBezTo>
                        <a:cubicBezTo>
                          <a:pt x="39" y="275"/>
                          <a:pt x="47" y="278"/>
                          <a:pt x="50" y="276"/>
                        </a:cubicBezTo>
                        <a:cubicBezTo>
                          <a:pt x="53" y="274"/>
                          <a:pt x="48" y="266"/>
                          <a:pt x="51" y="264"/>
                        </a:cubicBezTo>
                        <a:cubicBezTo>
                          <a:pt x="54" y="262"/>
                          <a:pt x="66" y="263"/>
                          <a:pt x="68" y="261"/>
                        </a:cubicBezTo>
                        <a:cubicBezTo>
                          <a:pt x="70" y="259"/>
                          <a:pt x="64" y="255"/>
                          <a:pt x="63" y="253"/>
                        </a:cubicBezTo>
                        <a:cubicBezTo>
                          <a:pt x="62" y="251"/>
                          <a:pt x="62" y="249"/>
                          <a:pt x="60" y="247"/>
                        </a:cubicBezTo>
                        <a:cubicBezTo>
                          <a:pt x="58" y="245"/>
                          <a:pt x="55" y="241"/>
                          <a:pt x="53" y="238"/>
                        </a:cubicBezTo>
                        <a:cubicBezTo>
                          <a:pt x="51" y="235"/>
                          <a:pt x="47" y="235"/>
                          <a:pt x="47" y="231"/>
                        </a:cubicBezTo>
                        <a:cubicBezTo>
                          <a:pt x="47" y="227"/>
                          <a:pt x="48" y="218"/>
                          <a:pt x="50" y="213"/>
                        </a:cubicBezTo>
                        <a:cubicBezTo>
                          <a:pt x="52" y="208"/>
                          <a:pt x="56" y="204"/>
                          <a:pt x="60" y="201"/>
                        </a:cubicBezTo>
                        <a:cubicBezTo>
                          <a:pt x="64" y="198"/>
                          <a:pt x="67" y="195"/>
                          <a:pt x="72" y="192"/>
                        </a:cubicBezTo>
                        <a:cubicBezTo>
                          <a:pt x="77" y="189"/>
                          <a:pt x="83" y="183"/>
                          <a:pt x="89" y="181"/>
                        </a:cubicBezTo>
                        <a:cubicBezTo>
                          <a:pt x="95" y="179"/>
                          <a:pt x="102" y="179"/>
                          <a:pt x="107" y="180"/>
                        </a:cubicBezTo>
                        <a:cubicBezTo>
                          <a:pt x="112" y="181"/>
                          <a:pt x="117" y="187"/>
                          <a:pt x="120" y="187"/>
                        </a:cubicBezTo>
                        <a:cubicBezTo>
                          <a:pt x="123" y="187"/>
                          <a:pt x="128" y="183"/>
                          <a:pt x="128" y="181"/>
                        </a:cubicBezTo>
                        <a:cubicBezTo>
                          <a:pt x="128" y="179"/>
                          <a:pt x="121" y="178"/>
                          <a:pt x="119" y="175"/>
                        </a:cubicBezTo>
                        <a:cubicBezTo>
                          <a:pt x="130" y="167"/>
                          <a:pt x="104" y="170"/>
                          <a:pt x="116" y="165"/>
                        </a:cubicBezTo>
                        <a:cubicBezTo>
                          <a:pt x="114" y="163"/>
                          <a:pt x="112" y="166"/>
                          <a:pt x="110" y="165"/>
                        </a:cubicBezTo>
                        <a:cubicBezTo>
                          <a:pt x="108" y="164"/>
                          <a:pt x="106" y="163"/>
                          <a:pt x="104" y="160"/>
                        </a:cubicBezTo>
                        <a:cubicBezTo>
                          <a:pt x="104" y="156"/>
                          <a:pt x="82" y="154"/>
                          <a:pt x="95" y="147"/>
                        </a:cubicBezTo>
                        <a:cubicBezTo>
                          <a:pt x="92" y="142"/>
                          <a:pt x="85" y="137"/>
                          <a:pt x="84" y="133"/>
                        </a:cubicBezTo>
                        <a:cubicBezTo>
                          <a:pt x="83" y="129"/>
                          <a:pt x="91" y="127"/>
                          <a:pt x="90" y="124"/>
                        </a:cubicBezTo>
                        <a:cubicBezTo>
                          <a:pt x="89" y="121"/>
                          <a:pt x="80" y="120"/>
                          <a:pt x="78" y="115"/>
                        </a:cubicBezTo>
                        <a:cubicBezTo>
                          <a:pt x="76" y="110"/>
                          <a:pt x="80" y="102"/>
                          <a:pt x="80" y="96"/>
                        </a:cubicBezTo>
                        <a:cubicBezTo>
                          <a:pt x="80" y="90"/>
                          <a:pt x="74" y="85"/>
                          <a:pt x="75" y="81"/>
                        </a:cubicBezTo>
                        <a:cubicBezTo>
                          <a:pt x="76" y="77"/>
                          <a:pt x="85" y="70"/>
                          <a:pt x="89" y="69"/>
                        </a:cubicBezTo>
                        <a:cubicBezTo>
                          <a:pt x="93" y="68"/>
                          <a:pt x="97" y="76"/>
                          <a:pt x="99" y="76"/>
                        </a:cubicBezTo>
                        <a:cubicBezTo>
                          <a:pt x="101" y="76"/>
                          <a:pt x="101" y="67"/>
                          <a:pt x="104" y="66"/>
                        </a:cubicBezTo>
                        <a:cubicBezTo>
                          <a:pt x="107" y="65"/>
                          <a:pt x="114" y="67"/>
                          <a:pt x="120" y="67"/>
                        </a:cubicBezTo>
                        <a:cubicBezTo>
                          <a:pt x="126" y="67"/>
                          <a:pt x="132" y="66"/>
                          <a:pt x="138" y="66"/>
                        </a:cubicBezTo>
                        <a:cubicBezTo>
                          <a:pt x="144" y="66"/>
                          <a:pt x="152" y="70"/>
                          <a:pt x="156" y="69"/>
                        </a:cubicBezTo>
                        <a:cubicBezTo>
                          <a:pt x="160" y="68"/>
                          <a:pt x="162" y="62"/>
                          <a:pt x="164" y="61"/>
                        </a:cubicBezTo>
                        <a:cubicBezTo>
                          <a:pt x="180" y="54"/>
                          <a:pt x="169" y="60"/>
                          <a:pt x="171" y="61"/>
                        </a:cubicBezTo>
                        <a:cubicBezTo>
                          <a:pt x="173" y="62"/>
                          <a:pt x="175" y="66"/>
                          <a:pt x="179" y="67"/>
                        </a:cubicBezTo>
                        <a:cubicBezTo>
                          <a:pt x="183" y="68"/>
                          <a:pt x="194" y="68"/>
                          <a:pt x="197" y="67"/>
                        </a:cubicBezTo>
                        <a:cubicBezTo>
                          <a:pt x="203" y="60"/>
                          <a:pt x="196" y="61"/>
                          <a:pt x="200" y="60"/>
                        </a:cubicBezTo>
                        <a:cubicBezTo>
                          <a:pt x="204" y="59"/>
                          <a:pt x="216" y="60"/>
                          <a:pt x="221" y="61"/>
                        </a:cubicBezTo>
                        <a:cubicBezTo>
                          <a:pt x="226" y="62"/>
                          <a:pt x="230" y="68"/>
                          <a:pt x="233" y="67"/>
                        </a:cubicBezTo>
                        <a:cubicBezTo>
                          <a:pt x="236" y="66"/>
                          <a:pt x="236" y="58"/>
                          <a:pt x="239" y="55"/>
                        </a:cubicBezTo>
                        <a:cubicBezTo>
                          <a:pt x="242" y="52"/>
                          <a:pt x="245" y="48"/>
                          <a:pt x="249" y="46"/>
                        </a:cubicBezTo>
                        <a:cubicBezTo>
                          <a:pt x="260" y="54"/>
                          <a:pt x="255" y="36"/>
                          <a:pt x="266" y="45"/>
                        </a:cubicBezTo>
                        <a:cubicBezTo>
                          <a:pt x="268" y="36"/>
                          <a:pt x="281" y="44"/>
                          <a:pt x="288" y="43"/>
                        </a:cubicBezTo>
                        <a:cubicBezTo>
                          <a:pt x="295" y="42"/>
                          <a:pt x="304" y="43"/>
                          <a:pt x="308" y="42"/>
                        </a:cubicBezTo>
                        <a:cubicBezTo>
                          <a:pt x="312" y="41"/>
                          <a:pt x="311" y="37"/>
                          <a:pt x="315" y="36"/>
                        </a:cubicBezTo>
                        <a:cubicBezTo>
                          <a:pt x="319" y="35"/>
                          <a:pt x="327" y="36"/>
                          <a:pt x="332" y="37"/>
                        </a:cubicBezTo>
                        <a:cubicBezTo>
                          <a:pt x="337" y="38"/>
                          <a:pt x="340" y="41"/>
                          <a:pt x="344" y="40"/>
                        </a:cubicBezTo>
                        <a:cubicBezTo>
                          <a:pt x="348" y="39"/>
                          <a:pt x="352" y="33"/>
                          <a:pt x="356" y="31"/>
                        </a:cubicBezTo>
                        <a:cubicBezTo>
                          <a:pt x="361" y="13"/>
                          <a:pt x="366" y="33"/>
                          <a:pt x="369" y="30"/>
                        </a:cubicBezTo>
                        <a:cubicBezTo>
                          <a:pt x="372" y="27"/>
                          <a:pt x="371" y="16"/>
                          <a:pt x="374" y="12"/>
                        </a:cubicBezTo>
                        <a:cubicBezTo>
                          <a:pt x="377" y="8"/>
                          <a:pt x="385" y="8"/>
                          <a:pt x="389" y="7"/>
                        </a:cubicBezTo>
                        <a:cubicBezTo>
                          <a:pt x="393" y="6"/>
                          <a:pt x="392" y="4"/>
                          <a:pt x="396" y="3"/>
                        </a:cubicBezTo>
                        <a:cubicBezTo>
                          <a:pt x="400" y="2"/>
                          <a:pt x="407" y="0"/>
                          <a:pt x="411" y="0"/>
                        </a:cubicBezTo>
                        <a:cubicBezTo>
                          <a:pt x="415" y="0"/>
                          <a:pt x="422" y="0"/>
                          <a:pt x="423" y="4"/>
                        </a:cubicBezTo>
                        <a:cubicBezTo>
                          <a:pt x="424" y="8"/>
                          <a:pt x="416" y="21"/>
                          <a:pt x="417" y="25"/>
                        </a:cubicBezTo>
                        <a:cubicBezTo>
                          <a:pt x="418" y="29"/>
                          <a:pt x="427" y="23"/>
                          <a:pt x="428" y="27"/>
                        </a:cubicBezTo>
                        <a:cubicBezTo>
                          <a:pt x="429" y="31"/>
                          <a:pt x="424" y="46"/>
                          <a:pt x="425" y="51"/>
                        </a:cubicBezTo>
                        <a:cubicBezTo>
                          <a:pt x="426" y="56"/>
                          <a:pt x="431" y="49"/>
                          <a:pt x="432" y="55"/>
                        </a:cubicBezTo>
                        <a:cubicBezTo>
                          <a:pt x="433" y="61"/>
                          <a:pt x="433" y="81"/>
                          <a:pt x="434" y="87"/>
                        </a:cubicBezTo>
                        <a:cubicBezTo>
                          <a:pt x="435" y="93"/>
                          <a:pt x="440" y="87"/>
                          <a:pt x="441" y="91"/>
                        </a:cubicBezTo>
                        <a:cubicBezTo>
                          <a:pt x="455" y="87"/>
                          <a:pt x="440" y="105"/>
                          <a:pt x="441" y="109"/>
                        </a:cubicBezTo>
                        <a:cubicBezTo>
                          <a:pt x="442" y="113"/>
                          <a:pt x="446" y="112"/>
                          <a:pt x="447" y="115"/>
                        </a:cubicBezTo>
                        <a:cubicBezTo>
                          <a:pt x="448" y="118"/>
                          <a:pt x="445" y="126"/>
                          <a:pt x="446" y="129"/>
                        </a:cubicBezTo>
                        <a:cubicBezTo>
                          <a:pt x="447" y="132"/>
                          <a:pt x="451" y="129"/>
                          <a:pt x="452" y="132"/>
                        </a:cubicBezTo>
                        <a:cubicBezTo>
                          <a:pt x="453" y="135"/>
                          <a:pt x="448" y="143"/>
                          <a:pt x="450" y="147"/>
                        </a:cubicBezTo>
                        <a:cubicBezTo>
                          <a:pt x="452" y="151"/>
                          <a:pt x="460" y="148"/>
                          <a:pt x="461" y="154"/>
                        </a:cubicBezTo>
                        <a:cubicBezTo>
                          <a:pt x="462" y="160"/>
                          <a:pt x="459" y="177"/>
                          <a:pt x="459" y="183"/>
                        </a:cubicBezTo>
                        <a:cubicBezTo>
                          <a:pt x="459" y="189"/>
                          <a:pt x="459" y="189"/>
                          <a:pt x="458" y="193"/>
                        </a:cubicBezTo>
                        <a:cubicBezTo>
                          <a:pt x="457" y="197"/>
                          <a:pt x="455" y="204"/>
                          <a:pt x="453" y="207"/>
                        </a:cubicBezTo>
                        <a:cubicBezTo>
                          <a:pt x="451" y="210"/>
                          <a:pt x="446" y="208"/>
                          <a:pt x="444" y="211"/>
                        </a:cubicBezTo>
                        <a:cubicBezTo>
                          <a:pt x="442" y="214"/>
                          <a:pt x="439" y="219"/>
                          <a:pt x="438" y="223"/>
                        </a:cubicBezTo>
                        <a:cubicBezTo>
                          <a:pt x="437" y="227"/>
                          <a:pt x="439" y="231"/>
                          <a:pt x="438" y="234"/>
                        </a:cubicBezTo>
                        <a:cubicBezTo>
                          <a:pt x="437" y="237"/>
                          <a:pt x="433" y="241"/>
                          <a:pt x="431" y="243"/>
                        </a:cubicBezTo>
                        <a:cubicBezTo>
                          <a:pt x="429" y="245"/>
                          <a:pt x="428" y="243"/>
                          <a:pt x="426" y="246"/>
                        </a:cubicBezTo>
                        <a:cubicBezTo>
                          <a:pt x="424" y="249"/>
                          <a:pt x="421" y="256"/>
                          <a:pt x="422" y="259"/>
                        </a:cubicBezTo>
                        <a:cubicBezTo>
                          <a:pt x="423" y="262"/>
                          <a:pt x="430" y="264"/>
                          <a:pt x="431" y="267"/>
                        </a:cubicBezTo>
                        <a:cubicBezTo>
                          <a:pt x="432" y="270"/>
                          <a:pt x="427" y="275"/>
                          <a:pt x="425" y="279"/>
                        </a:cubicBezTo>
                        <a:cubicBezTo>
                          <a:pt x="423" y="283"/>
                          <a:pt x="421" y="288"/>
                          <a:pt x="419" y="292"/>
                        </a:cubicBezTo>
                        <a:cubicBezTo>
                          <a:pt x="417" y="296"/>
                          <a:pt x="412" y="298"/>
                          <a:pt x="411" y="303"/>
                        </a:cubicBezTo>
                        <a:cubicBezTo>
                          <a:pt x="410" y="308"/>
                          <a:pt x="412" y="317"/>
                          <a:pt x="411" y="321"/>
                        </a:cubicBezTo>
                        <a:cubicBezTo>
                          <a:pt x="410" y="325"/>
                          <a:pt x="405" y="324"/>
                          <a:pt x="402" y="328"/>
                        </a:cubicBezTo>
                        <a:cubicBezTo>
                          <a:pt x="399" y="332"/>
                          <a:pt x="396" y="342"/>
                          <a:pt x="392" y="346"/>
                        </a:cubicBezTo>
                        <a:cubicBezTo>
                          <a:pt x="390" y="356"/>
                          <a:pt x="385" y="347"/>
                          <a:pt x="378" y="354"/>
                        </a:cubicBezTo>
                        <a:cubicBezTo>
                          <a:pt x="374" y="369"/>
                          <a:pt x="377" y="352"/>
                          <a:pt x="371" y="367"/>
                        </a:cubicBezTo>
                        <a:cubicBezTo>
                          <a:pt x="371" y="367"/>
                          <a:pt x="370" y="348"/>
                          <a:pt x="374" y="378"/>
                        </a:cubicBezTo>
                        <a:cubicBezTo>
                          <a:pt x="375" y="381"/>
                          <a:pt x="378" y="384"/>
                          <a:pt x="377" y="387"/>
                        </a:cubicBezTo>
                        <a:cubicBezTo>
                          <a:pt x="376" y="390"/>
                          <a:pt x="366" y="385"/>
                          <a:pt x="365" y="394"/>
                        </a:cubicBezTo>
                        <a:cubicBezTo>
                          <a:pt x="364" y="403"/>
                          <a:pt x="368" y="431"/>
                          <a:pt x="368" y="442"/>
                        </a:cubicBezTo>
                        <a:cubicBezTo>
                          <a:pt x="370" y="435"/>
                          <a:pt x="362" y="456"/>
                          <a:pt x="363" y="459"/>
                        </a:cubicBezTo>
                        <a:cubicBezTo>
                          <a:pt x="364" y="462"/>
                          <a:pt x="372" y="461"/>
                          <a:pt x="377" y="459"/>
                        </a:cubicBezTo>
                        <a:cubicBezTo>
                          <a:pt x="382" y="457"/>
                          <a:pt x="388" y="452"/>
                          <a:pt x="392" y="448"/>
                        </a:cubicBezTo>
                        <a:cubicBezTo>
                          <a:pt x="396" y="444"/>
                          <a:pt x="401" y="433"/>
                          <a:pt x="404" y="433"/>
                        </a:cubicBezTo>
                        <a:cubicBezTo>
                          <a:pt x="407" y="433"/>
                          <a:pt x="408" y="444"/>
                          <a:pt x="410" y="447"/>
                        </a:cubicBezTo>
                        <a:cubicBezTo>
                          <a:pt x="412" y="450"/>
                          <a:pt x="411" y="452"/>
                          <a:pt x="419" y="453"/>
                        </a:cubicBezTo>
                        <a:cubicBezTo>
                          <a:pt x="427" y="454"/>
                          <a:pt x="449" y="448"/>
                          <a:pt x="456" y="450"/>
                        </a:cubicBezTo>
                        <a:cubicBezTo>
                          <a:pt x="462" y="454"/>
                          <a:pt x="455" y="461"/>
                          <a:pt x="461" y="465"/>
                        </a:cubicBezTo>
                        <a:cubicBezTo>
                          <a:pt x="464" y="467"/>
                          <a:pt x="473" y="462"/>
                          <a:pt x="473" y="462"/>
                        </a:cubicBezTo>
                        <a:cubicBezTo>
                          <a:pt x="482" y="452"/>
                          <a:pt x="479" y="457"/>
                          <a:pt x="483" y="456"/>
                        </a:cubicBezTo>
                        <a:cubicBezTo>
                          <a:pt x="487" y="455"/>
                          <a:pt x="495" y="452"/>
                          <a:pt x="498" y="454"/>
                        </a:cubicBezTo>
                        <a:cubicBezTo>
                          <a:pt x="501" y="456"/>
                          <a:pt x="499" y="467"/>
                          <a:pt x="501" y="471"/>
                        </a:cubicBezTo>
                        <a:cubicBezTo>
                          <a:pt x="503" y="475"/>
                          <a:pt x="507" y="478"/>
                          <a:pt x="510" y="481"/>
                        </a:cubicBezTo>
                        <a:cubicBezTo>
                          <a:pt x="513" y="484"/>
                          <a:pt x="517" y="489"/>
                          <a:pt x="521" y="492"/>
                        </a:cubicBezTo>
                        <a:cubicBezTo>
                          <a:pt x="525" y="495"/>
                          <a:pt x="529" y="497"/>
                          <a:pt x="533" y="498"/>
                        </a:cubicBezTo>
                        <a:cubicBezTo>
                          <a:pt x="537" y="499"/>
                          <a:pt x="542" y="500"/>
                          <a:pt x="546" y="498"/>
                        </a:cubicBezTo>
                        <a:cubicBezTo>
                          <a:pt x="550" y="496"/>
                          <a:pt x="556" y="486"/>
                          <a:pt x="560" y="484"/>
                        </a:cubicBezTo>
                        <a:cubicBezTo>
                          <a:pt x="564" y="482"/>
                          <a:pt x="567" y="487"/>
                          <a:pt x="573" y="486"/>
                        </a:cubicBezTo>
                        <a:cubicBezTo>
                          <a:pt x="579" y="485"/>
                          <a:pt x="592" y="477"/>
                          <a:pt x="594" y="480"/>
                        </a:cubicBezTo>
                        <a:cubicBezTo>
                          <a:pt x="596" y="483"/>
                          <a:pt x="589" y="498"/>
                          <a:pt x="587" y="504"/>
                        </a:cubicBezTo>
                        <a:cubicBezTo>
                          <a:pt x="585" y="510"/>
                          <a:pt x="584" y="513"/>
                          <a:pt x="582" y="517"/>
                        </a:cubicBezTo>
                        <a:cubicBezTo>
                          <a:pt x="580" y="521"/>
                          <a:pt x="577" y="525"/>
                          <a:pt x="573" y="528"/>
                        </a:cubicBezTo>
                        <a:cubicBezTo>
                          <a:pt x="569" y="531"/>
                          <a:pt x="558" y="531"/>
                          <a:pt x="555" y="534"/>
                        </a:cubicBezTo>
                        <a:cubicBezTo>
                          <a:pt x="552" y="537"/>
                          <a:pt x="555" y="542"/>
                          <a:pt x="555" y="546"/>
                        </a:cubicBezTo>
                        <a:cubicBezTo>
                          <a:pt x="555" y="550"/>
                          <a:pt x="556" y="554"/>
                          <a:pt x="554" y="558"/>
                        </a:cubicBezTo>
                        <a:cubicBezTo>
                          <a:pt x="552" y="562"/>
                          <a:pt x="548" y="570"/>
                          <a:pt x="545" y="573"/>
                        </a:cubicBezTo>
                        <a:cubicBezTo>
                          <a:pt x="542" y="576"/>
                          <a:pt x="536" y="577"/>
                          <a:pt x="534" y="579"/>
                        </a:cubicBezTo>
                        <a:cubicBezTo>
                          <a:pt x="532" y="581"/>
                          <a:pt x="533" y="582"/>
                          <a:pt x="530" y="586"/>
                        </a:cubicBezTo>
                        <a:cubicBezTo>
                          <a:pt x="534" y="591"/>
                          <a:pt x="521" y="595"/>
                          <a:pt x="518" y="600"/>
                        </a:cubicBezTo>
                        <a:cubicBezTo>
                          <a:pt x="515" y="605"/>
                          <a:pt x="515" y="611"/>
                          <a:pt x="513" y="615"/>
                        </a:cubicBezTo>
                        <a:cubicBezTo>
                          <a:pt x="511" y="619"/>
                          <a:pt x="508" y="620"/>
                          <a:pt x="504" y="621"/>
                        </a:cubicBezTo>
                        <a:cubicBezTo>
                          <a:pt x="500" y="622"/>
                          <a:pt x="492" y="617"/>
                          <a:pt x="489" y="619"/>
                        </a:cubicBezTo>
                        <a:cubicBezTo>
                          <a:pt x="486" y="621"/>
                          <a:pt x="486" y="630"/>
                          <a:pt x="483" y="633"/>
                        </a:cubicBezTo>
                        <a:cubicBezTo>
                          <a:pt x="480" y="636"/>
                          <a:pt x="474" y="635"/>
                          <a:pt x="470" y="637"/>
                        </a:cubicBezTo>
                        <a:cubicBezTo>
                          <a:pt x="466" y="639"/>
                          <a:pt x="460" y="643"/>
                          <a:pt x="456" y="646"/>
                        </a:cubicBezTo>
                        <a:cubicBezTo>
                          <a:pt x="452" y="649"/>
                          <a:pt x="449" y="649"/>
                          <a:pt x="444" y="652"/>
                        </a:cubicBezTo>
                        <a:cubicBezTo>
                          <a:pt x="439" y="655"/>
                          <a:pt x="431" y="660"/>
                          <a:pt x="426" y="663"/>
                        </a:cubicBezTo>
                        <a:cubicBezTo>
                          <a:pt x="416" y="665"/>
                          <a:pt x="426" y="668"/>
                          <a:pt x="416" y="669"/>
                        </a:cubicBezTo>
                        <a:cubicBezTo>
                          <a:pt x="413" y="674"/>
                          <a:pt x="411" y="671"/>
                          <a:pt x="407" y="672"/>
                        </a:cubicBezTo>
                        <a:cubicBezTo>
                          <a:pt x="403" y="673"/>
                          <a:pt x="394" y="674"/>
                          <a:pt x="390" y="676"/>
                        </a:cubicBezTo>
                        <a:cubicBezTo>
                          <a:pt x="386" y="678"/>
                          <a:pt x="387" y="682"/>
                          <a:pt x="383" y="684"/>
                        </a:cubicBezTo>
                        <a:cubicBezTo>
                          <a:pt x="379" y="686"/>
                          <a:pt x="373" y="684"/>
                          <a:pt x="368" y="685"/>
                        </a:cubicBezTo>
                        <a:cubicBezTo>
                          <a:pt x="363" y="686"/>
                          <a:pt x="358" y="687"/>
                          <a:pt x="354" y="690"/>
                        </a:cubicBezTo>
                        <a:cubicBezTo>
                          <a:pt x="350" y="693"/>
                          <a:pt x="348" y="698"/>
                          <a:pt x="345" y="702"/>
                        </a:cubicBezTo>
                        <a:cubicBezTo>
                          <a:pt x="342" y="706"/>
                          <a:pt x="338" y="709"/>
                          <a:pt x="335" y="712"/>
                        </a:cubicBezTo>
                        <a:cubicBezTo>
                          <a:pt x="329" y="722"/>
                          <a:pt x="330" y="718"/>
                          <a:pt x="327" y="721"/>
                        </a:cubicBezTo>
                        <a:cubicBezTo>
                          <a:pt x="324" y="724"/>
                          <a:pt x="320" y="723"/>
                          <a:pt x="317" y="727"/>
                        </a:cubicBezTo>
                        <a:cubicBezTo>
                          <a:pt x="310" y="743"/>
                          <a:pt x="315" y="740"/>
                          <a:pt x="312" y="745"/>
                        </a:cubicBezTo>
                        <a:cubicBezTo>
                          <a:pt x="309" y="750"/>
                          <a:pt x="302" y="752"/>
                          <a:pt x="300" y="757"/>
                        </a:cubicBezTo>
                        <a:cubicBezTo>
                          <a:pt x="298" y="762"/>
                          <a:pt x="299" y="774"/>
                          <a:pt x="297" y="777"/>
                        </a:cubicBezTo>
                        <a:cubicBezTo>
                          <a:pt x="295" y="780"/>
                          <a:pt x="291" y="776"/>
                          <a:pt x="288" y="774"/>
                        </a:cubicBezTo>
                        <a:cubicBezTo>
                          <a:pt x="285" y="772"/>
                          <a:pt x="282" y="766"/>
                          <a:pt x="279" y="762"/>
                        </a:cubicBezTo>
                        <a:cubicBezTo>
                          <a:pt x="276" y="758"/>
                          <a:pt x="273" y="754"/>
                          <a:pt x="270" y="751"/>
                        </a:cubicBezTo>
                        <a:cubicBezTo>
                          <a:pt x="260" y="762"/>
                          <a:pt x="264" y="747"/>
                          <a:pt x="260" y="744"/>
                        </a:cubicBezTo>
                        <a:cubicBezTo>
                          <a:pt x="256" y="741"/>
                          <a:pt x="251" y="737"/>
                          <a:pt x="248" y="735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89" name="Freeform 10">
                    <a:extLst>
                      <a:ext uri="{FF2B5EF4-FFF2-40B4-BE49-F238E27FC236}">
                        <a16:creationId xmlns:a16="http://schemas.microsoft.com/office/drawing/2014/main" id="{756BEC43-A0B3-4533-9817-4A99FFE9DD2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080303" y="2799289"/>
                    <a:ext cx="2624952" cy="1664747"/>
                  </a:xfrm>
                  <a:custGeom>
                    <a:avLst/>
                    <a:gdLst/>
                    <a:ahLst/>
                    <a:cxnLst>
                      <a:cxn ang="0">
                        <a:pos x="177" y="155"/>
                      </a:cxn>
                      <a:cxn ang="0">
                        <a:pos x="201" y="156"/>
                      </a:cxn>
                      <a:cxn ang="0">
                        <a:pos x="244" y="138"/>
                      </a:cxn>
                      <a:cxn ang="0">
                        <a:pos x="252" y="108"/>
                      </a:cxn>
                      <a:cxn ang="0">
                        <a:pos x="261" y="42"/>
                      </a:cxn>
                      <a:cxn ang="0">
                        <a:pos x="259" y="8"/>
                      </a:cxn>
                      <a:cxn ang="0">
                        <a:pos x="289" y="30"/>
                      </a:cxn>
                      <a:cxn ang="0">
                        <a:pos x="316" y="2"/>
                      </a:cxn>
                      <a:cxn ang="0">
                        <a:pos x="345" y="9"/>
                      </a:cxn>
                      <a:cxn ang="0">
                        <a:pos x="358" y="30"/>
                      </a:cxn>
                      <a:cxn ang="0">
                        <a:pos x="378" y="68"/>
                      </a:cxn>
                      <a:cxn ang="0">
                        <a:pos x="406" y="59"/>
                      </a:cxn>
                      <a:cxn ang="0">
                        <a:pos x="450" y="59"/>
                      </a:cxn>
                      <a:cxn ang="0">
                        <a:pos x="478" y="74"/>
                      </a:cxn>
                      <a:cxn ang="0">
                        <a:pos x="504" y="80"/>
                      </a:cxn>
                      <a:cxn ang="0">
                        <a:pos x="547" y="81"/>
                      </a:cxn>
                      <a:cxn ang="0">
                        <a:pos x="595" y="87"/>
                      </a:cxn>
                      <a:cxn ang="0">
                        <a:pos x="634" y="89"/>
                      </a:cxn>
                      <a:cxn ang="0">
                        <a:pos x="654" y="108"/>
                      </a:cxn>
                      <a:cxn ang="0">
                        <a:pos x="664" y="195"/>
                      </a:cxn>
                      <a:cxn ang="0">
                        <a:pos x="673" y="239"/>
                      </a:cxn>
                      <a:cxn ang="0">
                        <a:pos x="640" y="279"/>
                      </a:cxn>
                      <a:cxn ang="0">
                        <a:pos x="607" y="290"/>
                      </a:cxn>
                      <a:cxn ang="0">
                        <a:pos x="576" y="333"/>
                      </a:cxn>
                      <a:cxn ang="0">
                        <a:pos x="532" y="359"/>
                      </a:cxn>
                      <a:cxn ang="0">
                        <a:pos x="483" y="344"/>
                      </a:cxn>
                      <a:cxn ang="0">
                        <a:pos x="436" y="411"/>
                      </a:cxn>
                      <a:cxn ang="0">
                        <a:pos x="388" y="414"/>
                      </a:cxn>
                      <a:cxn ang="0">
                        <a:pos x="327" y="426"/>
                      </a:cxn>
                      <a:cxn ang="0">
                        <a:pos x="277" y="399"/>
                      </a:cxn>
                      <a:cxn ang="0">
                        <a:pos x="250" y="359"/>
                      </a:cxn>
                      <a:cxn ang="0">
                        <a:pos x="210" y="374"/>
                      </a:cxn>
                      <a:cxn ang="0">
                        <a:pos x="169" y="386"/>
                      </a:cxn>
                      <a:cxn ang="0">
                        <a:pos x="141" y="354"/>
                      </a:cxn>
                      <a:cxn ang="0">
                        <a:pos x="126" y="345"/>
                      </a:cxn>
                      <a:cxn ang="0">
                        <a:pos x="102" y="354"/>
                      </a:cxn>
                      <a:cxn ang="0">
                        <a:pos x="73" y="339"/>
                      </a:cxn>
                      <a:cxn ang="0">
                        <a:pos x="46" y="320"/>
                      </a:cxn>
                      <a:cxn ang="0">
                        <a:pos x="13" y="350"/>
                      </a:cxn>
                      <a:cxn ang="0">
                        <a:pos x="9" y="320"/>
                      </a:cxn>
                      <a:cxn ang="0">
                        <a:pos x="9" y="275"/>
                      </a:cxn>
                      <a:cxn ang="0">
                        <a:pos x="7" y="249"/>
                      </a:cxn>
                      <a:cxn ang="0">
                        <a:pos x="37" y="227"/>
                      </a:cxn>
                      <a:cxn ang="0">
                        <a:pos x="54" y="194"/>
                      </a:cxn>
                      <a:cxn ang="0">
                        <a:pos x="70" y="158"/>
                      </a:cxn>
                      <a:cxn ang="0">
                        <a:pos x="96" y="134"/>
                      </a:cxn>
                      <a:cxn ang="0">
                        <a:pos x="136" y="153"/>
                      </a:cxn>
                      <a:cxn ang="0">
                        <a:pos x="154" y="176"/>
                      </a:cxn>
                    </a:cxnLst>
                    <a:rect l="0" t="0" r="r" b="b"/>
                    <a:pathLst>
                      <a:path w="679" h="436">
                        <a:moveTo>
                          <a:pt x="166" y="173"/>
                        </a:moveTo>
                        <a:cubicBezTo>
                          <a:pt x="194" y="172"/>
                          <a:pt x="147" y="163"/>
                          <a:pt x="175" y="161"/>
                        </a:cubicBezTo>
                        <a:cubicBezTo>
                          <a:pt x="177" y="158"/>
                          <a:pt x="177" y="157"/>
                          <a:pt x="177" y="155"/>
                        </a:cubicBezTo>
                        <a:cubicBezTo>
                          <a:pt x="177" y="153"/>
                          <a:pt x="172" y="147"/>
                          <a:pt x="175" y="146"/>
                        </a:cubicBezTo>
                        <a:cubicBezTo>
                          <a:pt x="181" y="141"/>
                          <a:pt x="186" y="153"/>
                          <a:pt x="193" y="149"/>
                        </a:cubicBezTo>
                        <a:cubicBezTo>
                          <a:pt x="201" y="149"/>
                          <a:pt x="186" y="154"/>
                          <a:pt x="201" y="156"/>
                        </a:cubicBezTo>
                        <a:cubicBezTo>
                          <a:pt x="207" y="156"/>
                          <a:pt x="225" y="153"/>
                          <a:pt x="229" y="150"/>
                        </a:cubicBezTo>
                        <a:cubicBezTo>
                          <a:pt x="233" y="147"/>
                          <a:pt x="222" y="140"/>
                          <a:pt x="225" y="138"/>
                        </a:cubicBezTo>
                        <a:cubicBezTo>
                          <a:pt x="228" y="136"/>
                          <a:pt x="241" y="140"/>
                          <a:pt x="244" y="138"/>
                        </a:cubicBezTo>
                        <a:cubicBezTo>
                          <a:pt x="247" y="136"/>
                          <a:pt x="239" y="129"/>
                          <a:pt x="241" y="126"/>
                        </a:cubicBezTo>
                        <a:cubicBezTo>
                          <a:pt x="242" y="120"/>
                          <a:pt x="249" y="127"/>
                          <a:pt x="253" y="122"/>
                        </a:cubicBezTo>
                        <a:cubicBezTo>
                          <a:pt x="258" y="121"/>
                          <a:pt x="243" y="110"/>
                          <a:pt x="252" y="108"/>
                        </a:cubicBezTo>
                        <a:cubicBezTo>
                          <a:pt x="253" y="104"/>
                          <a:pt x="260" y="100"/>
                          <a:pt x="262" y="96"/>
                        </a:cubicBezTo>
                        <a:cubicBezTo>
                          <a:pt x="264" y="92"/>
                          <a:pt x="264" y="92"/>
                          <a:pt x="264" y="83"/>
                        </a:cubicBezTo>
                        <a:cubicBezTo>
                          <a:pt x="264" y="74"/>
                          <a:pt x="263" y="50"/>
                          <a:pt x="261" y="42"/>
                        </a:cubicBezTo>
                        <a:cubicBezTo>
                          <a:pt x="264" y="36"/>
                          <a:pt x="251" y="36"/>
                          <a:pt x="250" y="33"/>
                        </a:cubicBezTo>
                        <a:cubicBezTo>
                          <a:pt x="249" y="30"/>
                          <a:pt x="251" y="28"/>
                          <a:pt x="252" y="24"/>
                        </a:cubicBezTo>
                        <a:cubicBezTo>
                          <a:pt x="255" y="23"/>
                          <a:pt x="255" y="11"/>
                          <a:pt x="259" y="8"/>
                        </a:cubicBezTo>
                        <a:cubicBezTo>
                          <a:pt x="263" y="5"/>
                          <a:pt x="272" y="8"/>
                          <a:pt x="277" y="9"/>
                        </a:cubicBezTo>
                        <a:cubicBezTo>
                          <a:pt x="282" y="10"/>
                          <a:pt x="287" y="12"/>
                          <a:pt x="289" y="15"/>
                        </a:cubicBezTo>
                        <a:cubicBezTo>
                          <a:pt x="291" y="18"/>
                          <a:pt x="286" y="28"/>
                          <a:pt x="289" y="30"/>
                        </a:cubicBezTo>
                        <a:cubicBezTo>
                          <a:pt x="292" y="32"/>
                          <a:pt x="302" y="29"/>
                          <a:pt x="306" y="26"/>
                        </a:cubicBezTo>
                        <a:cubicBezTo>
                          <a:pt x="310" y="23"/>
                          <a:pt x="310" y="18"/>
                          <a:pt x="312" y="14"/>
                        </a:cubicBezTo>
                        <a:cubicBezTo>
                          <a:pt x="314" y="10"/>
                          <a:pt x="314" y="4"/>
                          <a:pt x="316" y="2"/>
                        </a:cubicBezTo>
                        <a:cubicBezTo>
                          <a:pt x="318" y="0"/>
                          <a:pt x="323" y="1"/>
                          <a:pt x="325" y="2"/>
                        </a:cubicBezTo>
                        <a:cubicBezTo>
                          <a:pt x="327" y="3"/>
                          <a:pt x="328" y="7"/>
                          <a:pt x="331" y="8"/>
                        </a:cubicBezTo>
                        <a:cubicBezTo>
                          <a:pt x="334" y="9"/>
                          <a:pt x="342" y="8"/>
                          <a:pt x="345" y="9"/>
                        </a:cubicBezTo>
                        <a:cubicBezTo>
                          <a:pt x="348" y="10"/>
                          <a:pt x="346" y="13"/>
                          <a:pt x="349" y="17"/>
                        </a:cubicBezTo>
                        <a:cubicBezTo>
                          <a:pt x="352" y="21"/>
                          <a:pt x="363" y="30"/>
                          <a:pt x="364" y="32"/>
                        </a:cubicBezTo>
                        <a:cubicBezTo>
                          <a:pt x="365" y="34"/>
                          <a:pt x="358" y="28"/>
                          <a:pt x="358" y="30"/>
                        </a:cubicBezTo>
                        <a:cubicBezTo>
                          <a:pt x="358" y="32"/>
                          <a:pt x="362" y="41"/>
                          <a:pt x="364" y="45"/>
                        </a:cubicBezTo>
                        <a:cubicBezTo>
                          <a:pt x="366" y="49"/>
                          <a:pt x="371" y="49"/>
                          <a:pt x="373" y="53"/>
                        </a:cubicBezTo>
                        <a:cubicBezTo>
                          <a:pt x="378" y="55"/>
                          <a:pt x="367" y="61"/>
                          <a:pt x="378" y="68"/>
                        </a:cubicBezTo>
                        <a:cubicBezTo>
                          <a:pt x="381" y="71"/>
                          <a:pt x="390" y="70"/>
                          <a:pt x="393" y="69"/>
                        </a:cubicBezTo>
                        <a:cubicBezTo>
                          <a:pt x="396" y="68"/>
                          <a:pt x="394" y="62"/>
                          <a:pt x="396" y="60"/>
                        </a:cubicBezTo>
                        <a:cubicBezTo>
                          <a:pt x="398" y="58"/>
                          <a:pt x="404" y="61"/>
                          <a:pt x="406" y="59"/>
                        </a:cubicBezTo>
                        <a:cubicBezTo>
                          <a:pt x="411" y="61"/>
                          <a:pt x="403" y="52"/>
                          <a:pt x="409" y="50"/>
                        </a:cubicBezTo>
                        <a:cubicBezTo>
                          <a:pt x="415" y="48"/>
                          <a:pt x="435" y="44"/>
                          <a:pt x="442" y="45"/>
                        </a:cubicBezTo>
                        <a:cubicBezTo>
                          <a:pt x="449" y="46"/>
                          <a:pt x="446" y="58"/>
                          <a:pt x="450" y="59"/>
                        </a:cubicBezTo>
                        <a:cubicBezTo>
                          <a:pt x="454" y="60"/>
                          <a:pt x="464" y="53"/>
                          <a:pt x="468" y="53"/>
                        </a:cubicBezTo>
                        <a:cubicBezTo>
                          <a:pt x="472" y="53"/>
                          <a:pt x="475" y="53"/>
                          <a:pt x="477" y="56"/>
                        </a:cubicBezTo>
                        <a:cubicBezTo>
                          <a:pt x="479" y="59"/>
                          <a:pt x="476" y="72"/>
                          <a:pt x="478" y="74"/>
                        </a:cubicBezTo>
                        <a:cubicBezTo>
                          <a:pt x="480" y="76"/>
                          <a:pt x="485" y="68"/>
                          <a:pt x="487" y="69"/>
                        </a:cubicBezTo>
                        <a:cubicBezTo>
                          <a:pt x="489" y="70"/>
                          <a:pt x="486" y="79"/>
                          <a:pt x="489" y="81"/>
                        </a:cubicBezTo>
                        <a:cubicBezTo>
                          <a:pt x="492" y="83"/>
                          <a:pt x="501" y="78"/>
                          <a:pt x="504" y="80"/>
                        </a:cubicBezTo>
                        <a:cubicBezTo>
                          <a:pt x="504" y="88"/>
                          <a:pt x="497" y="90"/>
                          <a:pt x="504" y="93"/>
                        </a:cubicBezTo>
                        <a:cubicBezTo>
                          <a:pt x="510" y="95"/>
                          <a:pt x="534" y="92"/>
                          <a:pt x="541" y="90"/>
                        </a:cubicBezTo>
                        <a:cubicBezTo>
                          <a:pt x="545" y="91"/>
                          <a:pt x="544" y="79"/>
                          <a:pt x="547" y="81"/>
                        </a:cubicBezTo>
                        <a:cubicBezTo>
                          <a:pt x="556" y="87"/>
                          <a:pt x="555" y="71"/>
                          <a:pt x="558" y="81"/>
                        </a:cubicBezTo>
                        <a:cubicBezTo>
                          <a:pt x="562" y="88"/>
                          <a:pt x="582" y="77"/>
                          <a:pt x="588" y="78"/>
                        </a:cubicBezTo>
                        <a:cubicBezTo>
                          <a:pt x="594" y="79"/>
                          <a:pt x="592" y="85"/>
                          <a:pt x="595" y="87"/>
                        </a:cubicBezTo>
                        <a:cubicBezTo>
                          <a:pt x="598" y="89"/>
                          <a:pt x="603" y="88"/>
                          <a:pt x="606" y="89"/>
                        </a:cubicBezTo>
                        <a:cubicBezTo>
                          <a:pt x="609" y="90"/>
                          <a:pt x="610" y="95"/>
                          <a:pt x="615" y="95"/>
                        </a:cubicBezTo>
                        <a:cubicBezTo>
                          <a:pt x="620" y="95"/>
                          <a:pt x="629" y="90"/>
                          <a:pt x="634" y="89"/>
                        </a:cubicBezTo>
                        <a:cubicBezTo>
                          <a:pt x="639" y="88"/>
                          <a:pt x="645" y="85"/>
                          <a:pt x="646" y="87"/>
                        </a:cubicBezTo>
                        <a:cubicBezTo>
                          <a:pt x="647" y="89"/>
                          <a:pt x="641" y="98"/>
                          <a:pt x="642" y="101"/>
                        </a:cubicBezTo>
                        <a:cubicBezTo>
                          <a:pt x="643" y="104"/>
                          <a:pt x="651" y="104"/>
                          <a:pt x="654" y="108"/>
                        </a:cubicBezTo>
                        <a:cubicBezTo>
                          <a:pt x="657" y="112"/>
                          <a:pt x="655" y="118"/>
                          <a:pt x="658" y="122"/>
                        </a:cubicBezTo>
                        <a:cubicBezTo>
                          <a:pt x="661" y="126"/>
                          <a:pt x="668" y="122"/>
                          <a:pt x="669" y="134"/>
                        </a:cubicBezTo>
                        <a:cubicBezTo>
                          <a:pt x="670" y="146"/>
                          <a:pt x="663" y="183"/>
                          <a:pt x="664" y="195"/>
                        </a:cubicBezTo>
                        <a:cubicBezTo>
                          <a:pt x="665" y="207"/>
                          <a:pt x="671" y="204"/>
                          <a:pt x="673" y="209"/>
                        </a:cubicBezTo>
                        <a:cubicBezTo>
                          <a:pt x="675" y="214"/>
                          <a:pt x="679" y="219"/>
                          <a:pt x="679" y="224"/>
                        </a:cubicBezTo>
                        <a:cubicBezTo>
                          <a:pt x="679" y="229"/>
                          <a:pt x="675" y="234"/>
                          <a:pt x="673" y="239"/>
                        </a:cubicBezTo>
                        <a:cubicBezTo>
                          <a:pt x="671" y="244"/>
                          <a:pt x="670" y="251"/>
                          <a:pt x="667" y="255"/>
                        </a:cubicBezTo>
                        <a:cubicBezTo>
                          <a:pt x="664" y="259"/>
                          <a:pt x="657" y="260"/>
                          <a:pt x="652" y="264"/>
                        </a:cubicBezTo>
                        <a:cubicBezTo>
                          <a:pt x="647" y="268"/>
                          <a:pt x="643" y="277"/>
                          <a:pt x="640" y="279"/>
                        </a:cubicBezTo>
                        <a:cubicBezTo>
                          <a:pt x="637" y="281"/>
                          <a:pt x="636" y="274"/>
                          <a:pt x="633" y="275"/>
                        </a:cubicBezTo>
                        <a:cubicBezTo>
                          <a:pt x="630" y="276"/>
                          <a:pt x="623" y="284"/>
                          <a:pt x="619" y="287"/>
                        </a:cubicBezTo>
                        <a:cubicBezTo>
                          <a:pt x="615" y="290"/>
                          <a:pt x="610" y="287"/>
                          <a:pt x="607" y="290"/>
                        </a:cubicBezTo>
                        <a:cubicBezTo>
                          <a:pt x="604" y="293"/>
                          <a:pt x="616" y="300"/>
                          <a:pt x="603" y="303"/>
                        </a:cubicBezTo>
                        <a:cubicBezTo>
                          <a:pt x="600" y="307"/>
                          <a:pt x="592" y="309"/>
                          <a:pt x="588" y="314"/>
                        </a:cubicBezTo>
                        <a:cubicBezTo>
                          <a:pt x="581" y="326"/>
                          <a:pt x="589" y="332"/>
                          <a:pt x="576" y="333"/>
                        </a:cubicBezTo>
                        <a:cubicBezTo>
                          <a:pt x="567" y="336"/>
                          <a:pt x="583" y="352"/>
                          <a:pt x="559" y="351"/>
                        </a:cubicBezTo>
                        <a:cubicBezTo>
                          <a:pt x="555" y="356"/>
                          <a:pt x="553" y="361"/>
                          <a:pt x="549" y="362"/>
                        </a:cubicBezTo>
                        <a:cubicBezTo>
                          <a:pt x="545" y="363"/>
                          <a:pt x="537" y="361"/>
                          <a:pt x="532" y="359"/>
                        </a:cubicBezTo>
                        <a:cubicBezTo>
                          <a:pt x="527" y="357"/>
                          <a:pt x="524" y="353"/>
                          <a:pt x="519" y="350"/>
                        </a:cubicBezTo>
                        <a:cubicBezTo>
                          <a:pt x="514" y="347"/>
                          <a:pt x="507" y="343"/>
                          <a:pt x="501" y="342"/>
                        </a:cubicBezTo>
                        <a:cubicBezTo>
                          <a:pt x="495" y="341"/>
                          <a:pt x="489" y="343"/>
                          <a:pt x="483" y="344"/>
                        </a:cubicBezTo>
                        <a:cubicBezTo>
                          <a:pt x="477" y="345"/>
                          <a:pt x="471" y="348"/>
                          <a:pt x="466" y="351"/>
                        </a:cubicBezTo>
                        <a:cubicBezTo>
                          <a:pt x="461" y="354"/>
                          <a:pt x="456" y="352"/>
                          <a:pt x="451" y="362"/>
                        </a:cubicBezTo>
                        <a:cubicBezTo>
                          <a:pt x="446" y="372"/>
                          <a:pt x="441" y="402"/>
                          <a:pt x="436" y="411"/>
                        </a:cubicBezTo>
                        <a:cubicBezTo>
                          <a:pt x="431" y="420"/>
                          <a:pt x="425" y="417"/>
                          <a:pt x="420" y="419"/>
                        </a:cubicBezTo>
                        <a:cubicBezTo>
                          <a:pt x="415" y="419"/>
                          <a:pt x="416" y="435"/>
                          <a:pt x="405" y="425"/>
                        </a:cubicBezTo>
                        <a:cubicBezTo>
                          <a:pt x="400" y="424"/>
                          <a:pt x="395" y="416"/>
                          <a:pt x="388" y="414"/>
                        </a:cubicBezTo>
                        <a:cubicBezTo>
                          <a:pt x="381" y="412"/>
                          <a:pt x="371" y="413"/>
                          <a:pt x="364" y="414"/>
                        </a:cubicBezTo>
                        <a:cubicBezTo>
                          <a:pt x="357" y="415"/>
                          <a:pt x="355" y="420"/>
                          <a:pt x="349" y="422"/>
                        </a:cubicBezTo>
                        <a:cubicBezTo>
                          <a:pt x="343" y="424"/>
                          <a:pt x="334" y="426"/>
                          <a:pt x="327" y="426"/>
                        </a:cubicBezTo>
                        <a:cubicBezTo>
                          <a:pt x="320" y="436"/>
                          <a:pt x="317" y="418"/>
                          <a:pt x="307" y="422"/>
                        </a:cubicBezTo>
                        <a:cubicBezTo>
                          <a:pt x="301" y="419"/>
                          <a:pt x="300" y="426"/>
                          <a:pt x="291" y="416"/>
                        </a:cubicBezTo>
                        <a:cubicBezTo>
                          <a:pt x="286" y="412"/>
                          <a:pt x="279" y="405"/>
                          <a:pt x="277" y="399"/>
                        </a:cubicBezTo>
                        <a:cubicBezTo>
                          <a:pt x="275" y="393"/>
                          <a:pt x="282" y="387"/>
                          <a:pt x="280" y="381"/>
                        </a:cubicBezTo>
                        <a:cubicBezTo>
                          <a:pt x="278" y="375"/>
                          <a:pt x="272" y="367"/>
                          <a:pt x="267" y="363"/>
                        </a:cubicBezTo>
                        <a:cubicBezTo>
                          <a:pt x="262" y="359"/>
                          <a:pt x="255" y="358"/>
                          <a:pt x="250" y="359"/>
                        </a:cubicBezTo>
                        <a:cubicBezTo>
                          <a:pt x="231" y="352"/>
                          <a:pt x="242" y="373"/>
                          <a:pt x="235" y="366"/>
                        </a:cubicBezTo>
                        <a:cubicBezTo>
                          <a:pt x="230" y="368"/>
                          <a:pt x="224" y="373"/>
                          <a:pt x="220" y="374"/>
                        </a:cubicBezTo>
                        <a:cubicBezTo>
                          <a:pt x="216" y="375"/>
                          <a:pt x="213" y="374"/>
                          <a:pt x="210" y="374"/>
                        </a:cubicBezTo>
                        <a:cubicBezTo>
                          <a:pt x="207" y="374"/>
                          <a:pt x="203" y="372"/>
                          <a:pt x="199" y="375"/>
                        </a:cubicBezTo>
                        <a:cubicBezTo>
                          <a:pt x="195" y="378"/>
                          <a:pt x="191" y="387"/>
                          <a:pt x="186" y="389"/>
                        </a:cubicBezTo>
                        <a:cubicBezTo>
                          <a:pt x="181" y="391"/>
                          <a:pt x="174" y="388"/>
                          <a:pt x="169" y="386"/>
                        </a:cubicBezTo>
                        <a:cubicBezTo>
                          <a:pt x="164" y="384"/>
                          <a:pt x="161" y="378"/>
                          <a:pt x="157" y="375"/>
                        </a:cubicBezTo>
                        <a:cubicBezTo>
                          <a:pt x="153" y="372"/>
                          <a:pt x="148" y="372"/>
                          <a:pt x="145" y="368"/>
                        </a:cubicBezTo>
                        <a:cubicBezTo>
                          <a:pt x="142" y="364"/>
                          <a:pt x="141" y="358"/>
                          <a:pt x="141" y="354"/>
                        </a:cubicBezTo>
                        <a:cubicBezTo>
                          <a:pt x="141" y="350"/>
                          <a:pt x="143" y="346"/>
                          <a:pt x="142" y="344"/>
                        </a:cubicBezTo>
                        <a:cubicBezTo>
                          <a:pt x="141" y="342"/>
                          <a:pt x="136" y="341"/>
                          <a:pt x="133" y="341"/>
                        </a:cubicBezTo>
                        <a:cubicBezTo>
                          <a:pt x="130" y="341"/>
                          <a:pt x="129" y="344"/>
                          <a:pt x="126" y="345"/>
                        </a:cubicBezTo>
                        <a:cubicBezTo>
                          <a:pt x="123" y="346"/>
                          <a:pt x="119" y="347"/>
                          <a:pt x="117" y="348"/>
                        </a:cubicBezTo>
                        <a:cubicBezTo>
                          <a:pt x="115" y="349"/>
                          <a:pt x="116" y="349"/>
                          <a:pt x="114" y="350"/>
                        </a:cubicBezTo>
                        <a:cubicBezTo>
                          <a:pt x="113" y="346"/>
                          <a:pt x="105" y="355"/>
                          <a:pt x="102" y="354"/>
                        </a:cubicBezTo>
                        <a:cubicBezTo>
                          <a:pt x="99" y="353"/>
                          <a:pt x="101" y="347"/>
                          <a:pt x="99" y="345"/>
                        </a:cubicBezTo>
                        <a:cubicBezTo>
                          <a:pt x="97" y="343"/>
                          <a:pt x="91" y="340"/>
                          <a:pt x="87" y="339"/>
                        </a:cubicBezTo>
                        <a:cubicBezTo>
                          <a:pt x="83" y="338"/>
                          <a:pt x="78" y="338"/>
                          <a:pt x="73" y="339"/>
                        </a:cubicBezTo>
                        <a:cubicBezTo>
                          <a:pt x="74" y="336"/>
                          <a:pt x="57" y="350"/>
                          <a:pt x="57" y="342"/>
                        </a:cubicBezTo>
                        <a:cubicBezTo>
                          <a:pt x="53" y="340"/>
                          <a:pt x="51" y="332"/>
                          <a:pt x="49" y="329"/>
                        </a:cubicBezTo>
                        <a:cubicBezTo>
                          <a:pt x="47" y="326"/>
                          <a:pt x="48" y="320"/>
                          <a:pt x="46" y="320"/>
                        </a:cubicBezTo>
                        <a:cubicBezTo>
                          <a:pt x="49" y="315"/>
                          <a:pt x="36" y="338"/>
                          <a:pt x="36" y="332"/>
                        </a:cubicBezTo>
                        <a:cubicBezTo>
                          <a:pt x="33" y="336"/>
                          <a:pt x="31" y="342"/>
                          <a:pt x="27" y="345"/>
                        </a:cubicBezTo>
                        <a:cubicBezTo>
                          <a:pt x="23" y="348"/>
                          <a:pt x="17" y="350"/>
                          <a:pt x="13" y="350"/>
                        </a:cubicBezTo>
                        <a:cubicBezTo>
                          <a:pt x="9" y="350"/>
                          <a:pt x="2" y="348"/>
                          <a:pt x="1" y="345"/>
                        </a:cubicBezTo>
                        <a:cubicBezTo>
                          <a:pt x="0" y="342"/>
                          <a:pt x="5" y="336"/>
                          <a:pt x="6" y="332"/>
                        </a:cubicBezTo>
                        <a:cubicBezTo>
                          <a:pt x="7" y="328"/>
                          <a:pt x="9" y="325"/>
                          <a:pt x="9" y="320"/>
                        </a:cubicBezTo>
                        <a:cubicBezTo>
                          <a:pt x="9" y="315"/>
                          <a:pt x="5" y="306"/>
                          <a:pt x="4" y="300"/>
                        </a:cubicBezTo>
                        <a:cubicBezTo>
                          <a:pt x="3" y="294"/>
                          <a:pt x="3" y="285"/>
                          <a:pt x="4" y="281"/>
                        </a:cubicBezTo>
                        <a:cubicBezTo>
                          <a:pt x="5" y="277"/>
                          <a:pt x="6" y="276"/>
                          <a:pt x="9" y="275"/>
                        </a:cubicBezTo>
                        <a:cubicBezTo>
                          <a:pt x="12" y="274"/>
                          <a:pt x="21" y="278"/>
                          <a:pt x="21" y="276"/>
                        </a:cubicBezTo>
                        <a:cubicBezTo>
                          <a:pt x="21" y="274"/>
                          <a:pt x="12" y="265"/>
                          <a:pt x="10" y="261"/>
                        </a:cubicBezTo>
                        <a:cubicBezTo>
                          <a:pt x="8" y="257"/>
                          <a:pt x="6" y="252"/>
                          <a:pt x="7" y="249"/>
                        </a:cubicBezTo>
                        <a:cubicBezTo>
                          <a:pt x="8" y="246"/>
                          <a:pt x="15" y="241"/>
                          <a:pt x="19" y="240"/>
                        </a:cubicBezTo>
                        <a:cubicBezTo>
                          <a:pt x="27" y="239"/>
                          <a:pt x="28" y="242"/>
                          <a:pt x="31" y="240"/>
                        </a:cubicBezTo>
                        <a:cubicBezTo>
                          <a:pt x="34" y="238"/>
                          <a:pt x="35" y="231"/>
                          <a:pt x="37" y="227"/>
                        </a:cubicBezTo>
                        <a:cubicBezTo>
                          <a:pt x="39" y="223"/>
                          <a:pt x="40" y="218"/>
                          <a:pt x="42" y="215"/>
                        </a:cubicBezTo>
                        <a:cubicBezTo>
                          <a:pt x="44" y="212"/>
                          <a:pt x="50" y="209"/>
                          <a:pt x="52" y="206"/>
                        </a:cubicBezTo>
                        <a:cubicBezTo>
                          <a:pt x="54" y="203"/>
                          <a:pt x="53" y="198"/>
                          <a:pt x="54" y="194"/>
                        </a:cubicBezTo>
                        <a:cubicBezTo>
                          <a:pt x="55" y="190"/>
                          <a:pt x="55" y="186"/>
                          <a:pt x="57" y="182"/>
                        </a:cubicBezTo>
                        <a:cubicBezTo>
                          <a:pt x="59" y="181"/>
                          <a:pt x="59" y="164"/>
                          <a:pt x="66" y="170"/>
                        </a:cubicBezTo>
                        <a:cubicBezTo>
                          <a:pt x="68" y="166"/>
                          <a:pt x="68" y="162"/>
                          <a:pt x="70" y="158"/>
                        </a:cubicBezTo>
                        <a:cubicBezTo>
                          <a:pt x="72" y="154"/>
                          <a:pt x="73" y="148"/>
                          <a:pt x="76" y="146"/>
                        </a:cubicBezTo>
                        <a:cubicBezTo>
                          <a:pt x="79" y="144"/>
                          <a:pt x="84" y="145"/>
                          <a:pt x="87" y="143"/>
                        </a:cubicBezTo>
                        <a:cubicBezTo>
                          <a:pt x="90" y="141"/>
                          <a:pt x="92" y="136"/>
                          <a:pt x="96" y="134"/>
                        </a:cubicBezTo>
                        <a:cubicBezTo>
                          <a:pt x="100" y="132"/>
                          <a:pt x="109" y="129"/>
                          <a:pt x="114" y="131"/>
                        </a:cubicBezTo>
                        <a:cubicBezTo>
                          <a:pt x="119" y="133"/>
                          <a:pt x="120" y="142"/>
                          <a:pt x="124" y="146"/>
                        </a:cubicBezTo>
                        <a:cubicBezTo>
                          <a:pt x="128" y="150"/>
                          <a:pt x="134" y="150"/>
                          <a:pt x="136" y="153"/>
                        </a:cubicBezTo>
                        <a:cubicBezTo>
                          <a:pt x="138" y="156"/>
                          <a:pt x="133" y="165"/>
                          <a:pt x="136" y="167"/>
                        </a:cubicBezTo>
                        <a:cubicBezTo>
                          <a:pt x="139" y="169"/>
                          <a:pt x="148" y="164"/>
                          <a:pt x="151" y="165"/>
                        </a:cubicBezTo>
                        <a:cubicBezTo>
                          <a:pt x="154" y="166"/>
                          <a:pt x="152" y="175"/>
                          <a:pt x="154" y="176"/>
                        </a:cubicBezTo>
                        <a:cubicBezTo>
                          <a:pt x="155" y="172"/>
                          <a:pt x="161" y="163"/>
                          <a:pt x="166" y="173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0" name="Freeform 11">
                    <a:extLst>
                      <a:ext uri="{FF2B5EF4-FFF2-40B4-BE49-F238E27FC236}">
                        <a16:creationId xmlns:a16="http://schemas.microsoft.com/office/drawing/2014/main" id="{7156FD6F-C4C1-447E-B647-7324AB2BE66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430775" y="2264737"/>
                    <a:ext cx="1762854" cy="1996933"/>
                  </a:xfrm>
                  <a:custGeom>
                    <a:avLst/>
                    <a:gdLst/>
                    <a:ahLst/>
                    <a:cxnLst>
                      <a:cxn ang="0">
                        <a:pos x="31" y="112"/>
                      </a:cxn>
                      <a:cxn ang="0">
                        <a:pos x="70" y="110"/>
                      </a:cxn>
                      <a:cxn ang="0">
                        <a:pos x="77" y="86"/>
                      </a:cxn>
                      <a:cxn ang="0">
                        <a:pos x="97" y="68"/>
                      </a:cxn>
                      <a:cxn ang="0">
                        <a:pos x="106" y="56"/>
                      </a:cxn>
                      <a:cxn ang="0">
                        <a:pos x="122" y="44"/>
                      </a:cxn>
                      <a:cxn ang="0">
                        <a:pos x="143" y="38"/>
                      </a:cxn>
                      <a:cxn ang="0">
                        <a:pos x="164" y="16"/>
                      </a:cxn>
                      <a:cxn ang="0">
                        <a:pos x="187" y="7"/>
                      </a:cxn>
                      <a:cxn ang="0">
                        <a:pos x="221" y="10"/>
                      </a:cxn>
                      <a:cxn ang="0">
                        <a:pos x="227" y="40"/>
                      </a:cxn>
                      <a:cxn ang="0">
                        <a:pos x="209" y="56"/>
                      </a:cxn>
                      <a:cxn ang="0">
                        <a:pos x="236" y="59"/>
                      </a:cxn>
                      <a:cxn ang="0">
                        <a:pos x="266" y="71"/>
                      </a:cxn>
                      <a:cxn ang="0">
                        <a:pos x="283" y="86"/>
                      </a:cxn>
                      <a:cxn ang="0">
                        <a:pos x="304" y="101"/>
                      </a:cxn>
                      <a:cxn ang="0">
                        <a:pos x="310" y="119"/>
                      </a:cxn>
                      <a:cxn ang="0">
                        <a:pos x="332" y="127"/>
                      </a:cxn>
                      <a:cxn ang="0">
                        <a:pos x="350" y="145"/>
                      </a:cxn>
                      <a:cxn ang="0">
                        <a:pos x="371" y="164"/>
                      </a:cxn>
                      <a:cxn ang="0">
                        <a:pos x="380" y="197"/>
                      </a:cxn>
                      <a:cxn ang="0">
                        <a:pos x="403" y="212"/>
                      </a:cxn>
                      <a:cxn ang="0">
                        <a:pos x="422" y="226"/>
                      </a:cxn>
                      <a:cxn ang="0">
                        <a:pos x="428" y="244"/>
                      </a:cxn>
                      <a:cxn ang="0">
                        <a:pos x="442" y="253"/>
                      </a:cxn>
                      <a:cxn ang="0">
                        <a:pos x="448" y="287"/>
                      </a:cxn>
                      <a:cxn ang="0">
                        <a:pos x="421" y="328"/>
                      </a:cxn>
                      <a:cxn ang="0">
                        <a:pos x="398" y="362"/>
                      </a:cxn>
                      <a:cxn ang="0">
                        <a:pos x="407" y="401"/>
                      </a:cxn>
                      <a:cxn ang="0">
                        <a:pos x="421" y="439"/>
                      </a:cxn>
                      <a:cxn ang="0">
                        <a:pos x="431" y="463"/>
                      </a:cxn>
                      <a:cxn ang="0">
                        <a:pos x="412" y="484"/>
                      </a:cxn>
                      <a:cxn ang="0">
                        <a:pos x="383" y="484"/>
                      </a:cxn>
                      <a:cxn ang="0">
                        <a:pos x="365" y="469"/>
                      </a:cxn>
                      <a:cxn ang="0">
                        <a:pos x="343" y="439"/>
                      </a:cxn>
                      <a:cxn ang="0">
                        <a:pos x="308" y="437"/>
                      </a:cxn>
                      <a:cxn ang="0">
                        <a:pos x="292" y="445"/>
                      </a:cxn>
                      <a:cxn ang="0">
                        <a:pos x="275" y="478"/>
                      </a:cxn>
                      <a:cxn ang="0">
                        <a:pos x="256" y="485"/>
                      </a:cxn>
                      <a:cxn ang="0">
                        <a:pos x="242" y="496"/>
                      </a:cxn>
                      <a:cxn ang="0">
                        <a:pos x="199" y="521"/>
                      </a:cxn>
                      <a:cxn ang="0">
                        <a:pos x="151" y="509"/>
                      </a:cxn>
                      <a:cxn ang="0">
                        <a:pos x="139" y="487"/>
                      </a:cxn>
                      <a:cxn ang="0">
                        <a:pos x="101" y="458"/>
                      </a:cxn>
                      <a:cxn ang="0">
                        <a:pos x="73" y="443"/>
                      </a:cxn>
                      <a:cxn ang="0">
                        <a:pos x="65" y="409"/>
                      </a:cxn>
                      <a:cxn ang="0">
                        <a:pos x="62" y="373"/>
                      </a:cxn>
                      <a:cxn ang="0">
                        <a:pos x="65" y="350"/>
                      </a:cxn>
                      <a:cxn ang="0">
                        <a:pos x="58" y="314"/>
                      </a:cxn>
                      <a:cxn ang="0">
                        <a:pos x="55" y="265"/>
                      </a:cxn>
                      <a:cxn ang="0">
                        <a:pos x="71" y="245"/>
                      </a:cxn>
                      <a:cxn ang="0">
                        <a:pos x="46" y="229"/>
                      </a:cxn>
                      <a:cxn ang="0">
                        <a:pos x="43" y="196"/>
                      </a:cxn>
                      <a:cxn ang="0">
                        <a:pos x="49" y="184"/>
                      </a:cxn>
                      <a:cxn ang="0">
                        <a:pos x="31" y="181"/>
                      </a:cxn>
                      <a:cxn ang="0">
                        <a:pos x="22" y="170"/>
                      </a:cxn>
                      <a:cxn ang="0">
                        <a:pos x="14" y="148"/>
                      </a:cxn>
                      <a:cxn ang="0">
                        <a:pos x="1" y="125"/>
                      </a:cxn>
                    </a:cxnLst>
                    <a:rect l="0" t="0" r="r" b="b"/>
                    <a:pathLst>
                      <a:path w="456" h="523">
                        <a:moveTo>
                          <a:pt x="16" y="112"/>
                        </a:moveTo>
                        <a:cubicBezTo>
                          <a:pt x="22" y="111"/>
                          <a:pt x="15" y="110"/>
                          <a:pt x="31" y="112"/>
                        </a:cubicBezTo>
                        <a:cubicBezTo>
                          <a:pt x="37" y="112"/>
                          <a:pt x="47" y="113"/>
                          <a:pt x="53" y="113"/>
                        </a:cubicBezTo>
                        <a:cubicBezTo>
                          <a:pt x="59" y="113"/>
                          <a:pt x="67" y="113"/>
                          <a:pt x="70" y="110"/>
                        </a:cubicBezTo>
                        <a:cubicBezTo>
                          <a:pt x="73" y="107"/>
                          <a:pt x="69" y="99"/>
                          <a:pt x="70" y="95"/>
                        </a:cubicBezTo>
                        <a:cubicBezTo>
                          <a:pt x="71" y="91"/>
                          <a:pt x="75" y="89"/>
                          <a:pt x="77" y="86"/>
                        </a:cubicBezTo>
                        <a:cubicBezTo>
                          <a:pt x="79" y="83"/>
                          <a:pt x="80" y="77"/>
                          <a:pt x="83" y="74"/>
                        </a:cubicBezTo>
                        <a:cubicBezTo>
                          <a:pt x="86" y="71"/>
                          <a:pt x="95" y="71"/>
                          <a:pt x="97" y="68"/>
                        </a:cubicBezTo>
                        <a:cubicBezTo>
                          <a:pt x="99" y="65"/>
                          <a:pt x="93" y="55"/>
                          <a:pt x="94" y="53"/>
                        </a:cubicBezTo>
                        <a:cubicBezTo>
                          <a:pt x="95" y="51"/>
                          <a:pt x="103" y="58"/>
                          <a:pt x="106" y="56"/>
                        </a:cubicBezTo>
                        <a:cubicBezTo>
                          <a:pt x="109" y="60"/>
                          <a:pt x="106" y="46"/>
                          <a:pt x="110" y="44"/>
                        </a:cubicBezTo>
                        <a:cubicBezTo>
                          <a:pt x="113" y="42"/>
                          <a:pt x="118" y="45"/>
                          <a:pt x="122" y="44"/>
                        </a:cubicBezTo>
                        <a:cubicBezTo>
                          <a:pt x="126" y="43"/>
                          <a:pt x="133" y="36"/>
                          <a:pt x="136" y="35"/>
                        </a:cubicBezTo>
                        <a:cubicBezTo>
                          <a:pt x="139" y="34"/>
                          <a:pt x="140" y="39"/>
                          <a:pt x="143" y="38"/>
                        </a:cubicBezTo>
                        <a:cubicBezTo>
                          <a:pt x="146" y="41"/>
                          <a:pt x="151" y="20"/>
                          <a:pt x="155" y="31"/>
                        </a:cubicBezTo>
                        <a:cubicBezTo>
                          <a:pt x="158" y="27"/>
                          <a:pt x="161" y="19"/>
                          <a:pt x="164" y="16"/>
                        </a:cubicBezTo>
                        <a:cubicBezTo>
                          <a:pt x="167" y="13"/>
                          <a:pt x="172" y="12"/>
                          <a:pt x="176" y="11"/>
                        </a:cubicBezTo>
                        <a:cubicBezTo>
                          <a:pt x="180" y="10"/>
                          <a:pt x="183" y="9"/>
                          <a:pt x="187" y="7"/>
                        </a:cubicBezTo>
                        <a:cubicBezTo>
                          <a:pt x="191" y="5"/>
                          <a:pt x="196" y="0"/>
                          <a:pt x="202" y="1"/>
                        </a:cubicBezTo>
                        <a:cubicBezTo>
                          <a:pt x="208" y="2"/>
                          <a:pt x="217" y="7"/>
                          <a:pt x="221" y="10"/>
                        </a:cubicBezTo>
                        <a:cubicBezTo>
                          <a:pt x="225" y="13"/>
                          <a:pt x="226" y="17"/>
                          <a:pt x="227" y="22"/>
                        </a:cubicBezTo>
                        <a:cubicBezTo>
                          <a:pt x="225" y="28"/>
                          <a:pt x="237" y="26"/>
                          <a:pt x="227" y="40"/>
                        </a:cubicBezTo>
                        <a:cubicBezTo>
                          <a:pt x="225" y="45"/>
                          <a:pt x="215" y="49"/>
                          <a:pt x="212" y="52"/>
                        </a:cubicBezTo>
                        <a:cubicBezTo>
                          <a:pt x="209" y="55"/>
                          <a:pt x="208" y="55"/>
                          <a:pt x="209" y="56"/>
                        </a:cubicBezTo>
                        <a:cubicBezTo>
                          <a:pt x="210" y="57"/>
                          <a:pt x="214" y="59"/>
                          <a:pt x="218" y="59"/>
                        </a:cubicBezTo>
                        <a:cubicBezTo>
                          <a:pt x="222" y="59"/>
                          <a:pt x="230" y="58"/>
                          <a:pt x="236" y="59"/>
                        </a:cubicBezTo>
                        <a:cubicBezTo>
                          <a:pt x="240" y="62"/>
                          <a:pt x="254" y="55"/>
                          <a:pt x="254" y="67"/>
                        </a:cubicBezTo>
                        <a:cubicBezTo>
                          <a:pt x="259" y="69"/>
                          <a:pt x="263" y="70"/>
                          <a:pt x="266" y="71"/>
                        </a:cubicBezTo>
                        <a:cubicBezTo>
                          <a:pt x="269" y="72"/>
                          <a:pt x="271" y="72"/>
                          <a:pt x="274" y="74"/>
                        </a:cubicBezTo>
                        <a:cubicBezTo>
                          <a:pt x="277" y="76"/>
                          <a:pt x="279" y="83"/>
                          <a:pt x="283" y="86"/>
                        </a:cubicBezTo>
                        <a:cubicBezTo>
                          <a:pt x="287" y="89"/>
                          <a:pt x="292" y="90"/>
                          <a:pt x="295" y="92"/>
                        </a:cubicBezTo>
                        <a:cubicBezTo>
                          <a:pt x="298" y="94"/>
                          <a:pt x="303" y="98"/>
                          <a:pt x="304" y="101"/>
                        </a:cubicBezTo>
                        <a:cubicBezTo>
                          <a:pt x="305" y="104"/>
                          <a:pt x="297" y="109"/>
                          <a:pt x="298" y="112"/>
                        </a:cubicBezTo>
                        <a:cubicBezTo>
                          <a:pt x="295" y="116"/>
                          <a:pt x="315" y="112"/>
                          <a:pt x="310" y="119"/>
                        </a:cubicBezTo>
                        <a:cubicBezTo>
                          <a:pt x="313" y="122"/>
                          <a:pt x="312" y="129"/>
                          <a:pt x="316" y="130"/>
                        </a:cubicBezTo>
                        <a:cubicBezTo>
                          <a:pt x="320" y="131"/>
                          <a:pt x="327" y="126"/>
                          <a:pt x="332" y="127"/>
                        </a:cubicBezTo>
                        <a:cubicBezTo>
                          <a:pt x="337" y="128"/>
                          <a:pt x="341" y="130"/>
                          <a:pt x="344" y="133"/>
                        </a:cubicBezTo>
                        <a:cubicBezTo>
                          <a:pt x="347" y="135"/>
                          <a:pt x="350" y="145"/>
                          <a:pt x="350" y="145"/>
                        </a:cubicBezTo>
                        <a:cubicBezTo>
                          <a:pt x="353" y="150"/>
                          <a:pt x="362" y="148"/>
                          <a:pt x="362" y="148"/>
                        </a:cubicBezTo>
                        <a:cubicBezTo>
                          <a:pt x="364" y="151"/>
                          <a:pt x="375" y="154"/>
                          <a:pt x="371" y="164"/>
                        </a:cubicBezTo>
                        <a:cubicBezTo>
                          <a:pt x="375" y="168"/>
                          <a:pt x="388" y="170"/>
                          <a:pt x="389" y="175"/>
                        </a:cubicBezTo>
                        <a:cubicBezTo>
                          <a:pt x="390" y="180"/>
                          <a:pt x="379" y="192"/>
                          <a:pt x="380" y="197"/>
                        </a:cubicBezTo>
                        <a:cubicBezTo>
                          <a:pt x="381" y="202"/>
                          <a:pt x="393" y="201"/>
                          <a:pt x="397" y="203"/>
                        </a:cubicBezTo>
                        <a:cubicBezTo>
                          <a:pt x="401" y="205"/>
                          <a:pt x="402" y="208"/>
                          <a:pt x="403" y="212"/>
                        </a:cubicBezTo>
                        <a:cubicBezTo>
                          <a:pt x="405" y="222"/>
                          <a:pt x="397" y="216"/>
                          <a:pt x="403" y="224"/>
                        </a:cubicBezTo>
                        <a:cubicBezTo>
                          <a:pt x="404" y="231"/>
                          <a:pt x="417" y="222"/>
                          <a:pt x="422" y="226"/>
                        </a:cubicBezTo>
                        <a:cubicBezTo>
                          <a:pt x="425" y="233"/>
                          <a:pt x="418" y="221"/>
                          <a:pt x="431" y="229"/>
                        </a:cubicBezTo>
                        <a:cubicBezTo>
                          <a:pt x="433" y="231"/>
                          <a:pt x="426" y="241"/>
                          <a:pt x="428" y="244"/>
                        </a:cubicBezTo>
                        <a:cubicBezTo>
                          <a:pt x="430" y="247"/>
                          <a:pt x="441" y="243"/>
                          <a:pt x="443" y="244"/>
                        </a:cubicBezTo>
                        <a:cubicBezTo>
                          <a:pt x="444" y="247"/>
                          <a:pt x="442" y="249"/>
                          <a:pt x="442" y="253"/>
                        </a:cubicBezTo>
                        <a:cubicBezTo>
                          <a:pt x="444" y="257"/>
                          <a:pt x="454" y="260"/>
                          <a:pt x="455" y="266"/>
                        </a:cubicBezTo>
                        <a:cubicBezTo>
                          <a:pt x="456" y="272"/>
                          <a:pt x="451" y="280"/>
                          <a:pt x="448" y="287"/>
                        </a:cubicBezTo>
                        <a:cubicBezTo>
                          <a:pt x="445" y="294"/>
                          <a:pt x="441" y="303"/>
                          <a:pt x="437" y="310"/>
                        </a:cubicBezTo>
                        <a:cubicBezTo>
                          <a:pt x="433" y="317"/>
                          <a:pt x="426" y="322"/>
                          <a:pt x="421" y="328"/>
                        </a:cubicBezTo>
                        <a:cubicBezTo>
                          <a:pt x="416" y="334"/>
                          <a:pt x="408" y="340"/>
                          <a:pt x="404" y="346"/>
                        </a:cubicBezTo>
                        <a:cubicBezTo>
                          <a:pt x="400" y="352"/>
                          <a:pt x="397" y="355"/>
                          <a:pt x="398" y="362"/>
                        </a:cubicBezTo>
                        <a:cubicBezTo>
                          <a:pt x="399" y="369"/>
                          <a:pt x="408" y="382"/>
                          <a:pt x="409" y="388"/>
                        </a:cubicBezTo>
                        <a:cubicBezTo>
                          <a:pt x="410" y="394"/>
                          <a:pt x="405" y="396"/>
                          <a:pt x="407" y="401"/>
                        </a:cubicBezTo>
                        <a:cubicBezTo>
                          <a:pt x="409" y="406"/>
                          <a:pt x="419" y="410"/>
                          <a:pt x="421" y="416"/>
                        </a:cubicBezTo>
                        <a:cubicBezTo>
                          <a:pt x="423" y="422"/>
                          <a:pt x="418" y="434"/>
                          <a:pt x="421" y="439"/>
                        </a:cubicBezTo>
                        <a:cubicBezTo>
                          <a:pt x="424" y="444"/>
                          <a:pt x="437" y="444"/>
                          <a:pt x="439" y="448"/>
                        </a:cubicBezTo>
                        <a:cubicBezTo>
                          <a:pt x="441" y="452"/>
                          <a:pt x="434" y="459"/>
                          <a:pt x="431" y="463"/>
                        </a:cubicBezTo>
                        <a:cubicBezTo>
                          <a:pt x="428" y="467"/>
                          <a:pt x="427" y="470"/>
                          <a:pt x="424" y="473"/>
                        </a:cubicBezTo>
                        <a:cubicBezTo>
                          <a:pt x="421" y="476"/>
                          <a:pt x="416" y="482"/>
                          <a:pt x="412" y="484"/>
                        </a:cubicBezTo>
                        <a:cubicBezTo>
                          <a:pt x="408" y="486"/>
                          <a:pt x="405" y="484"/>
                          <a:pt x="400" y="484"/>
                        </a:cubicBezTo>
                        <a:cubicBezTo>
                          <a:pt x="395" y="484"/>
                          <a:pt x="388" y="485"/>
                          <a:pt x="383" y="484"/>
                        </a:cubicBezTo>
                        <a:cubicBezTo>
                          <a:pt x="378" y="483"/>
                          <a:pt x="373" y="482"/>
                          <a:pt x="370" y="479"/>
                        </a:cubicBezTo>
                        <a:cubicBezTo>
                          <a:pt x="367" y="476"/>
                          <a:pt x="367" y="474"/>
                          <a:pt x="365" y="469"/>
                        </a:cubicBezTo>
                        <a:cubicBezTo>
                          <a:pt x="361" y="464"/>
                          <a:pt x="369" y="463"/>
                          <a:pt x="358" y="448"/>
                        </a:cubicBezTo>
                        <a:cubicBezTo>
                          <a:pt x="354" y="443"/>
                          <a:pt x="348" y="441"/>
                          <a:pt x="343" y="439"/>
                        </a:cubicBezTo>
                        <a:cubicBezTo>
                          <a:pt x="338" y="437"/>
                          <a:pt x="332" y="436"/>
                          <a:pt x="326" y="436"/>
                        </a:cubicBezTo>
                        <a:cubicBezTo>
                          <a:pt x="320" y="436"/>
                          <a:pt x="312" y="435"/>
                          <a:pt x="308" y="437"/>
                        </a:cubicBezTo>
                        <a:cubicBezTo>
                          <a:pt x="304" y="439"/>
                          <a:pt x="305" y="447"/>
                          <a:pt x="302" y="448"/>
                        </a:cubicBezTo>
                        <a:cubicBezTo>
                          <a:pt x="299" y="449"/>
                          <a:pt x="295" y="443"/>
                          <a:pt x="292" y="445"/>
                        </a:cubicBezTo>
                        <a:cubicBezTo>
                          <a:pt x="287" y="443"/>
                          <a:pt x="291" y="465"/>
                          <a:pt x="281" y="458"/>
                        </a:cubicBezTo>
                        <a:cubicBezTo>
                          <a:pt x="278" y="463"/>
                          <a:pt x="278" y="474"/>
                          <a:pt x="275" y="478"/>
                        </a:cubicBezTo>
                        <a:cubicBezTo>
                          <a:pt x="272" y="482"/>
                          <a:pt x="266" y="484"/>
                          <a:pt x="263" y="485"/>
                        </a:cubicBezTo>
                        <a:cubicBezTo>
                          <a:pt x="260" y="486"/>
                          <a:pt x="258" y="483"/>
                          <a:pt x="256" y="485"/>
                        </a:cubicBezTo>
                        <a:cubicBezTo>
                          <a:pt x="252" y="481"/>
                          <a:pt x="260" y="512"/>
                          <a:pt x="253" y="500"/>
                        </a:cubicBezTo>
                        <a:cubicBezTo>
                          <a:pt x="251" y="502"/>
                          <a:pt x="248" y="496"/>
                          <a:pt x="242" y="496"/>
                        </a:cubicBezTo>
                        <a:cubicBezTo>
                          <a:pt x="236" y="496"/>
                          <a:pt x="222" y="495"/>
                          <a:pt x="215" y="499"/>
                        </a:cubicBezTo>
                        <a:cubicBezTo>
                          <a:pt x="208" y="503"/>
                          <a:pt x="207" y="517"/>
                          <a:pt x="199" y="521"/>
                        </a:cubicBezTo>
                        <a:cubicBezTo>
                          <a:pt x="194" y="517"/>
                          <a:pt x="172" y="523"/>
                          <a:pt x="164" y="521"/>
                        </a:cubicBezTo>
                        <a:cubicBezTo>
                          <a:pt x="156" y="519"/>
                          <a:pt x="153" y="514"/>
                          <a:pt x="151" y="509"/>
                        </a:cubicBezTo>
                        <a:cubicBezTo>
                          <a:pt x="149" y="504"/>
                          <a:pt x="153" y="492"/>
                          <a:pt x="151" y="488"/>
                        </a:cubicBezTo>
                        <a:cubicBezTo>
                          <a:pt x="149" y="484"/>
                          <a:pt x="142" y="491"/>
                          <a:pt x="139" y="487"/>
                        </a:cubicBezTo>
                        <a:cubicBezTo>
                          <a:pt x="136" y="483"/>
                          <a:pt x="139" y="466"/>
                          <a:pt x="133" y="461"/>
                        </a:cubicBezTo>
                        <a:cubicBezTo>
                          <a:pt x="124" y="443"/>
                          <a:pt x="111" y="475"/>
                          <a:pt x="101" y="458"/>
                        </a:cubicBezTo>
                        <a:cubicBezTo>
                          <a:pt x="94" y="453"/>
                          <a:pt x="89" y="473"/>
                          <a:pt x="85" y="457"/>
                        </a:cubicBezTo>
                        <a:cubicBezTo>
                          <a:pt x="80" y="455"/>
                          <a:pt x="74" y="448"/>
                          <a:pt x="73" y="443"/>
                        </a:cubicBezTo>
                        <a:cubicBezTo>
                          <a:pt x="72" y="438"/>
                          <a:pt x="77" y="433"/>
                          <a:pt x="76" y="427"/>
                        </a:cubicBezTo>
                        <a:cubicBezTo>
                          <a:pt x="75" y="421"/>
                          <a:pt x="67" y="415"/>
                          <a:pt x="65" y="409"/>
                        </a:cubicBezTo>
                        <a:cubicBezTo>
                          <a:pt x="63" y="403"/>
                          <a:pt x="65" y="397"/>
                          <a:pt x="64" y="391"/>
                        </a:cubicBezTo>
                        <a:cubicBezTo>
                          <a:pt x="63" y="385"/>
                          <a:pt x="61" y="378"/>
                          <a:pt x="62" y="373"/>
                        </a:cubicBezTo>
                        <a:cubicBezTo>
                          <a:pt x="63" y="368"/>
                          <a:pt x="68" y="366"/>
                          <a:pt x="68" y="362"/>
                        </a:cubicBezTo>
                        <a:cubicBezTo>
                          <a:pt x="68" y="358"/>
                          <a:pt x="67" y="354"/>
                          <a:pt x="65" y="350"/>
                        </a:cubicBezTo>
                        <a:cubicBezTo>
                          <a:pt x="63" y="346"/>
                          <a:pt x="56" y="343"/>
                          <a:pt x="55" y="337"/>
                        </a:cubicBezTo>
                        <a:cubicBezTo>
                          <a:pt x="54" y="331"/>
                          <a:pt x="57" y="324"/>
                          <a:pt x="58" y="314"/>
                        </a:cubicBezTo>
                        <a:cubicBezTo>
                          <a:pt x="59" y="304"/>
                          <a:pt x="62" y="283"/>
                          <a:pt x="62" y="275"/>
                        </a:cubicBezTo>
                        <a:cubicBezTo>
                          <a:pt x="62" y="267"/>
                          <a:pt x="55" y="268"/>
                          <a:pt x="55" y="265"/>
                        </a:cubicBezTo>
                        <a:cubicBezTo>
                          <a:pt x="55" y="262"/>
                          <a:pt x="61" y="260"/>
                          <a:pt x="64" y="257"/>
                        </a:cubicBezTo>
                        <a:cubicBezTo>
                          <a:pt x="67" y="254"/>
                          <a:pt x="72" y="248"/>
                          <a:pt x="71" y="245"/>
                        </a:cubicBezTo>
                        <a:cubicBezTo>
                          <a:pt x="70" y="242"/>
                          <a:pt x="63" y="239"/>
                          <a:pt x="59" y="236"/>
                        </a:cubicBezTo>
                        <a:cubicBezTo>
                          <a:pt x="55" y="233"/>
                          <a:pt x="49" y="233"/>
                          <a:pt x="46" y="229"/>
                        </a:cubicBezTo>
                        <a:cubicBezTo>
                          <a:pt x="43" y="225"/>
                          <a:pt x="43" y="216"/>
                          <a:pt x="43" y="211"/>
                        </a:cubicBezTo>
                        <a:cubicBezTo>
                          <a:pt x="43" y="206"/>
                          <a:pt x="41" y="198"/>
                          <a:pt x="43" y="196"/>
                        </a:cubicBezTo>
                        <a:cubicBezTo>
                          <a:pt x="45" y="194"/>
                          <a:pt x="55" y="199"/>
                          <a:pt x="56" y="197"/>
                        </a:cubicBezTo>
                        <a:cubicBezTo>
                          <a:pt x="57" y="195"/>
                          <a:pt x="51" y="187"/>
                          <a:pt x="49" y="184"/>
                        </a:cubicBezTo>
                        <a:cubicBezTo>
                          <a:pt x="47" y="181"/>
                          <a:pt x="44" y="176"/>
                          <a:pt x="41" y="176"/>
                        </a:cubicBezTo>
                        <a:cubicBezTo>
                          <a:pt x="38" y="176"/>
                          <a:pt x="34" y="179"/>
                          <a:pt x="31" y="181"/>
                        </a:cubicBezTo>
                        <a:cubicBezTo>
                          <a:pt x="24" y="175"/>
                          <a:pt x="31" y="189"/>
                          <a:pt x="23" y="188"/>
                        </a:cubicBezTo>
                        <a:cubicBezTo>
                          <a:pt x="25" y="186"/>
                          <a:pt x="18" y="175"/>
                          <a:pt x="22" y="170"/>
                        </a:cubicBezTo>
                        <a:cubicBezTo>
                          <a:pt x="20" y="167"/>
                          <a:pt x="9" y="171"/>
                          <a:pt x="8" y="167"/>
                        </a:cubicBezTo>
                        <a:cubicBezTo>
                          <a:pt x="9" y="165"/>
                          <a:pt x="6" y="151"/>
                          <a:pt x="14" y="148"/>
                        </a:cubicBezTo>
                        <a:cubicBezTo>
                          <a:pt x="14" y="143"/>
                          <a:pt x="10" y="140"/>
                          <a:pt x="8" y="136"/>
                        </a:cubicBezTo>
                        <a:cubicBezTo>
                          <a:pt x="6" y="132"/>
                          <a:pt x="0" y="129"/>
                          <a:pt x="1" y="125"/>
                        </a:cubicBezTo>
                        <a:cubicBezTo>
                          <a:pt x="2" y="121"/>
                          <a:pt x="13" y="115"/>
                          <a:pt x="16" y="112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1" name="Freeform 12">
                    <a:extLst>
                      <a:ext uri="{FF2B5EF4-FFF2-40B4-BE49-F238E27FC236}">
                        <a16:creationId xmlns:a16="http://schemas.microsoft.com/office/drawing/2014/main" id="{83F3ED89-BB05-4B01-9431-78500F80ABE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702657" y="3360569"/>
                    <a:ext cx="3030871" cy="2550575"/>
                  </a:xfrm>
                  <a:custGeom>
                    <a:avLst/>
                    <a:gdLst/>
                    <a:ahLst/>
                    <a:cxnLst>
                      <a:cxn ang="0">
                        <a:pos x="84" y="120"/>
                      </a:cxn>
                      <a:cxn ang="0">
                        <a:pos x="66" y="66"/>
                      </a:cxn>
                      <a:cxn ang="0">
                        <a:pos x="131" y="12"/>
                      </a:cxn>
                      <a:cxn ang="0">
                        <a:pos x="170" y="63"/>
                      </a:cxn>
                      <a:cxn ang="0">
                        <a:pos x="201" y="62"/>
                      </a:cxn>
                      <a:cxn ang="0">
                        <a:pos x="224" y="15"/>
                      </a:cxn>
                      <a:cxn ang="0">
                        <a:pos x="260" y="36"/>
                      </a:cxn>
                      <a:cxn ang="0">
                        <a:pos x="311" y="45"/>
                      </a:cxn>
                      <a:cxn ang="0">
                        <a:pos x="345" y="51"/>
                      </a:cxn>
                      <a:cxn ang="0">
                        <a:pos x="381" y="12"/>
                      </a:cxn>
                      <a:cxn ang="0">
                        <a:pos x="414" y="12"/>
                      </a:cxn>
                      <a:cxn ang="0">
                        <a:pos x="467" y="32"/>
                      </a:cxn>
                      <a:cxn ang="0">
                        <a:pos x="512" y="54"/>
                      </a:cxn>
                      <a:cxn ang="0">
                        <a:pos x="531" y="92"/>
                      </a:cxn>
                      <a:cxn ang="0">
                        <a:pos x="588" y="98"/>
                      </a:cxn>
                      <a:cxn ang="0">
                        <a:pos x="629" y="111"/>
                      </a:cxn>
                      <a:cxn ang="0">
                        <a:pos x="677" y="117"/>
                      </a:cxn>
                      <a:cxn ang="0">
                        <a:pos x="719" y="87"/>
                      </a:cxn>
                      <a:cxn ang="0">
                        <a:pos x="749" y="110"/>
                      </a:cxn>
                      <a:cxn ang="0">
                        <a:pos x="776" y="125"/>
                      </a:cxn>
                      <a:cxn ang="0">
                        <a:pos x="755" y="171"/>
                      </a:cxn>
                      <a:cxn ang="0">
                        <a:pos x="767" y="206"/>
                      </a:cxn>
                      <a:cxn ang="0">
                        <a:pos x="738" y="239"/>
                      </a:cxn>
                      <a:cxn ang="0">
                        <a:pos x="683" y="287"/>
                      </a:cxn>
                      <a:cxn ang="0">
                        <a:pos x="710" y="336"/>
                      </a:cxn>
                      <a:cxn ang="0">
                        <a:pos x="719" y="416"/>
                      </a:cxn>
                      <a:cxn ang="0">
                        <a:pos x="663" y="458"/>
                      </a:cxn>
                      <a:cxn ang="0">
                        <a:pos x="609" y="464"/>
                      </a:cxn>
                      <a:cxn ang="0">
                        <a:pos x="560" y="470"/>
                      </a:cxn>
                      <a:cxn ang="0">
                        <a:pos x="525" y="476"/>
                      </a:cxn>
                      <a:cxn ang="0">
                        <a:pos x="530" y="524"/>
                      </a:cxn>
                      <a:cxn ang="0">
                        <a:pos x="531" y="573"/>
                      </a:cxn>
                      <a:cxn ang="0">
                        <a:pos x="545" y="665"/>
                      </a:cxn>
                      <a:cxn ang="0">
                        <a:pos x="482" y="633"/>
                      </a:cxn>
                      <a:cxn ang="0">
                        <a:pos x="440" y="578"/>
                      </a:cxn>
                      <a:cxn ang="0">
                        <a:pos x="377" y="566"/>
                      </a:cxn>
                      <a:cxn ang="0">
                        <a:pos x="323" y="524"/>
                      </a:cxn>
                      <a:cxn ang="0">
                        <a:pos x="248" y="555"/>
                      </a:cxn>
                      <a:cxn ang="0">
                        <a:pos x="129" y="530"/>
                      </a:cxn>
                      <a:cxn ang="0">
                        <a:pos x="83" y="542"/>
                      </a:cxn>
                      <a:cxn ang="0">
                        <a:pos x="42" y="473"/>
                      </a:cxn>
                      <a:cxn ang="0">
                        <a:pos x="30" y="441"/>
                      </a:cxn>
                      <a:cxn ang="0">
                        <a:pos x="38" y="383"/>
                      </a:cxn>
                      <a:cxn ang="0">
                        <a:pos x="27" y="303"/>
                      </a:cxn>
                      <a:cxn ang="0">
                        <a:pos x="14" y="275"/>
                      </a:cxn>
                      <a:cxn ang="0">
                        <a:pos x="5" y="228"/>
                      </a:cxn>
                      <a:cxn ang="0">
                        <a:pos x="41" y="191"/>
                      </a:cxn>
                      <a:cxn ang="0">
                        <a:pos x="101" y="176"/>
                      </a:cxn>
                    </a:cxnLst>
                    <a:rect l="0" t="0" r="r" b="b"/>
                    <a:pathLst>
                      <a:path w="784" h="668">
                        <a:moveTo>
                          <a:pt x="111" y="161"/>
                        </a:moveTo>
                        <a:cubicBezTo>
                          <a:pt x="122" y="161"/>
                          <a:pt x="90" y="157"/>
                          <a:pt x="87" y="153"/>
                        </a:cubicBezTo>
                        <a:cubicBezTo>
                          <a:pt x="84" y="149"/>
                          <a:pt x="93" y="142"/>
                          <a:pt x="93" y="137"/>
                        </a:cubicBezTo>
                        <a:cubicBezTo>
                          <a:pt x="93" y="132"/>
                          <a:pt x="85" y="121"/>
                          <a:pt x="84" y="120"/>
                        </a:cubicBezTo>
                        <a:cubicBezTo>
                          <a:pt x="83" y="119"/>
                          <a:pt x="88" y="129"/>
                          <a:pt x="86" y="128"/>
                        </a:cubicBezTo>
                        <a:cubicBezTo>
                          <a:pt x="84" y="127"/>
                          <a:pt x="75" y="118"/>
                          <a:pt x="74" y="113"/>
                        </a:cubicBezTo>
                        <a:cubicBezTo>
                          <a:pt x="73" y="108"/>
                          <a:pt x="79" y="107"/>
                          <a:pt x="78" y="99"/>
                        </a:cubicBezTo>
                        <a:cubicBezTo>
                          <a:pt x="77" y="91"/>
                          <a:pt x="64" y="75"/>
                          <a:pt x="66" y="66"/>
                        </a:cubicBezTo>
                        <a:cubicBezTo>
                          <a:pt x="68" y="57"/>
                          <a:pt x="83" y="51"/>
                          <a:pt x="90" y="44"/>
                        </a:cubicBezTo>
                        <a:cubicBezTo>
                          <a:pt x="97" y="37"/>
                          <a:pt x="103" y="31"/>
                          <a:pt x="107" y="24"/>
                        </a:cubicBezTo>
                        <a:cubicBezTo>
                          <a:pt x="111" y="17"/>
                          <a:pt x="113" y="4"/>
                          <a:pt x="117" y="2"/>
                        </a:cubicBezTo>
                        <a:cubicBezTo>
                          <a:pt x="121" y="0"/>
                          <a:pt x="126" y="8"/>
                          <a:pt x="131" y="12"/>
                        </a:cubicBezTo>
                        <a:cubicBezTo>
                          <a:pt x="136" y="16"/>
                          <a:pt x="146" y="21"/>
                          <a:pt x="149" y="26"/>
                        </a:cubicBezTo>
                        <a:cubicBezTo>
                          <a:pt x="152" y="31"/>
                          <a:pt x="147" y="41"/>
                          <a:pt x="150" y="45"/>
                        </a:cubicBezTo>
                        <a:cubicBezTo>
                          <a:pt x="153" y="49"/>
                          <a:pt x="167" y="48"/>
                          <a:pt x="170" y="51"/>
                        </a:cubicBezTo>
                        <a:cubicBezTo>
                          <a:pt x="173" y="54"/>
                          <a:pt x="168" y="58"/>
                          <a:pt x="170" y="63"/>
                        </a:cubicBezTo>
                        <a:cubicBezTo>
                          <a:pt x="172" y="68"/>
                          <a:pt x="178" y="77"/>
                          <a:pt x="182" y="81"/>
                        </a:cubicBezTo>
                        <a:cubicBezTo>
                          <a:pt x="186" y="85"/>
                          <a:pt x="193" y="89"/>
                          <a:pt x="197" y="89"/>
                        </a:cubicBezTo>
                        <a:cubicBezTo>
                          <a:pt x="201" y="89"/>
                          <a:pt x="206" y="88"/>
                          <a:pt x="207" y="84"/>
                        </a:cubicBezTo>
                        <a:cubicBezTo>
                          <a:pt x="208" y="80"/>
                          <a:pt x="202" y="69"/>
                          <a:pt x="201" y="62"/>
                        </a:cubicBezTo>
                        <a:cubicBezTo>
                          <a:pt x="200" y="55"/>
                          <a:pt x="204" y="49"/>
                          <a:pt x="204" y="44"/>
                        </a:cubicBezTo>
                        <a:cubicBezTo>
                          <a:pt x="204" y="39"/>
                          <a:pt x="200" y="36"/>
                          <a:pt x="201" y="33"/>
                        </a:cubicBezTo>
                        <a:cubicBezTo>
                          <a:pt x="202" y="30"/>
                          <a:pt x="208" y="27"/>
                          <a:pt x="212" y="24"/>
                        </a:cubicBezTo>
                        <a:cubicBezTo>
                          <a:pt x="216" y="21"/>
                          <a:pt x="220" y="16"/>
                          <a:pt x="224" y="15"/>
                        </a:cubicBezTo>
                        <a:cubicBezTo>
                          <a:pt x="228" y="14"/>
                          <a:pt x="232" y="19"/>
                          <a:pt x="236" y="20"/>
                        </a:cubicBezTo>
                        <a:cubicBezTo>
                          <a:pt x="240" y="21"/>
                          <a:pt x="249" y="21"/>
                          <a:pt x="251" y="24"/>
                        </a:cubicBezTo>
                        <a:cubicBezTo>
                          <a:pt x="253" y="27"/>
                          <a:pt x="245" y="39"/>
                          <a:pt x="246" y="41"/>
                        </a:cubicBezTo>
                        <a:cubicBezTo>
                          <a:pt x="247" y="43"/>
                          <a:pt x="257" y="34"/>
                          <a:pt x="260" y="36"/>
                        </a:cubicBezTo>
                        <a:cubicBezTo>
                          <a:pt x="263" y="38"/>
                          <a:pt x="263" y="51"/>
                          <a:pt x="267" y="53"/>
                        </a:cubicBezTo>
                        <a:cubicBezTo>
                          <a:pt x="271" y="55"/>
                          <a:pt x="282" y="49"/>
                          <a:pt x="287" y="50"/>
                        </a:cubicBezTo>
                        <a:cubicBezTo>
                          <a:pt x="292" y="51"/>
                          <a:pt x="293" y="57"/>
                          <a:pt x="297" y="56"/>
                        </a:cubicBezTo>
                        <a:cubicBezTo>
                          <a:pt x="301" y="55"/>
                          <a:pt x="308" y="45"/>
                          <a:pt x="311" y="45"/>
                        </a:cubicBezTo>
                        <a:cubicBezTo>
                          <a:pt x="314" y="45"/>
                          <a:pt x="315" y="58"/>
                          <a:pt x="317" y="57"/>
                        </a:cubicBezTo>
                        <a:cubicBezTo>
                          <a:pt x="319" y="56"/>
                          <a:pt x="322" y="42"/>
                          <a:pt x="326" y="39"/>
                        </a:cubicBezTo>
                        <a:cubicBezTo>
                          <a:pt x="330" y="36"/>
                          <a:pt x="336" y="36"/>
                          <a:pt x="339" y="38"/>
                        </a:cubicBezTo>
                        <a:cubicBezTo>
                          <a:pt x="342" y="40"/>
                          <a:pt x="342" y="51"/>
                          <a:pt x="345" y="51"/>
                        </a:cubicBezTo>
                        <a:cubicBezTo>
                          <a:pt x="348" y="51"/>
                          <a:pt x="353" y="43"/>
                          <a:pt x="356" y="38"/>
                        </a:cubicBezTo>
                        <a:cubicBezTo>
                          <a:pt x="359" y="33"/>
                          <a:pt x="360" y="24"/>
                          <a:pt x="363" y="23"/>
                        </a:cubicBezTo>
                        <a:cubicBezTo>
                          <a:pt x="366" y="22"/>
                          <a:pt x="372" y="31"/>
                          <a:pt x="375" y="29"/>
                        </a:cubicBezTo>
                        <a:cubicBezTo>
                          <a:pt x="378" y="27"/>
                          <a:pt x="377" y="15"/>
                          <a:pt x="381" y="12"/>
                        </a:cubicBezTo>
                        <a:cubicBezTo>
                          <a:pt x="385" y="9"/>
                          <a:pt x="396" y="7"/>
                          <a:pt x="399" y="9"/>
                        </a:cubicBezTo>
                        <a:cubicBezTo>
                          <a:pt x="402" y="11"/>
                          <a:pt x="395" y="22"/>
                          <a:pt x="398" y="23"/>
                        </a:cubicBezTo>
                        <a:cubicBezTo>
                          <a:pt x="401" y="24"/>
                          <a:pt x="417" y="16"/>
                          <a:pt x="420" y="14"/>
                        </a:cubicBezTo>
                        <a:cubicBezTo>
                          <a:pt x="423" y="12"/>
                          <a:pt x="411" y="12"/>
                          <a:pt x="414" y="12"/>
                        </a:cubicBezTo>
                        <a:cubicBezTo>
                          <a:pt x="417" y="12"/>
                          <a:pt x="434" y="13"/>
                          <a:pt x="440" y="15"/>
                        </a:cubicBezTo>
                        <a:cubicBezTo>
                          <a:pt x="446" y="17"/>
                          <a:pt x="451" y="23"/>
                          <a:pt x="453" y="27"/>
                        </a:cubicBezTo>
                        <a:cubicBezTo>
                          <a:pt x="455" y="31"/>
                          <a:pt x="453" y="37"/>
                          <a:pt x="455" y="38"/>
                        </a:cubicBezTo>
                        <a:cubicBezTo>
                          <a:pt x="457" y="39"/>
                          <a:pt x="462" y="33"/>
                          <a:pt x="467" y="32"/>
                        </a:cubicBezTo>
                        <a:cubicBezTo>
                          <a:pt x="472" y="31"/>
                          <a:pt x="482" y="29"/>
                          <a:pt x="485" y="30"/>
                        </a:cubicBezTo>
                        <a:cubicBezTo>
                          <a:pt x="488" y="31"/>
                          <a:pt x="483" y="38"/>
                          <a:pt x="486" y="39"/>
                        </a:cubicBezTo>
                        <a:cubicBezTo>
                          <a:pt x="489" y="40"/>
                          <a:pt x="502" y="36"/>
                          <a:pt x="506" y="39"/>
                        </a:cubicBezTo>
                        <a:cubicBezTo>
                          <a:pt x="510" y="42"/>
                          <a:pt x="511" y="50"/>
                          <a:pt x="512" y="54"/>
                        </a:cubicBezTo>
                        <a:cubicBezTo>
                          <a:pt x="513" y="58"/>
                          <a:pt x="509" y="61"/>
                          <a:pt x="512" y="63"/>
                        </a:cubicBezTo>
                        <a:cubicBezTo>
                          <a:pt x="515" y="65"/>
                          <a:pt x="527" y="63"/>
                          <a:pt x="531" y="65"/>
                        </a:cubicBezTo>
                        <a:cubicBezTo>
                          <a:pt x="535" y="67"/>
                          <a:pt x="537" y="73"/>
                          <a:pt x="537" y="77"/>
                        </a:cubicBezTo>
                        <a:cubicBezTo>
                          <a:pt x="537" y="81"/>
                          <a:pt x="530" y="91"/>
                          <a:pt x="531" y="92"/>
                        </a:cubicBezTo>
                        <a:cubicBezTo>
                          <a:pt x="532" y="93"/>
                          <a:pt x="540" y="87"/>
                          <a:pt x="545" y="86"/>
                        </a:cubicBezTo>
                        <a:cubicBezTo>
                          <a:pt x="550" y="85"/>
                          <a:pt x="559" y="84"/>
                          <a:pt x="561" y="86"/>
                        </a:cubicBezTo>
                        <a:cubicBezTo>
                          <a:pt x="570" y="87"/>
                          <a:pt x="556" y="97"/>
                          <a:pt x="560" y="99"/>
                        </a:cubicBezTo>
                        <a:cubicBezTo>
                          <a:pt x="564" y="101"/>
                          <a:pt x="583" y="96"/>
                          <a:pt x="588" y="98"/>
                        </a:cubicBezTo>
                        <a:cubicBezTo>
                          <a:pt x="593" y="100"/>
                          <a:pt x="588" y="113"/>
                          <a:pt x="591" y="114"/>
                        </a:cubicBezTo>
                        <a:cubicBezTo>
                          <a:pt x="594" y="115"/>
                          <a:pt x="591" y="107"/>
                          <a:pt x="606" y="107"/>
                        </a:cubicBezTo>
                        <a:cubicBezTo>
                          <a:pt x="621" y="107"/>
                          <a:pt x="590" y="118"/>
                          <a:pt x="614" y="120"/>
                        </a:cubicBezTo>
                        <a:cubicBezTo>
                          <a:pt x="618" y="121"/>
                          <a:pt x="625" y="109"/>
                          <a:pt x="629" y="111"/>
                        </a:cubicBezTo>
                        <a:cubicBezTo>
                          <a:pt x="633" y="113"/>
                          <a:pt x="632" y="128"/>
                          <a:pt x="636" y="129"/>
                        </a:cubicBezTo>
                        <a:cubicBezTo>
                          <a:pt x="640" y="130"/>
                          <a:pt x="650" y="119"/>
                          <a:pt x="656" y="119"/>
                        </a:cubicBezTo>
                        <a:cubicBezTo>
                          <a:pt x="662" y="119"/>
                          <a:pt x="668" y="129"/>
                          <a:pt x="671" y="129"/>
                        </a:cubicBezTo>
                        <a:cubicBezTo>
                          <a:pt x="674" y="129"/>
                          <a:pt x="677" y="121"/>
                          <a:pt x="677" y="117"/>
                        </a:cubicBezTo>
                        <a:cubicBezTo>
                          <a:pt x="677" y="113"/>
                          <a:pt x="670" y="106"/>
                          <a:pt x="671" y="102"/>
                        </a:cubicBezTo>
                        <a:cubicBezTo>
                          <a:pt x="672" y="98"/>
                          <a:pt x="679" y="93"/>
                          <a:pt x="683" y="90"/>
                        </a:cubicBezTo>
                        <a:cubicBezTo>
                          <a:pt x="687" y="87"/>
                          <a:pt x="692" y="85"/>
                          <a:pt x="698" y="84"/>
                        </a:cubicBezTo>
                        <a:cubicBezTo>
                          <a:pt x="704" y="83"/>
                          <a:pt x="715" y="85"/>
                          <a:pt x="719" y="87"/>
                        </a:cubicBezTo>
                        <a:cubicBezTo>
                          <a:pt x="723" y="89"/>
                          <a:pt x="720" y="97"/>
                          <a:pt x="723" y="98"/>
                        </a:cubicBezTo>
                        <a:cubicBezTo>
                          <a:pt x="726" y="99"/>
                          <a:pt x="735" y="93"/>
                          <a:pt x="737" y="96"/>
                        </a:cubicBezTo>
                        <a:cubicBezTo>
                          <a:pt x="739" y="99"/>
                          <a:pt x="733" y="112"/>
                          <a:pt x="735" y="114"/>
                        </a:cubicBezTo>
                        <a:cubicBezTo>
                          <a:pt x="737" y="116"/>
                          <a:pt x="747" y="109"/>
                          <a:pt x="749" y="110"/>
                        </a:cubicBezTo>
                        <a:cubicBezTo>
                          <a:pt x="751" y="111"/>
                          <a:pt x="748" y="118"/>
                          <a:pt x="749" y="120"/>
                        </a:cubicBezTo>
                        <a:cubicBezTo>
                          <a:pt x="750" y="122"/>
                          <a:pt x="755" y="120"/>
                          <a:pt x="758" y="120"/>
                        </a:cubicBezTo>
                        <a:cubicBezTo>
                          <a:pt x="761" y="120"/>
                          <a:pt x="765" y="118"/>
                          <a:pt x="768" y="119"/>
                        </a:cubicBezTo>
                        <a:cubicBezTo>
                          <a:pt x="771" y="120"/>
                          <a:pt x="774" y="122"/>
                          <a:pt x="776" y="125"/>
                        </a:cubicBezTo>
                        <a:cubicBezTo>
                          <a:pt x="778" y="128"/>
                          <a:pt x="784" y="134"/>
                          <a:pt x="782" y="138"/>
                        </a:cubicBezTo>
                        <a:cubicBezTo>
                          <a:pt x="780" y="142"/>
                          <a:pt x="766" y="147"/>
                          <a:pt x="764" y="150"/>
                        </a:cubicBezTo>
                        <a:cubicBezTo>
                          <a:pt x="762" y="153"/>
                          <a:pt x="774" y="155"/>
                          <a:pt x="773" y="158"/>
                        </a:cubicBezTo>
                        <a:cubicBezTo>
                          <a:pt x="772" y="161"/>
                          <a:pt x="758" y="167"/>
                          <a:pt x="755" y="171"/>
                        </a:cubicBezTo>
                        <a:cubicBezTo>
                          <a:pt x="752" y="175"/>
                          <a:pt x="753" y="183"/>
                          <a:pt x="755" y="185"/>
                        </a:cubicBezTo>
                        <a:cubicBezTo>
                          <a:pt x="757" y="187"/>
                          <a:pt x="764" y="184"/>
                          <a:pt x="765" y="186"/>
                        </a:cubicBezTo>
                        <a:cubicBezTo>
                          <a:pt x="766" y="188"/>
                          <a:pt x="758" y="194"/>
                          <a:pt x="758" y="197"/>
                        </a:cubicBezTo>
                        <a:cubicBezTo>
                          <a:pt x="758" y="200"/>
                          <a:pt x="766" y="203"/>
                          <a:pt x="767" y="206"/>
                        </a:cubicBezTo>
                        <a:cubicBezTo>
                          <a:pt x="768" y="209"/>
                          <a:pt x="765" y="213"/>
                          <a:pt x="764" y="216"/>
                        </a:cubicBezTo>
                        <a:cubicBezTo>
                          <a:pt x="763" y="219"/>
                          <a:pt x="764" y="223"/>
                          <a:pt x="759" y="225"/>
                        </a:cubicBezTo>
                        <a:cubicBezTo>
                          <a:pt x="754" y="227"/>
                          <a:pt x="736" y="226"/>
                          <a:pt x="732" y="228"/>
                        </a:cubicBezTo>
                        <a:cubicBezTo>
                          <a:pt x="728" y="230"/>
                          <a:pt x="740" y="235"/>
                          <a:pt x="738" y="239"/>
                        </a:cubicBezTo>
                        <a:cubicBezTo>
                          <a:pt x="736" y="243"/>
                          <a:pt x="725" y="251"/>
                          <a:pt x="717" y="255"/>
                        </a:cubicBezTo>
                        <a:cubicBezTo>
                          <a:pt x="709" y="259"/>
                          <a:pt x="693" y="260"/>
                          <a:pt x="690" y="263"/>
                        </a:cubicBezTo>
                        <a:cubicBezTo>
                          <a:pt x="687" y="266"/>
                          <a:pt x="700" y="268"/>
                          <a:pt x="699" y="272"/>
                        </a:cubicBezTo>
                        <a:cubicBezTo>
                          <a:pt x="698" y="276"/>
                          <a:pt x="683" y="284"/>
                          <a:pt x="683" y="287"/>
                        </a:cubicBezTo>
                        <a:cubicBezTo>
                          <a:pt x="683" y="290"/>
                          <a:pt x="697" y="286"/>
                          <a:pt x="699" y="290"/>
                        </a:cubicBezTo>
                        <a:cubicBezTo>
                          <a:pt x="720" y="305"/>
                          <a:pt x="694" y="310"/>
                          <a:pt x="696" y="314"/>
                        </a:cubicBezTo>
                        <a:cubicBezTo>
                          <a:pt x="698" y="318"/>
                          <a:pt x="711" y="308"/>
                          <a:pt x="713" y="312"/>
                        </a:cubicBezTo>
                        <a:cubicBezTo>
                          <a:pt x="733" y="331"/>
                          <a:pt x="709" y="332"/>
                          <a:pt x="710" y="336"/>
                        </a:cubicBezTo>
                        <a:cubicBezTo>
                          <a:pt x="711" y="340"/>
                          <a:pt x="719" y="336"/>
                          <a:pt x="722" y="339"/>
                        </a:cubicBezTo>
                        <a:cubicBezTo>
                          <a:pt x="725" y="342"/>
                          <a:pt x="728" y="344"/>
                          <a:pt x="728" y="354"/>
                        </a:cubicBezTo>
                        <a:lnTo>
                          <a:pt x="725" y="399"/>
                        </a:lnTo>
                        <a:cubicBezTo>
                          <a:pt x="724" y="409"/>
                          <a:pt x="721" y="411"/>
                          <a:pt x="719" y="416"/>
                        </a:cubicBezTo>
                        <a:cubicBezTo>
                          <a:pt x="717" y="421"/>
                          <a:pt x="713" y="427"/>
                          <a:pt x="710" y="431"/>
                        </a:cubicBezTo>
                        <a:cubicBezTo>
                          <a:pt x="707" y="435"/>
                          <a:pt x="701" y="439"/>
                          <a:pt x="698" y="443"/>
                        </a:cubicBezTo>
                        <a:cubicBezTo>
                          <a:pt x="695" y="447"/>
                          <a:pt x="696" y="456"/>
                          <a:pt x="690" y="458"/>
                        </a:cubicBezTo>
                        <a:cubicBezTo>
                          <a:pt x="684" y="460"/>
                          <a:pt x="669" y="457"/>
                          <a:pt x="663" y="458"/>
                        </a:cubicBezTo>
                        <a:cubicBezTo>
                          <a:pt x="657" y="459"/>
                          <a:pt x="655" y="464"/>
                          <a:pt x="651" y="464"/>
                        </a:cubicBezTo>
                        <a:cubicBezTo>
                          <a:pt x="647" y="464"/>
                          <a:pt x="640" y="455"/>
                          <a:pt x="636" y="455"/>
                        </a:cubicBezTo>
                        <a:cubicBezTo>
                          <a:pt x="632" y="455"/>
                          <a:pt x="631" y="461"/>
                          <a:pt x="627" y="462"/>
                        </a:cubicBezTo>
                        <a:cubicBezTo>
                          <a:pt x="623" y="463"/>
                          <a:pt x="614" y="464"/>
                          <a:pt x="609" y="464"/>
                        </a:cubicBezTo>
                        <a:cubicBezTo>
                          <a:pt x="604" y="464"/>
                          <a:pt x="602" y="462"/>
                          <a:pt x="599" y="464"/>
                        </a:cubicBezTo>
                        <a:cubicBezTo>
                          <a:pt x="596" y="466"/>
                          <a:pt x="594" y="476"/>
                          <a:pt x="590" y="476"/>
                        </a:cubicBezTo>
                        <a:cubicBezTo>
                          <a:pt x="586" y="476"/>
                          <a:pt x="578" y="466"/>
                          <a:pt x="573" y="465"/>
                        </a:cubicBezTo>
                        <a:cubicBezTo>
                          <a:pt x="568" y="464"/>
                          <a:pt x="562" y="472"/>
                          <a:pt x="560" y="470"/>
                        </a:cubicBezTo>
                        <a:cubicBezTo>
                          <a:pt x="558" y="468"/>
                          <a:pt x="563" y="458"/>
                          <a:pt x="560" y="455"/>
                        </a:cubicBezTo>
                        <a:cubicBezTo>
                          <a:pt x="557" y="452"/>
                          <a:pt x="548" y="452"/>
                          <a:pt x="543" y="453"/>
                        </a:cubicBezTo>
                        <a:cubicBezTo>
                          <a:pt x="538" y="454"/>
                          <a:pt x="531" y="458"/>
                          <a:pt x="528" y="462"/>
                        </a:cubicBezTo>
                        <a:cubicBezTo>
                          <a:pt x="525" y="466"/>
                          <a:pt x="524" y="472"/>
                          <a:pt x="525" y="476"/>
                        </a:cubicBezTo>
                        <a:cubicBezTo>
                          <a:pt x="526" y="480"/>
                          <a:pt x="532" y="485"/>
                          <a:pt x="533" y="489"/>
                        </a:cubicBezTo>
                        <a:cubicBezTo>
                          <a:pt x="534" y="493"/>
                          <a:pt x="530" y="498"/>
                          <a:pt x="531" y="503"/>
                        </a:cubicBezTo>
                        <a:cubicBezTo>
                          <a:pt x="532" y="508"/>
                          <a:pt x="537" y="516"/>
                          <a:pt x="537" y="519"/>
                        </a:cubicBezTo>
                        <a:cubicBezTo>
                          <a:pt x="537" y="522"/>
                          <a:pt x="530" y="519"/>
                          <a:pt x="530" y="524"/>
                        </a:cubicBezTo>
                        <a:cubicBezTo>
                          <a:pt x="530" y="529"/>
                          <a:pt x="536" y="543"/>
                          <a:pt x="534" y="548"/>
                        </a:cubicBezTo>
                        <a:cubicBezTo>
                          <a:pt x="532" y="553"/>
                          <a:pt x="522" y="547"/>
                          <a:pt x="519" y="552"/>
                        </a:cubicBezTo>
                        <a:cubicBezTo>
                          <a:pt x="516" y="557"/>
                          <a:pt x="511" y="575"/>
                          <a:pt x="513" y="578"/>
                        </a:cubicBezTo>
                        <a:cubicBezTo>
                          <a:pt x="515" y="581"/>
                          <a:pt x="510" y="573"/>
                          <a:pt x="531" y="573"/>
                        </a:cubicBezTo>
                        <a:cubicBezTo>
                          <a:pt x="552" y="573"/>
                          <a:pt x="520" y="607"/>
                          <a:pt x="521" y="614"/>
                        </a:cubicBezTo>
                        <a:cubicBezTo>
                          <a:pt x="522" y="621"/>
                          <a:pt x="526" y="608"/>
                          <a:pt x="534" y="617"/>
                        </a:cubicBezTo>
                        <a:cubicBezTo>
                          <a:pt x="542" y="626"/>
                          <a:pt x="532" y="631"/>
                          <a:pt x="534" y="639"/>
                        </a:cubicBezTo>
                        <a:cubicBezTo>
                          <a:pt x="536" y="647"/>
                          <a:pt x="546" y="662"/>
                          <a:pt x="545" y="665"/>
                        </a:cubicBezTo>
                        <a:cubicBezTo>
                          <a:pt x="544" y="668"/>
                          <a:pt x="535" y="661"/>
                          <a:pt x="530" y="659"/>
                        </a:cubicBezTo>
                        <a:cubicBezTo>
                          <a:pt x="525" y="657"/>
                          <a:pt x="520" y="656"/>
                          <a:pt x="515" y="653"/>
                        </a:cubicBezTo>
                        <a:cubicBezTo>
                          <a:pt x="510" y="650"/>
                          <a:pt x="503" y="644"/>
                          <a:pt x="498" y="641"/>
                        </a:cubicBezTo>
                        <a:cubicBezTo>
                          <a:pt x="493" y="638"/>
                          <a:pt x="487" y="637"/>
                          <a:pt x="482" y="633"/>
                        </a:cubicBezTo>
                        <a:cubicBezTo>
                          <a:pt x="477" y="629"/>
                          <a:pt x="475" y="623"/>
                          <a:pt x="471" y="617"/>
                        </a:cubicBezTo>
                        <a:cubicBezTo>
                          <a:pt x="467" y="611"/>
                          <a:pt x="460" y="603"/>
                          <a:pt x="456" y="599"/>
                        </a:cubicBezTo>
                        <a:cubicBezTo>
                          <a:pt x="452" y="595"/>
                          <a:pt x="453" y="595"/>
                          <a:pt x="450" y="591"/>
                        </a:cubicBezTo>
                        <a:cubicBezTo>
                          <a:pt x="447" y="587"/>
                          <a:pt x="444" y="582"/>
                          <a:pt x="440" y="578"/>
                        </a:cubicBezTo>
                        <a:cubicBezTo>
                          <a:pt x="436" y="574"/>
                          <a:pt x="431" y="569"/>
                          <a:pt x="428" y="566"/>
                        </a:cubicBezTo>
                        <a:cubicBezTo>
                          <a:pt x="425" y="563"/>
                          <a:pt x="427" y="558"/>
                          <a:pt x="423" y="557"/>
                        </a:cubicBezTo>
                        <a:cubicBezTo>
                          <a:pt x="402" y="553"/>
                          <a:pt x="423" y="560"/>
                          <a:pt x="401" y="558"/>
                        </a:cubicBezTo>
                        <a:cubicBezTo>
                          <a:pt x="383" y="572"/>
                          <a:pt x="383" y="567"/>
                          <a:pt x="377" y="566"/>
                        </a:cubicBezTo>
                        <a:cubicBezTo>
                          <a:pt x="371" y="565"/>
                          <a:pt x="367" y="557"/>
                          <a:pt x="363" y="554"/>
                        </a:cubicBezTo>
                        <a:cubicBezTo>
                          <a:pt x="359" y="551"/>
                          <a:pt x="358" y="551"/>
                          <a:pt x="353" y="545"/>
                        </a:cubicBezTo>
                        <a:cubicBezTo>
                          <a:pt x="327" y="542"/>
                          <a:pt x="337" y="519"/>
                          <a:pt x="332" y="516"/>
                        </a:cubicBezTo>
                        <a:cubicBezTo>
                          <a:pt x="327" y="513"/>
                          <a:pt x="327" y="522"/>
                          <a:pt x="323" y="524"/>
                        </a:cubicBezTo>
                        <a:cubicBezTo>
                          <a:pt x="319" y="526"/>
                          <a:pt x="314" y="525"/>
                          <a:pt x="309" y="527"/>
                        </a:cubicBezTo>
                        <a:cubicBezTo>
                          <a:pt x="304" y="529"/>
                          <a:pt x="296" y="534"/>
                          <a:pt x="290" y="537"/>
                        </a:cubicBezTo>
                        <a:cubicBezTo>
                          <a:pt x="284" y="540"/>
                          <a:pt x="280" y="545"/>
                          <a:pt x="273" y="548"/>
                        </a:cubicBezTo>
                        <a:cubicBezTo>
                          <a:pt x="266" y="551"/>
                          <a:pt x="255" y="555"/>
                          <a:pt x="248" y="555"/>
                        </a:cubicBezTo>
                        <a:cubicBezTo>
                          <a:pt x="241" y="551"/>
                          <a:pt x="237" y="555"/>
                          <a:pt x="230" y="551"/>
                        </a:cubicBezTo>
                        <a:cubicBezTo>
                          <a:pt x="226" y="569"/>
                          <a:pt x="220" y="540"/>
                          <a:pt x="216" y="537"/>
                        </a:cubicBezTo>
                        <a:cubicBezTo>
                          <a:pt x="212" y="534"/>
                          <a:pt x="221" y="531"/>
                          <a:pt x="207" y="530"/>
                        </a:cubicBezTo>
                        <a:cubicBezTo>
                          <a:pt x="182" y="545"/>
                          <a:pt x="143" y="528"/>
                          <a:pt x="129" y="530"/>
                        </a:cubicBezTo>
                        <a:cubicBezTo>
                          <a:pt x="115" y="532"/>
                          <a:pt x="127" y="539"/>
                          <a:pt x="125" y="540"/>
                        </a:cubicBezTo>
                        <a:cubicBezTo>
                          <a:pt x="123" y="541"/>
                          <a:pt x="120" y="535"/>
                          <a:pt x="114" y="537"/>
                        </a:cubicBezTo>
                        <a:cubicBezTo>
                          <a:pt x="108" y="539"/>
                          <a:pt x="95" y="550"/>
                          <a:pt x="90" y="551"/>
                        </a:cubicBezTo>
                        <a:cubicBezTo>
                          <a:pt x="85" y="552"/>
                          <a:pt x="87" y="541"/>
                          <a:pt x="83" y="542"/>
                        </a:cubicBezTo>
                        <a:cubicBezTo>
                          <a:pt x="79" y="543"/>
                          <a:pt x="71" y="558"/>
                          <a:pt x="65" y="560"/>
                        </a:cubicBezTo>
                        <a:cubicBezTo>
                          <a:pt x="59" y="562"/>
                          <a:pt x="51" y="560"/>
                          <a:pt x="47" y="557"/>
                        </a:cubicBezTo>
                        <a:cubicBezTo>
                          <a:pt x="43" y="554"/>
                          <a:pt x="42" y="557"/>
                          <a:pt x="41" y="543"/>
                        </a:cubicBezTo>
                        <a:cubicBezTo>
                          <a:pt x="40" y="529"/>
                          <a:pt x="43" y="485"/>
                          <a:pt x="42" y="473"/>
                        </a:cubicBezTo>
                        <a:cubicBezTo>
                          <a:pt x="41" y="461"/>
                          <a:pt x="37" y="473"/>
                          <a:pt x="35" y="471"/>
                        </a:cubicBezTo>
                        <a:cubicBezTo>
                          <a:pt x="33" y="469"/>
                          <a:pt x="28" y="466"/>
                          <a:pt x="30" y="462"/>
                        </a:cubicBezTo>
                        <a:cubicBezTo>
                          <a:pt x="32" y="458"/>
                          <a:pt x="45" y="449"/>
                          <a:pt x="45" y="446"/>
                        </a:cubicBezTo>
                        <a:cubicBezTo>
                          <a:pt x="45" y="443"/>
                          <a:pt x="34" y="443"/>
                          <a:pt x="30" y="441"/>
                        </a:cubicBezTo>
                        <a:cubicBezTo>
                          <a:pt x="26" y="439"/>
                          <a:pt x="25" y="435"/>
                          <a:pt x="23" y="431"/>
                        </a:cubicBezTo>
                        <a:cubicBezTo>
                          <a:pt x="21" y="427"/>
                          <a:pt x="18" y="421"/>
                          <a:pt x="18" y="416"/>
                        </a:cubicBezTo>
                        <a:cubicBezTo>
                          <a:pt x="18" y="411"/>
                          <a:pt x="18" y="403"/>
                          <a:pt x="21" y="398"/>
                        </a:cubicBezTo>
                        <a:cubicBezTo>
                          <a:pt x="24" y="393"/>
                          <a:pt x="35" y="392"/>
                          <a:pt x="38" y="383"/>
                        </a:cubicBezTo>
                        <a:cubicBezTo>
                          <a:pt x="41" y="374"/>
                          <a:pt x="42" y="352"/>
                          <a:pt x="41" y="344"/>
                        </a:cubicBezTo>
                        <a:cubicBezTo>
                          <a:pt x="40" y="336"/>
                          <a:pt x="33" y="337"/>
                          <a:pt x="30" y="333"/>
                        </a:cubicBezTo>
                        <a:cubicBezTo>
                          <a:pt x="27" y="329"/>
                          <a:pt x="24" y="325"/>
                          <a:pt x="23" y="320"/>
                        </a:cubicBezTo>
                        <a:cubicBezTo>
                          <a:pt x="22" y="315"/>
                          <a:pt x="29" y="307"/>
                          <a:pt x="27" y="303"/>
                        </a:cubicBezTo>
                        <a:cubicBezTo>
                          <a:pt x="25" y="299"/>
                          <a:pt x="14" y="300"/>
                          <a:pt x="12" y="297"/>
                        </a:cubicBezTo>
                        <a:cubicBezTo>
                          <a:pt x="10" y="294"/>
                          <a:pt x="13" y="291"/>
                          <a:pt x="15" y="288"/>
                        </a:cubicBezTo>
                        <a:cubicBezTo>
                          <a:pt x="17" y="285"/>
                          <a:pt x="24" y="278"/>
                          <a:pt x="24" y="276"/>
                        </a:cubicBezTo>
                        <a:cubicBezTo>
                          <a:pt x="24" y="274"/>
                          <a:pt x="15" y="277"/>
                          <a:pt x="14" y="275"/>
                        </a:cubicBezTo>
                        <a:cubicBezTo>
                          <a:pt x="13" y="273"/>
                          <a:pt x="16" y="267"/>
                          <a:pt x="15" y="263"/>
                        </a:cubicBezTo>
                        <a:cubicBezTo>
                          <a:pt x="14" y="259"/>
                          <a:pt x="10" y="257"/>
                          <a:pt x="8" y="254"/>
                        </a:cubicBezTo>
                        <a:cubicBezTo>
                          <a:pt x="6" y="251"/>
                          <a:pt x="0" y="249"/>
                          <a:pt x="0" y="245"/>
                        </a:cubicBezTo>
                        <a:cubicBezTo>
                          <a:pt x="0" y="241"/>
                          <a:pt x="3" y="233"/>
                          <a:pt x="5" y="228"/>
                        </a:cubicBezTo>
                        <a:cubicBezTo>
                          <a:pt x="7" y="223"/>
                          <a:pt x="11" y="217"/>
                          <a:pt x="14" y="213"/>
                        </a:cubicBezTo>
                        <a:cubicBezTo>
                          <a:pt x="17" y="209"/>
                          <a:pt x="18" y="206"/>
                          <a:pt x="21" y="201"/>
                        </a:cubicBezTo>
                        <a:cubicBezTo>
                          <a:pt x="24" y="196"/>
                          <a:pt x="27" y="182"/>
                          <a:pt x="30" y="180"/>
                        </a:cubicBezTo>
                        <a:cubicBezTo>
                          <a:pt x="33" y="178"/>
                          <a:pt x="37" y="189"/>
                          <a:pt x="41" y="191"/>
                        </a:cubicBezTo>
                        <a:cubicBezTo>
                          <a:pt x="45" y="193"/>
                          <a:pt x="53" y="191"/>
                          <a:pt x="57" y="192"/>
                        </a:cubicBezTo>
                        <a:cubicBezTo>
                          <a:pt x="61" y="193"/>
                          <a:pt x="63" y="196"/>
                          <a:pt x="68" y="197"/>
                        </a:cubicBezTo>
                        <a:cubicBezTo>
                          <a:pt x="73" y="198"/>
                          <a:pt x="81" y="200"/>
                          <a:pt x="86" y="197"/>
                        </a:cubicBezTo>
                        <a:cubicBezTo>
                          <a:pt x="82" y="187"/>
                          <a:pt x="96" y="186"/>
                          <a:pt x="101" y="176"/>
                        </a:cubicBezTo>
                        <a:cubicBezTo>
                          <a:pt x="106" y="177"/>
                          <a:pt x="111" y="159"/>
                          <a:pt x="111" y="16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2" name="Freeform 13">
                    <a:extLst>
                      <a:ext uri="{FF2B5EF4-FFF2-40B4-BE49-F238E27FC236}">
                        <a16:creationId xmlns:a16="http://schemas.microsoft.com/office/drawing/2014/main" id="{92FFE027-3D68-4A01-B55D-0FBB396C350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460431" y="6121145"/>
                    <a:ext cx="2389131" cy="1870931"/>
                  </a:xfrm>
                  <a:custGeom>
                    <a:avLst/>
                    <a:gdLst/>
                    <a:ahLst/>
                    <a:cxnLst>
                      <a:cxn ang="0">
                        <a:pos x="241" y="29"/>
                      </a:cxn>
                      <a:cxn ang="0">
                        <a:pos x="264" y="14"/>
                      </a:cxn>
                      <a:cxn ang="0">
                        <a:pos x="307" y="11"/>
                      </a:cxn>
                      <a:cxn ang="0">
                        <a:pos x="337" y="8"/>
                      </a:cxn>
                      <a:cxn ang="0">
                        <a:pos x="363" y="2"/>
                      </a:cxn>
                      <a:cxn ang="0">
                        <a:pos x="384" y="35"/>
                      </a:cxn>
                      <a:cxn ang="0">
                        <a:pos x="384" y="68"/>
                      </a:cxn>
                      <a:cxn ang="0">
                        <a:pos x="405" y="87"/>
                      </a:cxn>
                      <a:cxn ang="0">
                        <a:pos x="408" y="113"/>
                      </a:cxn>
                      <a:cxn ang="0">
                        <a:pos x="412" y="128"/>
                      </a:cxn>
                      <a:cxn ang="0">
                        <a:pos x="442" y="134"/>
                      </a:cxn>
                      <a:cxn ang="0">
                        <a:pos x="487" y="152"/>
                      </a:cxn>
                      <a:cxn ang="0">
                        <a:pos x="495" y="183"/>
                      </a:cxn>
                      <a:cxn ang="0">
                        <a:pos x="546" y="206"/>
                      </a:cxn>
                      <a:cxn ang="0">
                        <a:pos x="552" y="255"/>
                      </a:cxn>
                      <a:cxn ang="0">
                        <a:pos x="594" y="339"/>
                      </a:cxn>
                      <a:cxn ang="0">
                        <a:pos x="616" y="374"/>
                      </a:cxn>
                      <a:cxn ang="0">
                        <a:pos x="600" y="380"/>
                      </a:cxn>
                      <a:cxn ang="0">
                        <a:pos x="582" y="384"/>
                      </a:cxn>
                      <a:cxn ang="0">
                        <a:pos x="561" y="371"/>
                      </a:cxn>
                      <a:cxn ang="0">
                        <a:pos x="534" y="365"/>
                      </a:cxn>
                      <a:cxn ang="0">
                        <a:pos x="502" y="360"/>
                      </a:cxn>
                      <a:cxn ang="0">
                        <a:pos x="472" y="350"/>
                      </a:cxn>
                      <a:cxn ang="0">
                        <a:pos x="445" y="363"/>
                      </a:cxn>
                      <a:cxn ang="0">
                        <a:pos x="429" y="383"/>
                      </a:cxn>
                      <a:cxn ang="0">
                        <a:pos x="424" y="410"/>
                      </a:cxn>
                      <a:cxn ang="0">
                        <a:pos x="414" y="444"/>
                      </a:cxn>
                      <a:cxn ang="0">
                        <a:pos x="384" y="437"/>
                      </a:cxn>
                      <a:cxn ang="0">
                        <a:pos x="325" y="429"/>
                      </a:cxn>
                      <a:cxn ang="0">
                        <a:pos x="286" y="413"/>
                      </a:cxn>
                      <a:cxn ang="0">
                        <a:pos x="256" y="426"/>
                      </a:cxn>
                      <a:cxn ang="0">
                        <a:pos x="234" y="437"/>
                      </a:cxn>
                      <a:cxn ang="0">
                        <a:pos x="187" y="489"/>
                      </a:cxn>
                      <a:cxn ang="0">
                        <a:pos x="175" y="461"/>
                      </a:cxn>
                      <a:cxn ang="0">
                        <a:pos x="157" y="444"/>
                      </a:cxn>
                      <a:cxn ang="0">
                        <a:pos x="106" y="425"/>
                      </a:cxn>
                      <a:cxn ang="0">
                        <a:pos x="90" y="399"/>
                      </a:cxn>
                      <a:cxn ang="0">
                        <a:pos x="58" y="369"/>
                      </a:cxn>
                      <a:cxn ang="0">
                        <a:pos x="57" y="291"/>
                      </a:cxn>
                      <a:cxn ang="0">
                        <a:pos x="69" y="251"/>
                      </a:cxn>
                      <a:cxn ang="0">
                        <a:pos x="63" y="213"/>
                      </a:cxn>
                      <a:cxn ang="0">
                        <a:pos x="58" y="195"/>
                      </a:cxn>
                      <a:cxn ang="0">
                        <a:pos x="49" y="186"/>
                      </a:cxn>
                      <a:cxn ang="0">
                        <a:pos x="45" y="168"/>
                      </a:cxn>
                      <a:cxn ang="0">
                        <a:pos x="36" y="149"/>
                      </a:cxn>
                      <a:cxn ang="0">
                        <a:pos x="22" y="122"/>
                      </a:cxn>
                      <a:cxn ang="0">
                        <a:pos x="7" y="81"/>
                      </a:cxn>
                      <a:cxn ang="0">
                        <a:pos x="10" y="45"/>
                      </a:cxn>
                      <a:cxn ang="0">
                        <a:pos x="64" y="29"/>
                      </a:cxn>
                      <a:cxn ang="0">
                        <a:pos x="121" y="41"/>
                      </a:cxn>
                      <a:cxn ang="0">
                        <a:pos x="162" y="33"/>
                      </a:cxn>
                    </a:cxnLst>
                    <a:rect l="0" t="0" r="r" b="b"/>
                    <a:pathLst>
                      <a:path w="618" h="490">
                        <a:moveTo>
                          <a:pt x="172" y="26"/>
                        </a:moveTo>
                        <a:cubicBezTo>
                          <a:pt x="256" y="29"/>
                          <a:pt x="157" y="24"/>
                          <a:pt x="241" y="29"/>
                        </a:cubicBezTo>
                        <a:cubicBezTo>
                          <a:pt x="257" y="34"/>
                          <a:pt x="253" y="26"/>
                          <a:pt x="259" y="24"/>
                        </a:cubicBezTo>
                        <a:cubicBezTo>
                          <a:pt x="263" y="22"/>
                          <a:pt x="260" y="16"/>
                          <a:pt x="264" y="14"/>
                        </a:cubicBezTo>
                        <a:cubicBezTo>
                          <a:pt x="268" y="12"/>
                          <a:pt x="275" y="9"/>
                          <a:pt x="282" y="9"/>
                        </a:cubicBezTo>
                        <a:cubicBezTo>
                          <a:pt x="289" y="9"/>
                          <a:pt x="301" y="12"/>
                          <a:pt x="307" y="11"/>
                        </a:cubicBezTo>
                        <a:cubicBezTo>
                          <a:pt x="313" y="10"/>
                          <a:pt x="314" y="4"/>
                          <a:pt x="319" y="3"/>
                        </a:cubicBezTo>
                        <a:cubicBezTo>
                          <a:pt x="324" y="2"/>
                          <a:pt x="332" y="7"/>
                          <a:pt x="337" y="8"/>
                        </a:cubicBezTo>
                        <a:cubicBezTo>
                          <a:pt x="342" y="9"/>
                          <a:pt x="347" y="12"/>
                          <a:pt x="351" y="11"/>
                        </a:cubicBezTo>
                        <a:cubicBezTo>
                          <a:pt x="355" y="10"/>
                          <a:pt x="358" y="3"/>
                          <a:pt x="363" y="2"/>
                        </a:cubicBezTo>
                        <a:cubicBezTo>
                          <a:pt x="368" y="1"/>
                          <a:pt x="379" y="0"/>
                          <a:pt x="382" y="5"/>
                        </a:cubicBezTo>
                        <a:cubicBezTo>
                          <a:pt x="385" y="10"/>
                          <a:pt x="386" y="27"/>
                          <a:pt x="384" y="35"/>
                        </a:cubicBezTo>
                        <a:cubicBezTo>
                          <a:pt x="385" y="43"/>
                          <a:pt x="367" y="24"/>
                          <a:pt x="372" y="51"/>
                        </a:cubicBezTo>
                        <a:cubicBezTo>
                          <a:pt x="372" y="56"/>
                          <a:pt x="379" y="64"/>
                          <a:pt x="384" y="68"/>
                        </a:cubicBezTo>
                        <a:cubicBezTo>
                          <a:pt x="389" y="72"/>
                          <a:pt x="396" y="72"/>
                          <a:pt x="399" y="75"/>
                        </a:cubicBezTo>
                        <a:cubicBezTo>
                          <a:pt x="402" y="78"/>
                          <a:pt x="405" y="83"/>
                          <a:pt x="405" y="87"/>
                        </a:cubicBezTo>
                        <a:cubicBezTo>
                          <a:pt x="405" y="91"/>
                          <a:pt x="402" y="94"/>
                          <a:pt x="402" y="98"/>
                        </a:cubicBezTo>
                        <a:cubicBezTo>
                          <a:pt x="402" y="102"/>
                          <a:pt x="409" y="110"/>
                          <a:pt x="408" y="113"/>
                        </a:cubicBezTo>
                        <a:cubicBezTo>
                          <a:pt x="407" y="116"/>
                          <a:pt x="396" y="117"/>
                          <a:pt x="397" y="119"/>
                        </a:cubicBezTo>
                        <a:cubicBezTo>
                          <a:pt x="398" y="121"/>
                          <a:pt x="408" y="125"/>
                          <a:pt x="412" y="128"/>
                        </a:cubicBezTo>
                        <a:cubicBezTo>
                          <a:pt x="416" y="131"/>
                          <a:pt x="419" y="137"/>
                          <a:pt x="424" y="138"/>
                        </a:cubicBezTo>
                        <a:cubicBezTo>
                          <a:pt x="429" y="139"/>
                          <a:pt x="435" y="134"/>
                          <a:pt x="442" y="134"/>
                        </a:cubicBezTo>
                        <a:cubicBezTo>
                          <a:pt x="449" y="134"/>
                          <a:pt x="458" y="137"/>
                          <a:pt x="465" y="140"/>
                        </a:cubicBezTo>
                        <a:cubicBezTo>
                          <a:pt x="472" y="143"/>
                          <a:pt x="483" y="147"/>
                          <a:pt x="487" y="152"/>
                        </a:cubicBezTo>
                        <a:cubicBezTo>
                          <a:pt x="491" y="157"/>
                          <a:pt x="488" y="163"/>
                          <a:pt x="489" y="168"/>
                        </a:cubicBezTo>
                        <a:cubicBezTo>
                          <a:pt x="490" y="173"/>
                          <a:pt x="490" y="179"/>
                          <a:pt x="495" y="183"/>
                        </a:cubicBezTo>
                        <a:cubicBezTo>
                          <a:pt x="500" y="187"/>
                          <a:pt x="511" y="190"/>
                          <a:pt x="519" y="194"/>
                        </a:cubicBezTo>
                        <a:cubicBezTo>
                          <a:pt x="527" y="198"/>
                          <a:pt x="540" y="199"/>
                          <a:pt x="546" y="206"/>
                        </a:cubicBezTo>
                        <a:cubicBezTo>
                          <a:pt x="543" y="215"/>
                          <a:pt x="555" y="226"/>
                          <a:pt x="556" y="234"/>
                        </a:cubicBezTo>
                        <a:cubicBezTo>
                          <a:pt x="557" y="242"/>
                          <a:pt x="548" y="239"/>
                          <a:pt x="552" y="255"/>
                        </a:cubicBezTo>
                        <a:cubicBezTo>
                          <a:pt x="556" y="271"/>
                          <a:pt x="570" y="316"/>
                          <a:pt x="577" y="330"/>
                        </a:cubicBezTo>
                        <a:cubicBezTo>
                          <a:pt x="584" y="344"/>
                          <a:pt x="588" y="336"/>
                          <a:pt x="594" y="339"/>
                        </a:cubicBezTo>
                        <a:cubicBezTo>
                          <a:pt x="600" y="342"/>
                          <a:pt x="609" y="344"/>
                          <a:pt x="613" y="350"/>
                        </a:cubicBezTo>
                        <a:cubicBezTo>
                          <a:pt x="617" y="356"/>
                          <a:pt x="618" y="371"/>
                          <a:pt x="616" y="374"/>
                        </a:cubicBezTo>
                        <a:cubicBezTo>
                          <a:pt x="614" y="377"/>
                          <a:pt x="601" y="368"/>
                          <a:pt x="598" y="369"/>
                        </a:cubicBezTo>
                        <a:cubicBezTo>
                          <a:pt x="595" y="370"/>
                          <a:pt x="602" y="379"/>
                          <a:pt x="600" y="380"/>
                        </a:cubicBezTo>
                        <a:cubicBezTo>
                          <a:pt x="598" y="381"/>
                          <a:pt x="589" y="376"/>
                          <a:pt x="586" y="377"/>
                        </a:cubicBezTo>
                        <a:cubicBezTo>
                          <a:pt x="583" y="378"/>
                          <a:pt x="585" y="383"/>
                          <a:pt x="582" y="384"/>
                        </a:cubicBezTo>
                        <a:cubicBezTo>
                          <a:pt x="579" y="385"/>
                          <a:pt x="570" y="383"/>
                          <a:pt x="567" y="381"/>
                        </a:cubicBezTo>
                        <a:cubicBezTo>
                          <a:pt x="564" y="379"/>
                          <a:pt x="564" y="372"/>
                          <a:pt x="561" y="371"/>
                        </a:cubicBezTo>
                        <a:cubicBezTo>
                          <a:pt x="558" y="370"/>
                          <a:pt x="551" y="379"/>
                          <a:pt x="547" y="378"/>
                        </a:cubicBezTo>
                        <a:cubicBezTo>
                          <a:pt x="543" y="377"/>
                          <a:pt x="538" y="369"/>
                          <a:pt x="534" y="365"/>
                        </a:cubicBezTo>
                        <a:cubicBezTo>
                          <a:pt x="530" y="361"/>
                          <a:pt x="525" y="354"/>
                          <a:pt x="520" y="353"/>
                        </a:cubicBezTo>
                        <a:cubicBezTo>
                          <a:pt x="515" y="352"/>
                          <a:pt x="507" y="360"/>
                          <a:pt x="502" y="360"/>
                        </a:cubicBezTo>
                        <a:cubicBezTo>
                          <a:pt x="497" y="360"/>
                          <a:pt x="497" y="353"/>
                          <a:pt x="492" y="351"/>
                        </a:cubicBezTo>
                        <a:cubicBezTo>
                          <a:pt x="487" y="349"/>
                          <a:pt x="479" y="350"/>
                          <a:pt x="472" y="350"/>
                        </a:cubicBezTo>
                        <a:cubicBezTo>
                          <a:pt x="465" y="350"/>
                          <a:pt x="454" y="348"/>
                          <a:pt x="450" y="350"/>
                        </a:cubicBezTo>
                        <a:cubicBezTo>
                          <a:pt x="446" y="352"/>
                          <a:pt x="449" y="360"/>
                          <a:pt x="445" y="363"/>
                        </a:cubicBezTo>
                        <a:cubicBezTo>
                          <a:pt x="441" y="366"/>
                          <a:pt x="426" y="366"/>
                          <a:pt x="423" y="369"/>
                        </a:cubicBezTo>
                        <a:cubicBezTo>
                          <a:pt x="420" y="372"/>
                          <a:pt x="429" y="378"/>
                          <a:pt x="429" y="383"/>
                        </a:cubicBezTo>
                        <a:cubicBezTo>
                          <a:pt x="429" y="388"/>
                          <a:pt x="421" y="394"/>
                          <a:pt x="420" y="398"/>
                        </a:cubicBezTo>
                        <a:cubicBezTo>
                          <a:pt x="419" y="402"/>
                          <a:pt x="425" y="407"/>
                          <a:pt x="424" y="410"/>
                        </a:cubicBezTo>
                        <a:cubicBezTo>
                          <a:pt x="423" y="413"/>
                          <a:pt x="414" y="410"/>
                          <a:pt x="412" y="416"/>
                        </a:cubicBezTo>
                        <a:cubicBezTo>
                          <a:pt x="410" y="422"/>
                          <a:pt x="417" y="439"/>
                          <a:pt x="414" y="444"/>
                        </a:cubicBezTo>
                        <a:cubicBezTo>
                          <a:pt x="411" y="449"/>
                          <a:pt x="399" y="447"/>
                          <a:pt x="394" y="446"/>
                        </a:cubicBezTo>
                        <a:cubicBezTo>
                          <a:pt x="389" y="445"/>
                          <a:pt x="388" y="440"/>
                          <a:pt x="384" y="437"/>
                        </a:cubicBezTo>
                        <a:cubicBezTo>
                          <a:pt x="377" y="444"/>
                          <a:pt x="378" y="423"/>
                          <a:pt x="367" y="425"/>
                        </a:cubicBezTo>
                        <a:cubicBezTo>
                          <a:pt x="356" y="432"/>
                          <a:pt x="338" y="427"/>
                          <a:pt x="325" y="429"/>
                        </a:cubicBezTo>
                        <a:cubicBezTo>
                          <a:pt x="313" y="440"/>
                          <a:pt x="322" y="417"/>
                          <a:pt x="316" y="414"/>
                        </a:cubicBezTo>
                        <a:cubicBezTo>
                          <a:pt x="310" y="411"/>
                          <a:pt x="293" y="413"/>
                          <a:pt x="286" y="413"/>
                        </a:cubicBezTo>
                        <a:cubicBezTo>
                          <a:pt x="279" y="413"/>
                          <a:pt x="278" y="414"/>
                          <a:pt x="273" y="416"/>
                        </a:cubicBezTo>
                        <a:cubicBezTo>
                          <a:pt x="271" y="414"/>
                          <a:pt x="258" y="427"/>
                          <a:pt x="256" y="426"/>
                        </a:cubicBezTo>
                        <a:cubicBezTo>
                          <a:pt x="254" y="438"/>
                          <a:pt x="247" y="427"/>
                          <a:pt x="244" y="429"/>
                        </a:cubicBezTo>
                        <a:cubicBezTo>
                          <a:pt x="241" y="431"/>
                          <a:pt x="238" y="431"/>
                          <a:pt x="234" y="437"/>
                        </a:cubicBezTo>
                        <a:cubicBezTo>
                          <a:pt x="230" y="443"/>
                          <a:pt x="228" y="455"/>
                          <a:pt x="220" y="464"/>
                        </a:cubicBezTo>
                        <a:cubicBezTo>
                          <a:pt x="198" y="486"/>
                          <a:pt x="194" y="488"/>
                          <a:pt x="187" y="489"/>
                        </a:cubicBezTo>
                        <a:cubicBezTo>
                          <a:pt x="180" y="490"/>
                          <a:pt x="182" y="478"/>
                          <a:pt x="180" y="473"/>
                        </a:cubicBezTo>
                        <a:cubicBezTo>
                          <a:pt x="174" y="469"/>
                          <a:pt x="182" y="463"/>
                          <a:pt x="175" y="461"/>
                        </a:cubicBezTo>
                        <a:cubicBezTo>
                          <a:pt x="170" y="458"/>
                          <a:pt x="170" y="460"/>
                          <a:pt x="165" y="458"/>
                        </a:cubicBezTo>
                        <a:cubicBezTo>
                          <a:pt x="161" y="456"/>
                          <a:pt x="161" y="446"/>
                          <a:pt x="157" y="444"/>
                        </a:cubicBezTo>
                        <a:cubicBezTo>
                          <a:pt x="149" y="452"/>
                          <a:pt x="137" y="434"/>
                          <a:pt x="129" y="431"/>
                        </a:cubicBezTo>
                        <a:cubicBezTo>
                          <a:pt x="121" y="428"/>
                          <a:pt x="110" y="428"/>
                          <a:pt x="106" y="425"/>
                        </a:cubicBezTo>
                        <a:cubicBezTo>
                          <a:pt x="102" y="422"/>
                          <a:pt x="105" y="415"/>
                          <a:pt x="102" y="411"/>
                        </a:cubicBezTo>
                        <a:cubicBezTo>
                          <a:pt x="99" y="407"/>
                          <a:pt x="93" y="403"/>
                          <a:pt x="90" y="399"/>
                        </a:cubicBezTo>
                        <a:cubicBezTo>
                          <a:pt x="87" y="395"/>
                          <a:pt x="86" y="389"/>
                          <a:pt x="81" y="384"/>
                        </a:cubicBezTo>
                        <a:cubicBezTo>
                          <a:pt x="76" y="379"/>
                          <a:pt x="62" y="380"/>
                          <a:pt x="58" y="369"/>
                        </a:cubicBezTo>
                        <a:cubicBezTo>
                          <a:pt x="44" y="369"/>
                          <a:pt x="54" y="333"/>
                          <a:pt x="55" y="320"/>
                        </a:cubicBezTo>
                        <a:cubicBezTo>
                          <a:pt x="55" y="307"/>
                          <a:pt x="55" y="299"/>
                          <a:pt x="57" y="291"/>
                        </a:cubicBezTo>
                        <a:cubicBezTo>
                          <a:pt x="59" y="283"/>
                          <a:pt x="67" y="279"/>
                          <a:pt x="69" y="272"/>
                        </a:cubicBezTo>
                        <a:cubicBezTo>
                          <a:pt x="71" y="265"/>
                          <a:pt x="69" y="259"/>
                          <a:pt x="69" y="251"/>
                        </a:cubicBezTo>
                        <a:cubicBezTo>
                          <a:pt x="64" y="231"/>
                          <a:pt x="75" y="244"/>
                          <a:pt x="66" y="225"/>
                        </a:cubicBezTo>
                        <a:cubicBezTo>
                          <a:pt x="59" y="221"/>
                          <a:pt x="64" y="217"/>
                          <a:pt x="63" y="213"/>
                        </a:cubicBezTo>
                        <a:cubicBezTo>
                          <a:pt x="62" y="209"/>
                          <a:pt x="59" y="206"/>
                          <a:pt x="58" y="203"/>
                        </a:cubicBezTo>
                        <a:cubicBezTo>
                          <a:pt x="57" y="200"/>
                          <a:pt x="59" y="197"/>
                          <a:pt x="58" y="195"/>
                        </a:cubicBezTo>
                        <a:cubicBezTo>
                          <a:pt x="57" y="193"/>
                          <a:pt x="55" y="192"/>
                          <a:pt x="54" y="191"/>
                        </a:cubicBezTo>
                        <a:cubicBezTo>
                          <a:pt x="53" y="190"/>
                          <a:pt x="50" y="189"/>
                          <a:pt x="49" y="186"/>
                        </a:cubicBezTo>
                        <a:cubicBezTo>
                          <a:pt x="48" y="183"/>
                          <a:pt x="50" y="177"/>
                          <a:pt x="49" y="174"/>
                        </a:cubicBezTo>
                        <a:cubicBezTo>
                          <a:pt x="48" y="171"/>
                          <a:pt x="46" y="170"/>
                          <a:pt x="45" y="168"/>
                        </a:cubicBezTo>
                        <a:cubicBezTo>
                          <a:pt x="44" y="166"/>
                          <a:pt x="46" y="165"/>
                          <a:pt x="45" y="162"/>
                        </a:cubicBezTo>
                        <a:cubicBezTo>
                          <a:pt x="44" y="159"/>
                          <a:pt x="40" y="153"/>
                          <a:pt x="36" y="149"/>
                        </a:cubicBezTo>
                        <a:cubicBezTo>
                          <a:pt x="32" y="145"/>
                          <a:pt x="24" y="141"/>
                          <a:pt x="22" y="137"/>
                        </a:cubicBezTo>
                        <a:cubicBezTo>
                          <a:pt x="20" y="133"/>
                          <a:pt x="23" y="126"/>
                          <a:pt x="22" y="122"/>
                        </a:cubicBezTo>
                        <a:cubicBezTo>
                          <a:pt x="21" y="118"/>
                          <a:pt x="18" y="117"/>
                          <a:pt x="16" y="110"/>
                        </a:cubicBezTo>
                        <a:cubicBezTo>
                          <a:pt x="14" y="103"/>
                          <a:pt x="9" y="89"/>
                          <a:pt x="7" y="81"/>
                        </a:cubicBezTo>
                        <a:cubicBezTo>
                          <a:pt x="5" y="73"/>
                          <a:pt x="0" y="69"/>
                          <a:pt x="1" y="63"/>
                        </a:cubicBezTo>
                        <a:cubicBezTo>
                          <a:pt x="2" y="57"/>
                          <a:pt x="5" y="50"/>
                          <a:pt x="10" y="45"/>
                        </a:cubicBezTo>
                        <a:cubicBezTo>
                          <a:pt x="11" y="25"/>
                          <a:pt x="22" y="43"/>
                          <a:pt x="30" y="30"/>
                        </a:cubicBezTo>
                        <a:cubicBezTo>
                          <a:pt x="29" y="20"/>
                          <a:pt x="58" y="27"/>
                          <a:pt x="64" y="29"/>
                        </a:cubicBezTo>
                        <a:cubicBezTo>
                          <a:pt x="72" y="30"/>
                          <a:pt x="67" y="37"/>
                          <a:pt x="76" y="39"/>
                        </a:cubicBezTo>
                        <a:cubicBezTo>
                          <a:pt x="85" y="41"/>
                          <a:pt x="111" y="42"/>
                          <a:pt x="121" y="41"/>
                        </a:cubicBezTo>
                        <a:cubicBezTo>
                          <a:pt x="131" y="40"/>
                          <a:pt x="129" y="36"/>
                          <a:pt x="136" y="35"/>
                        </a:cubicBezTo>
                        <a:cubicBezTo>
                          <a:pt x="143" y="34"/>
                          <a:pt x="156" y="34"/>
                          <a:pt x="162" y="33"/>
                        </a:cubicBezTo>
                        <a:cubicBezTo>
                          <a:pt x="168" y="32"/>
                          <a:pt x="170" y="27"/>
                          <a:pt x="172" y="26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3" name="Freeform 14">
                    <a:extLst>
                      <a:ext uri="{FF2B5EF4-FFF2-40B4-BE49-F238E27FC236}">
                        <a16:creationId xmlns:a16="http://schemas.microsoft.com/office/drawing/2014/main" id="{66DFCDEF-D71E-40D1-B94D-8B53F1E1A3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890816" y="5323137"/>
                    <a:ext cx="2922626" cy="2210754"/>
                  </a:xfrm>
                  <a:custGeom>
                    <a:avLst/>
                    <a:gdLst/>
                    <a:ahLst/>
                    <a:cxnLst>
                      <a:cxn ang="0">
                        <a:pos x="102" y="92"/>
                      </a:cxn>
                      <a:cxn ang="0">
                        <a:pos x="306" y="82"/>
                      </a:cxn>
                      <a:cxn ang="0">
                        <a:pos x="323" y="20"/>
                      </a:cxn>
                      <a:cxn ang="0">
                        <a:pos x="396" y="22"/>
                      </a:cxn>
                      <a:cxn ang="0">
                        <a:pos x="443" y="37"/>
                      </a:cxn>
                      <a:cxn ang="0">
                        <a:pos x="512" y="11"/>
                      </a:cxn>
                      <a:cxn ang="0">
                        <a:pos x="549" y="26"/>
                      </a:cxn>
                      <a:cxn ang="0">
                        <a:pos x="609" y="46"/>
                      </a:cxn>
                      <a:cxn ang="0">
                        <a:pos x="647" y="56"/>
                      </a:cxn>
                      <a:cxn ang="0">
                        <a:pos x="687" y="113"/>
                      </a:cxn>
                      <a:cxn ang="0">
                        <a:pos x="738" y="143"/>
                      </a:cxn>
                      <a:cxn ang="0">
                        <a:pos x="755" y="169"/>
                      </a:cxn>
                      <a:cxn ang="0">
                        <a:pos x="740" y="185"/>
                      </a:cxn>
                      <a:cxn ang="0">
                        <a:pos x="696" y="196"/>
                      </a:cxn>
                      <a:cxn ang="0">
                        <a:pos x="659" y="191"/>
                      </a:cxn>
                      <a:cxn ang="0">
                        <a:pos x="626" y="220"/>
                      </a:cxn>
                      <a:cxn ang="0">
                        <a:pos x="563" y="248"/>
                      </a:cxn>
                      <a:cxn ang="0">
                        <a:pos x="608" y="266"/>
                      </a:cxn>
                      <a:cxn ang="0">
                        <a:pos x="608" y="310"/>
                      </a:cxn>
                      <a:cxn ang="0">
                        <a:pos x="614" y="340"/>
                      </a:cxn>
                      <a:cxn ang="0">
                        <a:pos x="648" y="374"/>
                      </a:cxn>
                      <a:cxn ang="0">
                        <a:pos x="650" y="430"/>
                      </a:cxn>
                      <a:cxn ang="0">
                        <a:pos x="662" y="460"/>
                      </a:cxn>
                      <a:cxn ang="0">
                        <a:pos x="636" y="511"/>
                      </a:cxn>
                      <a:cxn ang="0">
                        <a:pos x="648" y="533"/>
                      </a:cxn>
                      <a:cxn ang="0">
                        <a:pos x="659" y="560"/>
                      </a:cxn>
                      <a:cxn ang="0">
                        <a:pos x="638" y="566"/>
                      </a:cxn>
                      <a:cxn ang="0">
                        <a:pos x="594" y="566"/>
                      </a:cxn>
                      <a:cxn ang="0">
                        <a:pos x="551" y="548"/>
                      </a:cxn>
                      <a:cxn ang="0">
                        <a:pos x="506" y="529"/>
                      </a:cxn>
                      <a:cxn ang="0">
                        <a:pos x="471" y="523"/>
                      </a:cxn>
                      <a:cxn ang="0">
                        <a:pos x="431" y="545"/>
                      </a:cxn>
                      <a:cxn ang="0">
                        <a:pos x="390" y="553"/>
                      </a:cxn>
                      <a:cxn ang="0">
                        <a:pos x="348" y="536"/>
                      </a:cxn>
                      <a:cxn ang="0">
                        <a:pos x="315" y="563"/>
                      </a:cxn>
                      <a:cxn ang="0">
                        <a:pos x="270" y="566"/>
                      </a:cxn>
                      <a:cxn ang="0">
                        <a:pos x="240" y="559"/>
                      </a:cxn>
                      <a:cxn ang="0">
                        <a:pos x="177" y="461"/>
                      </a:cxn>
                      <a:cxn ang="0">
                        <a:pos x="155" y="409"/>
                      </a:cxn>
                      <a:cxn ang="0">
                        <a:pos x="96" y="352"/>
                      </a:cxn>
                      <a:cxn ang="0">
                        <a:pos x="39" y="337"/>
                      </a:cxn>
                      <a:cxn ang="0">
                        <a:pos x="29" y="304"/>
                      </a:cxn>
                      <a:cxn ang="0">
                        <a:pos x="8" y="277"/>
                      </a:cxn>
                      <a:cxn ang="0">
                        <a:pos x="11" y="244"/>
                      </a:cxn>
                      <a:cxn ang="0">
                        <a:pos x="2" y="199"/>
                      </a:cxn>
                      <a:cxn ang="0">
                        <a:pos x="27" y="176"/>
                      </a:cxn>
                      <a:cxn ang="0">
                        <a:pos x="35" y="143"/>
                      </a:cxn>
                      <a:cxn ang="0">
                        <a:pos x="72" y="101"/>
                      </a:cxn>
                    </a:cxnLst>
                    <a:rect l="0" t="0" r="r" b="b"/>
                    <a:pathLst>
                      <a:path w="756" h="579">
                        <a:moveTo>
                          <a:pt x="72" y="101"/>
                        </a:moveTo>
                        <a:cubicBezTo>
                          <a:pt x="73" y="100"/>
                          <a:pt x="91" y="99"/>
                          <a:pt x="92" y="98"/>
                        </a:cubicBezTo>
                        <a:cubicBezTo>
                          <a:pt x="93" y="97"/>
                          <a:pt x="100" y="92"/>
                          <a:pt x="102" y="92"/>
                        </a:cubicBezTo>
                        <a:cubicBezTo>
                          <a:pt x="122" y="91"/>
                          <a:pt x="259" y="91"/>
                          <a:pt x="279" y="92"/>
                        </a:cubicBezTo>
                        <a:cubicBezTo>
                          <a:pt x="316" y="97"/>
                          <a:pt x="297" y="96"/>
                          <a:pt x="303" y="95"/>
                        </a:cubicBezTo>
                        <a:cubicBezTo>
                          <a:pt x="309" y="94"/>
                          <a:pt x="305" y="95"/>
                          <a:pt x="306" y="82"/>
                        </a:cubicBezTo>
                        <a:cubicBezTo>
                          <a:pt x="307" y="69"/>
                          <a:pt x="306" y="67"/>
                          <a:pt x="306" y="61"/>
                        </a:cubicBezTo>
                        <a:cubicBezTo>
                          <a:pt x="305" y="53"/>
                          <a:pt x="299" y="42"/>
                          <a:pt x="302" y="35"/>
                        </a:cubicBezTo>
                        <a:cubicBezTo>
                          <a:pt x="305" y="28"/>
                          <a:pt x="318" y="22"/>
                          <a:pt x="323" y="20"/>
                        </a:cubicBezTo>
                        <a:cubicBezTo>
                          <a:pt x="328" y="18"/>
                          <a:pt x="332" y="26"/>
                          <a:pt x="335" y="25"/>
                        </a:cubicBezTo>
                        <a:cubicBezTo>
                          <a:pt x="338" y="24"/>
                          <a:pt x="329" y="14"/>
                          <a:pt x="339" y="14"/>
                        </a:cubicBezTo>
                        <a:cubicBezTo>
                          <a:pt x="349" y="14"/>
                          <a:pt x="383" y="22"/>
                          <a:pt x="396" y="22"/>
                        </a:cubicBezTo>
                        <a:cubicBezTo>
                          <a:pt x="409" y="22"/>
                          <a:pt x="412" y="10"/>
                          <a:pt x="419" y="13"/>
                        </a:cubicBezTo>
                        <a:cubicBezTo>
                          <a:pt x="426" y="16"/>
                          <a:pt x="433" y="39"/>
                          <a:pt x="437" y="43"/>
                        </a:cubicBezTo>
                        <a:cubicBezTo>
                          <a:pt x="441" y="47"/>
                          <a:pt x="439" y="38"/>
                          <a:pt x="443" y="37"/>
                        </a:cubicBezTo>
                        <a:cubicBezTo>
                          <a:pt x="447" y="36"/>
                          <a:pt x="454" y="39"/>
                          <a:pt x="462" y="38"/>
                        </a:cubicBezTo>
                        <a:cubicBezTo>
                          <a:pt x="470" y="37"/>
                          <a:pt x="481" y="35"/>
                          <a:pt x="489" y="31"/>
                        </a:cubicBezTo>
                        <a:cubicBezTo>
                          <a:pt x="497" y="27"/>
                          <a:pt x="505" y="14"/>
                          <a:pt x="512" y="11"/>
                        </a:cubicBezTo>
                        <a:cubicBezTo>
                          <a:pt x="519" y="8"/>
                          <a:pt x="528" y="12"/>
                          <a:pt x="533" y="11"/>
                        </a:cubicBezTo>
                        <a:cubicBezTo>
                          <a:pt x="538" y="10"/>
                          <a:pt x="542" y="0"/>
                          <a:pt x="545" y="2"/>
                        </a:cubicBezTo>
                        <a:cubicBezTo>
                          <a:pt x="548" y="4"/>
                          <a:pt x="545" y="21"/>
                          <a:pt x="549" y="26"/>
                        </a:cubicBezTo>
                        <a:cubicBezTo>
                          <a:pt x="553" y="31"/>
                          <a:pt x="561" y="30"/>
                          <a:pt x="567" y="34"/>
                        </a:cubicBezTo>
                        <a:cubicBezTo>
                          <a:pt x="573" y="38"/>
                          <a:pt x="580" y="48"/>
                          <a:pt x="587" y="50"/>
                        </a:cubicBezTo>
                        <a:cubicBezTo>
                          <a:pt x="594" y="52"/>
                          <a:pt x="603" y="48"/>
                          <a:pt x="609" y="46"/>
                        </a:cubicBezTo>
                        <a:cubicBezTo>
                          <a:pt x="615" y="44"/>
                          <a:pt x="622" y="40"/>
                          <a:pt x="626" y="40"/>
                        </a:cubicBezTo>
                        <a:cubicBezTo>
                          <a:pt x="630" y="40"/>
                          <a:pt x="632" y="41"/>
                          <a:pt x="636" y="44"/>
                        </a:cubicBezTo>
                        <a:cubicBezTo>
                          <a:pt x="640" y="47"/>
                          <a:pt x="643" y="51"/>
                          <a:pt x="647" y="56"/>
                        </a:cubicBezTo>
                        <a:cubicBezTo>
                          <a:pt x="651" y="61"/>
                          <a:pt x="655" y="71"/>
                          <a:pt x="660" y="77"/>
                        </a:cubicBezTo>
                        <a:cubicBezTo>
                          <a:pt x="665" y="83"/>
                          <a:pt x="670" y="86"/>
                          <a:pt x="675" y="92"/>
                        </a:cubicBezTo>
                        <a:cubicBezTo>
                          <a:pt x="680" y="98"/>
                          <a:pt x="683" y="108"/>
                          <a:pt x="687" y="113"/>
                        </a:cubicBezTo>
                        <a:cubicBezTo>
                          <a:pt x="691" y="118"/>
                          <a:pt x="697" y="122"/>
                          <a:pt x="702" y="125"/>
                        </a:cubicBezTo>
                        <a:cubicBezTo>
                          <a:pt x="707" y="128"/>
                          <a:pt x="714" y="131"/>
                          <a:pt x="720" y="134"/>
                        </a:cubicBezTo>
                        <a:cubicBezTo>
                          <a:pt x="726" y="137"/>
                          <a:pt x="733" y="140"/>
                          <a:pt x="738" y="143"/>
                        </a:cubicBezTo>
                        <a:cubicBezTo>
                          <a:pt x="743" y="146"/>
                          <a:pt x="752" y="149"/>
                          <a:pt x="753" y="151"/>
                        </a:cubicBezTo>
                        <a:cubicBezTo>
                          <a:pt x="754" y="153"/>
                          <a:pt x="746" y="155"/>
                          <a:pt x="746" y="158"/>
                        </a:cubicBezTo>
                        <a:cubicBezTo>
                          <a:pt x="746" y="161"/>
                          <a:pt x="755" y="167"/>
                          <a:pt x="755" y="169"/>
                        </a:cubicBezTo>
                        <a:cubicBezTo>
                          <a:pt x="755" y="171"/>
                          <a:pt x="749" y="171"/>
                          <a:pt x="749" y="173"/>
                        </a:cubicBezTo>
                        <a:cubicBezTo>
                          <a:pt x="749" y="175"/>
                          <a:pt x="756" y="180"/>
                          <a:pt x="755" y="182"/>
                        </a:cubicBezTo>
                        <a:cubicBezTo>
                          <a:pt x="754" y="184"/>
                          <a:pt x="745" y="183"/>
                          <a:pt x="740" y="185"/>
                        </a:cubicBezTo>
                        <a:cubicBezTo>
                          <a:pt x="735" y="187"/>
                          <a:pt x="730" y="195"/>
                          <a:pt x="726" y="197"/>
                        </a:cubicBezTo>
                        <a:cubicBezTo>
                          <a:pt x="722" y="199"/>
                          <a:pt x="718" y="199"/>
                          <a:pt x="713" y="199"/>
                        </a:cubicBezTo>
                        <a:cubicBezTo>
                          <a:pt x="708" y="199"/>
                          <a:pt x="700" y="198"/>
                          <a:pt x="696" y="196"/>
                        </a:cubicBezTo>
                        <a:cubicBezTo>
                          <a:pt x="692" y="194"/>
                          <a:pt x="690" y="189"/>
                          <a:pt x="686" y="188"/>
                        </a:cubicBezTo>
                        <a:cubicBezTo>
                          <a:pt x="682" y="187"/>
                          <a:pt x="678" y="190"/>
                          <a:pt x="674" y="190"/>
                        </a:cubicBezTo>
                        <a:cubicBezTo>
                          <a:pt x="670" y="190"/>
                          <a:pt x="662" y="189"/>
                          <a:pt x="659" y="191"/>
                        </a:cubicBezTo>
                        <a:cubicBezTo>
                          <a:pt x="656" y="193"/>
                          <a:pt x="660" y="202"/>
                          <a:pt x="656" y="205"/>
                        </a:cubicBezTo>
                        <a:cubicBezTo>
                          <a:pt x="652" y="208"/>
                          <a:pt x="641" y="209"/>
                          <a:pt x="636" y="212"/>
                        </a:cubicBezTo>
                        <a:cubicBezTo>
                          <a:pt x="631" y="215"/>
                          <a:pt x="631" y="217"/>
                          <a:pt x="626" y="220"/>
                        </a:cubicBezTo>
                        <a:cubicBezTo>
                          <a:pt x="621" y="223"/>
                          <a:pt x="614" y="228"/>
                          <a:pt x="608" y="230"/>
                        </a:cubicBezTo>
                        <a:cubicBezTo>
                          <a:pt x="602" y="232"/>
                          <a:pt x="597" y="232"/>
                          <a:pt x="590" y="235"/>
                        </a:cubicBezTo>
                        <a:cubicBezTo>
                          <a:pt x="583" y="238"/>
                          <a:pt x="564" y="245"/>
                          <a:pt x="563" y="248"/>
                        </a:cubicBezTo>
                        <a:cubicBezTo>
                          <a:pt x="562" y="251"/>
                          <a:pt x="575" y="252"/>
                          <a:pt x="581" y="254"/>
                        </a:cubicBezTo>
                        <a:cubicBezTo>
                          <a:pt x="587" y="256"/>
                          <a:pt x="596" y="258"/>
                          <a:pt x="600" y="260"/>
                        </a:cubicBezTo>
                        <a:cubicBezTo>
                          <a:pt x="604" y="262"/>
                          <a:pt x="606" y="263"/>
                          <a:pt x="608" y="266"/>
                        </a:cubicBezTo>
                        <a:cubicBezTo>
                          <a:pt x="610" y="269"/>
                          <a:pt x="611" y="276"/>
                          <a:pt x="611" y="281"/>
                        </a:cubicBezTo>
                        <a:cubicBezTo>
                          <a:pt x="611" y="286"/>
                          <a:pt x="609" y="294"/>
                          <a:pt x="609" y="299"/>
                        </a:cubicBezTo>
                        <a:cubicBezTo>
                          <a:pt x="609" y="304"/>
                          <a:pt x="610" y="307"/>
                          <a:pt x="608" y="310"/>
                        </a:cubicBezTo>
                        <a:cubicBezTo>
                          <a:pt x="606" y="313"/>
                          <a:pt x="600" y="316"/>
                          <a:pt x="599" y="320"/>
                        </a:cubicBezTo>
                        <a:cubicBezTo>
                          <a:pt x="598" y="324"/>
                          <a:pt x="600" y="332"/>
                          <a:pt x="602" y="335"/>
                        </a:cubicBezTo>
                        <a:cubicBezTo>
                          <a:pt x="604" y="338"/>
                          <a:pt x="610" y="337"/>
                          <a:pt x="614" y="340"/>
                        </a:cubicBezTo>
                        <a:cubicBezTo>
                          <a:pt x="618" y="343"/>
                          <a:pt x="625" y="348"/>
                          <a:pt x="629" y="352"/>
                        </a:cubicBezTo>
                        <a:cubicBezTo>
                          <a:pt x="633" y="356"/>
                          <a:pt x="636" y="363"/>
                          <a:pt x="639" y="367"/>
                        </a:cubicBezTo>
                        <a:cubicBezTo>
                          <a:pt x="642" y="371"/>
                          <a:pt x="645" y="371"/>
                          <a:pt x="648" y="374"/>
                        </a:cubicBezTo>
                        <a:cubicBezTo>
                          <a:pt x="651" y="377"/>
                          <a:pt x="656" y="375"/>
                          <a:pt x="657" y="382"/>
                        </a:cubicBezTo>
                        <a:cubicBezTo>
                          <a:pt x="658" y="389"/>
                          <a:pt x="655" y="411"/>
                          <a:pt x="654" y="419"/>
                        </a:cubicBezTo>
                        <a:cubicBezTo>
                          <a:pt x="653" y="427"/>
                          <a:pt x="649" y="426"/>
                          <a:pt x="650" y="430"/>
                        </a:cubicBezTo>
                        <a:cubicBezTo>
                          <a:pt x="651" y="434"/>
                          <a:pt x="657" y="438"/>
                          <a:pt x="660" y="442"/>
                        </a:cubicBezTo>
                        <a:cubicBezTo>
                          <a:pt x="663" y="446"/>
                          <a:pt x="668" y="449"/>
                          <a:pt x="668" y="452"/>
                        </a:cubicBezTo>
                        <a:cubicBezTo>
                          <a:pt x="668" y="455"/>
                          <a:pt x="665" y="457"/>
                          <a:pt x="662" y="460"/>
                        </a:cubicBezTo>
                        <a:cubicBezTo>
                          <a:pt x="659" y="463"/>
                          <a:pt x="653" y="463"/>
                          <a:pt x="651" y="470"/>
                        </a:cubicBezTo>
                        <a:cubicBezTo>
                          <a:pt x="649" y="477"/>
                          <a:pt x="652" y="496"/>
                          <a:pt x="650" y="503"/>
                        </a:cubicBezTo>
                        <a:cubicBezTo>
                          <a:pt x="648" y="510"/>
                          <a:pt x="638" y="508"/>
                          <a:pt x="636" y="511"/>
                        </a:cubicBezTo>
                        <a:cubicBezTo>
                          <a:pt x="634" y="514"/>
                          <a:pt x="638" y="517"/>
                          <a:pt x="638" y="521"/>
                        </a:cubicBezTo>
                        <a:cubicBezTo>
                          <a:pt x="638" y="525"/>
                          <a:pt x="631" y="533"/>
                          <a:pt x="633" y="535"/>
                        </a:cubicBezTo>
                        <a:cubicBezTo>
                          <a:pt x="635" y="537"/>
                          <a:pt x="646" y="532"/>
                          <a:pt x="648" y="533"/>
                        </a:cubicBezTo>
                        <a:cubicBezTo>
                          <a:pt x="650" y="534"/>
                          <a:pt x="646" y="539"/>
                          <a:pt x="648" y="542"/>
                        </a:cubicBezTo>
                        <a:cubicBezTo>
                          <a:pt x="650" y="545"/>
                          <a:pt x="661" y="547"/>
                          <a:pt x="663" y="550"/>
                        </a:cubicBezTo>
                        <a:cubicBezTo>
                          <a:pt x="665" y="553"/>
                          <a:pt x="660" y="556"/>
                          <a:pt x="659" y="560"/>
                        </a:cubicBezTo>
                        <a:cubicBezTo>
                          <a:pt x="658" y="564"/>
                          <a:pt x="659" y="571"/>
                          <a:pt x="656" y="574"/>
                        </a:cubicBezTo>
                        <a:cubicBezTo>
                          <a:pt x="653" y="577"/>
                          <a:pt x="645" y="579"/>
                          <a:pt x="642" y="578"/>
                        </a:cubicBezTo>
                        <a:cubicBezTo>
                          <a:pt x="639" y="577"/>
                          <a:pt x="641" y="567"/>
                          <a:pt x="638" y="566"/>
                        </a:cubicBezTo>
                        <a:cubicBezTo>
                          <a:pt x="635" y="565"/>
                          <a:pt x="628" y="571"/>
                          <a:pt x="623" y="571"/>
                        </a:cubicBezTo>
                        <a:cubicBezTo>
                          <a:pt x="618" y="571"/>
                          <a:pt x="611" y="564"/>
                          <a:pt x="606" y="563"/>
                        </a:cubicBezTo>
                        <a:cubicBezTo>
                          <a:pt x="601" y="562"/>
                          <a:pt x="598" y="568"/>
                          <a:pt x="594" y="566"/>
                        </a:cubicBezTo>
                        <a:cubicBezTo>
                          <a:pt x="590" y="564"/>
                          <a:pt x="585" y="555"/>
                          <a:pt x="581" y="551"/>
                        </a:cubicBezTo>
                        <a:cubicBezTo>
                          <a:pt x="577" y="547"/>
                          <a:pt x="577" y="543"/>
                          <a:pt x="572" y="542"/>
                        </a:cubicBezTo>
                        <a:cubicBezTo>
                          <a:pt x="567" y="541"/>
                          <a:pt x="556" y="549"/>
                          <a:pt x="551" y="548"/>
                        </a:cubicBezTo>
                        <a:cubicBezTo>
                          <a:pt x="546" y="547"/>
                          <a:pt x="544" y="540"/>
                          <a:pt x="539" y="538"/>
                        </a:cubicBezTo>
                        <a:cubicBezTo>
                          <a:pt x="534" y="536"/>
                          <a:pt x="527" y="534"/>
                          <a:pt x="522" y="533"/>
                        </a:cubicBezTo>
                        <a:cubicBezTo>
                          <a:pt x="517" y="532"/>
                          <a:pt x="510" y="528"/>
                          <a:pt x="506" y="529"/>
                        </a:cubicBezTo>
                        <a:cubicBezTo>
                          <a:pt x="502" y="530"/>
                          <a:pt x="503" y="539"/>
                          <a:pt x="500" y="539"/>
                        </a:cubicBezTo>
                        <a:cubicBezTo>
                          <a:pt x="497" y="539"/>
                          <a:pt x="491" y="530"/>
                          <a:pt x="486" y="527"/>
                        </a:cubicBezTo>
                        <a:cubicBezTo>
                          <a:pt x="465" y="512"/>
                          <a:pt x="476" y="523"/>
                          <a:pt x="471" y="523"/>
                        </a:cubicBezTo>
                        <a:cubicBezTo>
                          <a:pt x="466" y="523"/>
                          <a:pt x="460" y="523"/>
                          <a:pt x="456" y="526"/>
                        </a:cubicBezTo>
                        <a:cubicBezTo>
                          <a:pt x="452" y="529"/>
                          <a:pt x="451" y="539"/>
                          <a:pt x="447" y="542"/>
                        </a:cubicBezTo>
                        <a:cubicBezTo>
                          <a:pt x="443" y="545"/>
                          <a:pt x="436" y="544"/>
                          <a:pt x="431" y="545"/>
                        </a:cubicBezTo>
                        <a:cubicBezTo>
                          <a:pt x="426" y="546"/>
                          <a:pt x="422" y="547"/>
                          <a:pt x="417" y="550"/>
                        </a:cubicBezTo>
                        <a:cubicBezTo>
                          <a:pt x="412" y="553"/>
                          <a:pt x="405" y="560"/>
                          <a:pt x="401" y="560"/>
                        </a:cubicBezTo>
                        <a:cubicBezTo>
                          <a:pt x="397" y="560"/>
                          <a:pt x="394" y="553"/>
                          <a:pt x="390" y="553"/>
                        </a:cubicBezTo>
                        <a:cubicBezTo>
                          <a:pt x="386" y="553"/>
                          <a:pt x="381" y="561"/>
                          <a:pt x="377" y="560"/>
                        </a:cubicBezTo>
                        <a:cubicBezTo>
                          <a:pt x="373" y="559"/>
                          <a:pt x="373" y="548"/>
                          <a:pt x="368" y="544"/>
                        </a:cubicBezTo>
                        <a:cubicBezTo>
                          <a:pt x="363" y="540"/>
                          <a:pt x="351" y="535"/>
                          <a:pt x="348" y="536"/>
                        </a:cubicBezTo>
                        <a:cubicBezTo>
                          <a:pt x="345" y="537"/>
                          <a:pt x="350" y="548"/>
                          <a:pt x="347" y="551"/>
                        </a:cubicBezTo>
                        <a:cubicBezTo>
                          <a:pt x="344" y="554"/>
                          <a:pt x="334" y="551"/>
                          <a:pt x="329" y="553"/>
                        </a:cubicBezTo>
                        <a:cubicBezTo>
                          <a:pt x="324" y="555"/>
                          <a:pt x="321" y="561"/>
                          <a:pt x="315" y="563"/>
                        </a:cubicBezTo>
                        <a:cubicBezTo>
                          <a:pt x="309" y="565"/>
                          <a:pt x="299" y="561"/>
                          <a:pt x="294" y="563"/>
                        </a:cubicBezTo>
                        <a:cubicBezTo>
                          <a:pt x="289" y="565"/>
                          <a:pt x="288" y="575"/>
                          <a:pt x="284" y="575"/>
                        </a:cubicBezTo>
                        <a:cubicBezTo>
                          <a:pt x="280" y="575"/>
                          <a:pt x="274" y="568"/>
                          <a:pt x="270" y="566"/>
                        </a:cubicBezTo>
                        <a:cubicBezTo>
                          <a:pt x="266" y="564"/>
                          <a:pt x="264" y="561"/>
                          <a:pt x="260" y="562"/>
                        </a:cubicBezTo>
                        <a:cubicBezTo>
                          <a:pt x="256" y="563"/>
                          <a:pt x="251" y="575"/>
                          <a:pt x="248" y="574"/>
                        </a:cubicBezTo>
                        <a:cubicBezTo>
                          <a:pt x="245" y="573"/>
                          <a:pt x="243" y="563"/>
                          <a:pt x="240" y="559"/>
                        </a:cubicBezTo>
                        <a:cubicBezTo>
                          <a:pt x="237" y="555"/>
                          <a:pt x="233" y="553"/>
                          <a:pt x="228" y="550"/>
                        </a:cubicBezTo>
                        <a:cubicBezTo>
                          <a:pt x="214" y="566"/>
                          <a:pt x="215" y="553"/>
                          <a:pt x="207" y="538"/>
                        </a:cubicBezTo>
                        <a:cubicBezTo>
                          <a:pt x="199" y="523"/>
                          <a:pt x="180" y="476"/>
                          <a:pt x="177" y="461"/>
                        </a:cubicBezTo>
                        <a:cubicBezTo>
                          <a:pt x="174" y="446"/>
                          <a:pt x="189" y="452"/>
                          <a:pt x="188" y="445"/>
                        </a:cubicBezTo>
                        <a:cubicBezTo>
                          <a:pt x="175" y="454"/>
                          <a:pt x="176" y="422"/>
                          <a:pt x="171" y="416"/>
                        </a:cubicBezTo>
                        <a:cubicBezTo>
                          <a:pt x="166" y="410"/>
                          <a:pt x="163" y="413"/>
                          <a:pt x="155" y="409"/>
                        </a:cubicBezTo>
                        <a:cubicBezTo>
                          <a:pt x="147" y="405"/>
                          <a:pt x="130" y="398"/>
                          <a:pt x="123" y="391"/>
                        </a:cubicBezTo>
                        <a:cubicBezTo>
                          <a:pt x="116" y="384"/>
                          <a:pt x="118" y="371"/>
                          <a:pt x="114" y="365"/>
                        </a:cubicBezTo>
                        <a:cubicBezTo>
                          <a:pt x="110" y="359"/>
                          <a:pt x="103" y="356"/>
                          <a:pt x="96" y="352"/>
                        </a:cubicBezTo>
                        <a:cubicBezTo>
                          <a:pt x="89" y="348"/>
                          <a:pt x="81" y="344"/>
                          <a:pt x="74" y="344"/>
                        </a:cubicBezTo>
                        <a:cubicBezTo>
                          <a:pt x="67" y="344"/>
                          <a:pt x="62" y="351"/>
                          <a:pt x="56" y="350"/>
                        </a:cubicBezTo>
                        <a:cubicBezTo>
                          <a:pt x="50" y="349"/>
                          <a:pt x="44" y="341"/>
                          <a:pt x="39" y="337"/>
                        </a:cubicBezTo>
                        <a:cubicBezTo>
                          <a:pt x="34" y="333"/>
                          <a:pt x="26" y="331"/>
                          <a:pt x="26" y="328"/>
                        </a:cubicBezTo>
                        <a:cubicBezTo>
                          <a:pt x="26" y="325"/>
                          <a:pt x="36" y="321"/>
                          <a:pt x="36" y="317"/>
                        </a:cubicBezTo>
                        <a:cubicBezTo>
                          <a:pt x="36" y="313"/>
                          <a:pt x="29" y="308"/>
                          <a:pt x="29" y="304"/>
                        </a:cubicBezTo>
                        <a:cubicBezTo>
                          <a:pt x="29" y="300"/>
                          <a:pt x="38" y="295"/>
                          <a:pt x="38" y="292"/>
                        </a:cubicBezTo>
                        <a:cubicBezTo>
                          <a:pt x="38" y="289"/>
                          <a:pt x="31" y="289"/>
                          <a:pt x="26" y="287"/>
                        </a:cubicBezTo>
                        <a:cubicBezTo>
                          <a:pt x="21" y="285"/>
                          <a:pt x="12" y="281"/>
                          <a:pt x="8" y="277"/>
                        </a:cubicBezTo>
                        <a:cubicBezTo>
                          <a:pt x="4" y="273"/>
                          <a:pt x="4" y="267"/>
                          <a:pt x="3" y="262"/>
                        </a:cubicBezTo>
                        <a:cubicBezTo>
                          <a:pt x="2" y="257"/>
                          <a:pt x="1" y="250"/>
                          <a:pt x="2" y="247"/>
                        </a:cubicBezTo>
                        <a:cubicBezTo>
                          <a:pt x="3" y="244"/>
                          <a:pt x="9" y="247"/>
                          <a:pt x="11" y="244"/>
                        </a:cubicBezTo>
                        <a:cubicBezTo>
                          <a:pt x="13" y="241"/>
                          <a:pt x="16" y="232"/>
                          <a:pt x="15" y="227"/>
                        </a:cubicBezTo>
                        <a:cubicBezTo>
                          <a:pt x="14" y="222"/>
                          <a:pt x="8" y="216"/>
                          <a:pt x="6" y="212"/>
                        </a:cubicBezTo>
                        <a:cubicBezTo>
                          <a:pt x="4" y="208"/>
                          <a:pt x="0" y="202"/>
                          <a:pt x="2" y="199"/>
                        </a:cubicBezTo>
                        <a:cubicBezTo>
                          <a:pt x="4" y="196"/>
                          <a:pt x="19" y="197"/>
                          <a:pt x="21" y="194"/>
                        </a:cubicBezTo>
                        <a:cubicBezTo>
                          <a:pt x="23" y="191"/>
                          <a:pt x="11" y="185"/>
                          <a:pt x="12" y="182"/>
                        </a:cubicBezTo>
                        <a:cubicBezTo>
                          <a:pt x="13" y="179"/>
                          <a:pt x="25" y="179"/>
                          <a:pt x="27" y="176"/>
                        </a:cubicBezTo>
                        <a:cubicBezTo>
                          <a:pt x="29" y="173"/>
                          <a:pt x="22" y="169"/>
                          <a:pt x="24" y="166"/>
                        </a:cubicBezTo>
                        <a:cubicBezTo>
                          <a:pt x="26" y="163"/>
                          <a:pt x="37" y="159"/>
                          <a:pt x="39" y="155"/>
                        </a:cubicBezTo>
                        <a:cubicBezTo>
                          <a:pt x="41" y="151"/>
                          <a:pt x="33" y="147"/>
                          <a:pt x="35" y="143"/>
                        </a:cubicBezTo>
                        <a:cubicBezTo>
                          <a:pt x="37" y="139"/>
                          <a:pt x="51" y="137"/>
                          <a:pt x="54" y="133"/>
                        </a:cubicBezTo>
                        <a:cubicBezTo>
                          <a:pt x="60" y="125"/>
                          <a:pt x="44" y="122"/>
                          <a:pt x="53" y="116"/>
                        </a:cubicBezTo>
                        <a:cubicBezTo>
                          <a:pt x="56" y="109"/>
                          <a:pt x="83" y="101"/>
                          <a:pt x="72" y="101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4" name="Freeform 15">
                    <a:extLst>
                      <a:ext uri="{FF2B5EF4-FFF2-40B4-BE49-F238E27FC236}">
                        <a16:creationId xmlns:a16="http://schemas.microsoft.com/office/drawing/2014/main" id="{E2BF61ED-ADFC-4204-8291-4B16CEACA0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15367" y="3776755"/>
                    <a:ext cx="4689346" cy="2550575"/>
                  </a:xfrm>
                  <a:custGeom>
                    <a:avLst/>
                    <a:gdLst/>
                    <a:ahLst/>
                    <a:cxnLst>
                      <a:cxn ang="0">
                        <a:pos x="526" y="161"/>
                      </a:cxn>
                      <a:cxn ang="0">
                        <a:pos x="593" y="163"/>
                      </a:cxn>
                      <a:cxn ang="0">
                        <a:pos x="623" y="107"/>
                      </a:cxn>
                      <a:cxn ang="0">
                        <a:pos x="710" y="103"/>
                      </a:cxn>
                      <a:cxn ang="0">
                        <a:pos x="748" y="79"/>
                      </a:cxn>
                      <a:cxn ang="0">
                        <a:pos x="778" y="32"/>
                      </a:cxn>
                      <a:cxn ang="0">
                        <a:pos x="818" y="13"/>
                      </a:cxn>
                      <a:cxn ang="0">
                        <a:pos x="853" y="41"/>
                      </a:cxn>
                      <a:cxn ang="0">
                        <a:pos x="890" y="68"/>
                      </a:cxn>
                      <a:cxn ang="0">
                        <a:pos x="920" y="88"/>
                      </a:cxn>
                      <a:cxn ang="0">
                        <a:pos x="935" y="116"/>
                      </a:cxn>
                      <a:cxn ang="0">
                        <a:pos x="991" y="107"/>
                      </a:cxn>
                      <a:cxn ang="0">
                        <a:pos x="1039" y="91"/>
                      </a:cxn>
                      <a:cxn ang="0">
                        <a:pos x="1073" y="50"/>
                      </a:cxn>
                      <a:cxn ang="0">
                        <a:pos x="1123" y="43"/>
                      </a:cxn>
                      <a:cxn ang="0">
                        <a:pos x="1130" y="95"/>
                      </a:cxn>
                      <a:cxn ang="0">
                        <a:pos x="1136" y="164"/>
                      </a:cxn>
                      <a:cxn ang="0">
                        <a:pos x="1138" y="223"/>
                      </a:cxn>
                      <a:cxn ang="0">
                        <a:pos x="1135" y="284"/>
                      </a:cxn>
                      <a:cxn ang="0">
                        <a:pos x="1154" y="337"/>
                      </a:cxn>
                      <a:cxn ang="0">
                        <a:pos x="1151" y="404"/>
                      </a:cxn>
                      <a:cxn ang="0">
                        <a:pos x="1174" y="451"/>
                      </a:cxn>
                      <a:cxn ang="0">
                        <a:pos x="1204" y="463"/>
                      </a:cxn>
                      <a:cxn ang="0">
                        <a:pos x="1195" y="508"/>
                      </a:cxn>
                      <a:cxn ang="0">
                        <a:pos x="994" y="503"/>
                      </a:cxn>
                      <a:cxn ang="0">
                        <a:pos x="946" y="548"/>
                      </a:cxn>
                      <a:cxn ang="0">
                        <a:pos x="911" y="590"/>
                      </a:cxn>
                      <a:cxn ang="0">
                        <a:pos x="904" y="614"/>
                      </a:cxn>
                      <a:cxn ang="0">
                        <a:pos x="835" y="628"/>
                      </a:cxn>
                      <a:cxn ang="0">
                        <a:pos x="764" y="647"/>
                      </a:cxn>
                      <a:cxn ang="0">
                        <a:pos x="664" y="649"/>
                      </a:cxn>
                      <a:cxn ang="0">
                        <a:pos x="575" y="641"/>
                      </a:cxn>
                      <a:cxn ang="0">
                        <a:pos x="538" y="661"/>
                      </a:cxn>
                      <a:cxn ang="0">
                        <a:pos x="428" y="658"/>
                      </a:cxn>
                      <a:cxn ang="0">
                        <a:pos x="302" y="655"/>
                      </a:cxn>
                      <a:cxn ang="0">
                        <a:pos x="220" y="626"/>
                      </a:cxn>
                      <a:cxn ang="0">
                        <a:pos x="151" y="584"/>
                      </a:cxn>
                      <a:cxn ang="0">
                        <a:pos x="92" y="571"/>
                      </a:cxn>
                      <a:cxn ang="0">
                        <a:pos x="37" y="550"/>
                      </a:cxn>
                      <a:cxn ang="0">
                        <a:pos x="26" y="509"/>
                      </a:cxn>
                      <a:cxn ang="0">
                        <a:pos x="68" y="469"/>
                      </a:cxn>
                      <a:cxn ang="0">
                        <a:pos x="107" y="431"/>
                      </a:cxn>
                      <a:cxn ang="0">
                        <a:pos x="112" y="400"/>
                      </a:cxn>
                      <a:cxn ang="0">
                        <a:pos x="140" y="352"/>
                      </a:cxn>
                      <a:cxn ang="0">
                        <a:pos x="196" y="314"/>
                      </a:cxn>
                      <a:cxn ang="0">
                        <a:pos x="250" y="284"/>
                      </a:cxn>
                      <a:cxn ang="0">
                        <a:pos x="296" y="245"/>
                      </a:cxn>
                      <a:cxn ang="0">
                        <a:pos x="349" y="208"/>
                      </a:cxn>
                      <a:cxn ang="0">
                        <a:pos x="386" y="161"/>
                      </a:cxn>
                      <a:cxn ang="0">
                        <a:pos x="407" y="109"/>
                      </a:cxn>
                      <a:cxn ang="0">
                        <a:pos x="454" y="128"/>
                      </a:cxn>
                      <a:cxn ang="0">
                        <a:pos x="484" y="166"/>
                      </a:cxn>
                    </a:cxnLst>
                    <a:rect l="0" t="0" r="r" b="b"/>
                    <a:pathLst>
                      <a:path w="1213" h="668">
                        <a:moveTo>
                          <a:pt x="484" y="166"/>
                        </a:moveTo>
                        <a:cubicBezTo>
                          <a:pt x="488" y="168"/>
                          <a:pt x="492" y="173"/>
                          <a:pt x="496" y="173"/>
                        </a:cubicBezTo>
                        <a:cubicBezTo>
                          <a:pt x="500" y="173"/>
                          <a:pt x="504" y="169"/>
                          <a:pt x="509" y="167"/>
                        </a:cubicBezTo>
                        <a:cubicBezTo>
                          <a:pt x="514" y="165"/>
                          <a:pt x="519" y="163"/>
                          <a:pt x="526" y="161"/>
                        </a:cubicBezTo>
                        <a:cubicBezTo>
                          <a:pt x="533" y="159"/>
                          <a:pt x="541" y="155"/>
                          <a:pt x="548" y="155"/>
                        </a:cubicBezTo>
                        <a:cubicBezTo>
                          <a:pt x="555" y="155"/>
                          <a:pt x="565" y="159"/>
                          <a:pt x="571" y="161"/>
                        </a:cubicBezTo>
                        <a:cubicBezTo>
                          <a:pt x="577" y="163"/>
                          <a:pt x="582" y="170"/>
                          <a:pt x="586" y="170"/>
                        </a:cubicBezTo>
                        <a:cubicBezTo>
                          <a:pt x="590" y="170"/>
                          <a:pt x="590" y="165"/>
                          <a:pt x="593" y="163"/>
                        </a:cubicBezTo>
                        <a:cubicBezTo>
                          <a:pt x="596" y="161"/>
                          <a:pt x="604" y="163"/>
                          <a:pt x="607" y="160"/>
                        </a:cubicBezTo>
                        <a:cubicBezTo>
                          <a:pt x="610" y="157"/>
                          <a:pt x="611" y="148"/>
                          <a:pt x="613" y="143"/>
                        </a:cubicBezTo>
                        <a:cubicBezTo>
                          <a:pt x="615" y="138"/>
                          <a:pt x="615" y="134"/>
                          <a:pt x="617" y="128"/>
                        </a:cubicBezTo>
                        <a:lnTo>
                          <a:pt x="623" y="107"/>
                        </a:lnTo>
                        <a:cubicBezTo>
                          <a:pt x="626" y="101"/>
                          <a:pt x="632" y="95"/>
                          <a:pt x="638" y="92"/>
                        </a:cubicBezTo>
                        <a:cubicBezTo>
                          <a:pt x="644" y="89"/>
                          <a:pt x="652" y="87"/>
                          <a:pt x="659" y="86"/>
                        </a:cubicBezTo>
                        <a:cubicBezTo>
                          <a:pt x="666" y="85"/>
                          <a:pt x="671" y="85"/>
                          <a:pt x="679" y="88"/>
                        </a:cubicBezTo>
                        <a:cubicBezTo>
                          <a:pt x="687" y="91"/>
                          <a:pt x="703" y="100"/>
                          <a:pt x="710" y="103"/>
                        </a:cubicBezTo>
                        <a:cubicBezTo>
                          <a:pt x="717" y="106"/>
                          <a:pt x="718" y="107"/>
                          <a:pt x="722" y="106"/>
                        </a:cubicBezTo>
                        <a:cubicBezTo>
                          <a:pt x="726" y="105"/>
                          <a:pt x="730" y="100"/>
                          <a:pt x="733" y="97"/>
                        </a:cubicBezTo>
                        <a:cubicBezTo>
                          <a:pt x="736" y="94"/>
                          <a:pt x="741" y="92"/>
                          <a:pt x="743" y="89"/>
                        </a:cubicBezTo>
                        <a:cubicBezTo>
                          <a:pt x="745" y="86"/>
                          <a:pt x="746" y="82"/>
                          <a:pt x="748" y="79"/>
                        </a:cubicBezTo>
                        <a:cubicBezTo>
                          <a:pt x="750" y="76"/>
                          <a:pt x="756" y="76"/>
                          <a:pt x="758" y="73"/>
                        </a:cubicBezTo>
                        <a:cubicBezTo>
                          <a:pt x="760" y="70"/>
                          <a:pt x="757" y="63"/>
                          <a:pt x="760" y="59"/>
                        </a:cubicBezTo>
                        <a:cubicBezTo>
                          <a:pt x="763" y="55"/>
                          <a:pt x="776" y="50"/>
                          <a:pt x="779" y="46"/>
                        </a:cubicBezTo>
                        <a:cubicBezTo>
                          <a:pt x="782" y="42"/>
                          <a:pt x="777" y="34"/>
                          <a:pt x="778" y="32"/>
                        </a:cubicBezTo>
                        <a:cubicBezTo>
                          <a:pt x="779" y="30"/>
                          <a:pt x="783" y="33"/>
                          <a:pt x="788" y="31"/>
                        </a:cubicBezTo>
                        <a:cubicBezTo>
                          <a:pt x="793" y="29"/>
                          <a:pt x="802" y="20"/>
                          <a:pt x="806" y="20"/>
                        </a:cubicBezTo>
                        <a:cubicBezTo>
                          <a:pt x="810" y="20"/>
                          <a:pt x="809" y="30"/>
                          <a:pt x="811" y="29"/>
                        </a:cubicBezTo>
                        <a:cubicBezTo>
                          <a:pt x="813" y="28"/>
                          <a:pt x="814" y="18"/>
                          <a:pt x="818" y="13"/>
                        </a:cubicBezTo>
                        <a:cubicBezTo>
                          <a:pt x="822" y="8"/>
                          <a:pt x="834" y="2"/>
                          <a:pt x="838" y="1"/>
                        </a:cubicBezTo>
                        <a:cubicBezTo>
                          <a:pt x="842" y="0"/>
                          <a:pt x="841" y="4"/>
                          <a:pt x="844" y="8"/>
                        </a:cubicBezTo>
                        <a:cubicBezTo>
                          <a:pt x="847" y="12"/>
                          <a:pt x="855" y="21"/>
                          <a:pt x="856" y="26"/>
                        </a:cubicBezTo>
                        <a:cubicBezTo>
                          <a:pt x="857" y="31"/>
                          <a:pt x="852" y="36"/>
                          <a:pt x="853" y="41"/>
                        </a:cubicBezTo>
                        <a:cubicBezTo>
                          <a:pt x="854" y="46"/>
                          <a:pt x="857" y="51"/>
                          <a:pt x="860" y="55"/>
                        </a:cubicBezTo>
                        <a:cubicBezTo>
                          <a:pt x="863" y="59"/>
                          <a:pt x="865" y="66"/>
                          <a:pt x="868" y="67"/>
                        </a:cubicBezTo>
                        <a:cubicBezTo>
                          <a:pt x="871" y="68"/>
                          <a:pt x="876" y="61"/>
                          <a:pt x="880" y="61"/>
                        </a:cubicBezTo>
                        <a:cubicBezTo>
                          <a:pt x="884" y="61"/>
                          <a:pt x="886" y="68"/>
                          <a:pt x="890" y="68"/>
                        </a:cubicBezTo>
                        <a:cubicBezTo>
                          <a:pt x="894" y="68"/>
                          <a:pt x="900" y="60"/>
                          <a:pt x="904" y="59"/>
                        </a:cubicBezTo>
                        <a:cubicBezTo>
                          <a:pt x="908" y="58"/>
                          <a:pt x="914" y="61"/>
                          <a:pt x="916" y="64"/>
                        </a:cubicBezTo>
                        <a:cubicBezTo>
                          <a:pt x="918" y="67"/>
                          <a:pt x="918" y="75"/>
                          <a:pt x="919" y="79"/>
                        </a:cubicBezTo>
                        <a:cubicBezTo>
                          <a:pt x="920" y="83"/>
                          <a:pt x="918" y="86"/>
                          <a:pt x="920" y="88"/>
                        </a:cubicBezTo>
                        <a:cubicBezTo>
                          <a:pt x="922" y="90"/>
                          <a:pt x="929" y="91"/>
                          <a:pt x="931" y="92"/>
                        </a:cubicBezTo>
                        <a:cubicBezTo>
                          <a:pt x="933" y="93"/>
                          <a:pt x="932" y="89"/>
                          <a:pt x="932" y="91"/>
                        </a:cubicBezTo>
                        <a:cubicBezTo>
                          <a:pt x="932" y="93"/>
                          <a:pt x="932" y="102"/>
                          <a:pt x="932" y="106"/>
                        </a:cubicBezTo>
                        <a:cubicBezTo>
                          <a:pt x="932" y="110"/>
                          <a:pt x="933" y="113"/>
                          <a:pt x="935" y="116"/>
                        </a:cubicBezTo>
                        <a:cubicBezTo>
                          <a:pt x="937" y="119"/>
                          <a:pt x="939" y="120"/>
                          <a:pt x="943" y="122"/>
                        </a:cubicBezTo>
                        <a:cubicBezTo>
                          <a:pt x="947" y="124"/>
                          <a:pt x="953" y="125"/>
                          <a:pt x="958" y="125"/>
                        </a:cubicBezTo>
                        <a:cubicBezTo>
                          <a:pt x="963" y="125"/>
                          <a:pt x="968" y="125"/>
                          <a:pt x="973" y="122"/>
                        </a:cubicBezTo>
                        <a:cubicBezTo>
                          <a:pt x="978" y="119"/>
                          <a:pt x="986" y="111"/>
                          <a:pt x="991" y="107"/>
                        </a:cubicBezTo>
                        <a:cubicBezTo>
                          <a:pt x="996" y="103"/>
                          <a:pt x="999" y="101"/>
                          <a:pt x="1004" y="100"/>
                        </a:cubicBezTo>
                        <a:cubicBezTo>
                          <a:pt x="1009" y="99"/>
                          <a:pt x="1017" y="99"/>
                          <a:pt x="1022" y="100"/>
                        </a:cubicBezTo>
                        <a:cubicBezTo>
                          <a:pt x="1027" y="101"/>
                          <a:pt x="1033" y="105"/>
                          <a:pt x="1036" y="104"/>
                        </a:cubicBezTo>
                        <a:cubicBezTo>
                          <a:pt x="1039" y="103"/>
                          <a:pt x="1037" y="94"/>
                          <a:pt x="1039" y="91"/>
                        </a:cubicBezTo>
                        <a:cubicBezTo>
                          <a:pt x="1041" y="88"/>
                          <a:pt x="1048" y="92"/>
                          <a:pt x="1051" y="88"/>
                        </a:cubicBezTo>
                        <a:cubicBezTo>
                          <a:pt x="1054" y="84"/>
                          <a:pt x="1054" y="69"/>
                          <a:pt x="1057" y="65"/>
                        </a:cubicBezTo>
                        <a:cubicBezTo>
                          <a:pt x="1060" y="61"/>
                          <a:pt x="1064" y="64"/>
                          <a:pt x="1067" y="62"/>
                        </a:cubicBezTo>
                        <a:cubicBezTo>
                          <a:pt x="1070" y="60"/>
                          <a:pt x="1070" y="52"/>
                          <a:pt x="1073" y="50"/>
                        </a:cubicBezTo>
                        <a:cubicBezTo>
                          <a:pt x="1076" y="48"/>
                          <a:pt x="1082" y="53"/>
                          <a:pt x="1084" y="52"/>
                        </a:cubicBezTo>
                        <a:cubicBezTo>
                          <a:pt x="1086" y="51"/>
                          <a:pt x="1084" y="45"/>
                          <a:pt x="1088" y="43"/>
                        </a:cubicBezTo>
                        <a:cubicBezTo>
                          <a:pt x="1092" y="41"/>
                          <a:pt x="1099" y="38"/>
                          <a:pt x="1105" y="38"/>
                        </a:cubicBezTo>
                        <a:cubicBezTo>
                          <a:pt x="1111" y="38"/>
                          <a:pt x="1117" y="41"/>
                          <a:pt x="1123" y="43"/>
                        </a:cubicBezTo>
                        <a:cubicBezTo>
                          <a:pt x="1129" y="45"/>
                          <a:pt x="1136" y="48"/>
                          <a:pt x="1139" y="53"/>
                        </a:cubicBezTo>
                        <a:cubicBezTo>
                          <a:pt x="1142" y="58"/>
                          <a:pt x="1143" y="66"/>
                          <a:pt x="1142" y="71"/>
                        </a:cubicBezTo>
                        <a:cubicBezTo>
                          <a:pt x="1141" y="76"/>
                          <a:pt x="1134" y="78"/>
                          <a:pt x="1132" y="82"/>
                        </a:cubicBezTo>
                        <a:cubicBezTo>
                          <a:pt x="1130" y="86"/>
                          <a:pt x="1133" y="87"/>
                          <a:pt x="1130" y="95"/>
                        </a:cubicBezTo>
                        <a:cubicBezTo>
                          <a:pt x="1127" y="103"/>
                          <a:pt x="1112" y="125"/>
                          <a:pt x="1111" y="133"/>
                        </a:cubicBezTo>
                        <a:cubicBezTo>
                          <a:pt x="1110" y="141"/>
                          <a:pt x="1123" y="141"/>
                          <a:pt x="1126" y="146"/>
                        </a:cubicBezTo>
                        <a:cubicBezTo>
                          <a:pt x="1129" y="151"/>
                          <a:pt x="1124" y="160"/>
                          <a:pt x="1126" y="163"/>
                        </a:cubicBezTo>
                        <a:cubicBezTo>
                          <a:pt x="1128" y="166"/>
                          <a:pt x="1136" y="161"/>
                          <a:pt x="1136" y="164"/>
                        </a:cubicBezTo>
                        <a:cubicBezTo>
                          <a:pt x="1136" y="167"/>
                          <a:pt x="1123" y="179"/>
                          <a:pt x="1123" y="184"/>
                        </a:cubicBezTo>
                        <a:cubicBezTo>
                          <a:pt x="1123" y="189"/>
                          <a:pt x="1137" y="189"/>
                          <a:pt x="1138" y="193"/>
                        </a:cubicBezTo>
                        <a:cubicBezTo>
                          <a:pt x="1139" y="197"/>
                          <a:pt x="1132" y="204"/>
                          <a:pt x="1132" y="209"/>
                        </a:cubicBezTo>
                        <a:cubicBezTo>
                          <a:pt x="1132" y="214"/>
                          <a:pt x="1135" y="220"/>
                          <a:pt x="1138" y="223"/>
                        </a:cubicBezTo>
                        <a:cubicBezTo>
                          <a:pt x="1141" y="226"/>
                          <a:pt x="1148" y="225"/>
                          <a:pt x="1150" y="229"/>
                        </a:cubicBezTo>
                        <a:cubicBezTo>
                          <a:pt x="1152" y="233"/>
                          <a:pt x="1150" y="238"/>
                          <a:pt x="1150" y="245"/>
                        </a:cubicBezTo>
                        <a:cubicBezTo>
                          <a:pt x="1150" y="252"/>
                          <a:pt x="1150" y="263"/>
                          <a:pt x="1148" y="269"/>
                        </a:cubicBezTo>
                        <a:cubicBezTo>
                          <a:pt x="1146" y="275"/>
                          <a:pt x="1138" y="280"/>
                          <a:pt x="1135" y="284"/>
                        </a:cubicBezTo>
                        <a:cubicBezTo>
                          <a:pt x="1132" y="288"/>
                          <a:pt x="1131" y="288"/>
                          <a:pt x="1130" y="293"/>
                        </a:cubicBezTo>
                        <a:cubicBezTo>
                          <a:pt x="1129" y="298"/>
                          <a:pt x="1129" y="307"/>
                          <a:pt x="1130" y="313"/>
                        </a:cubicBezTo>
                        <a:cubicBezTo>
                          <a:pt x="1131" y="319"/>
                          <a:pt x="1132" y="324"/>
                          <a:pt x="1136" y="328"/>
                        </a:cubicBezTo>
                        <a:cubicBezTo>
                          <a:pt x="1140" y="332"/>
                          <a:pt x="1153" y="333"/>
                          <a:pt x="1154" y="337"/>
                        </a:cubicBezTo>
                        <a:cubicBezTo>
                          <a:pt x="1155" y="341"/>
                          <a:pt x="1144" y="348"/>
                          <a:pt x="1142" y="352"/>
                        </a:cubicBezTo>
                        <a:cubicBezTo>
                          <a:pt x="1140" y="356"/>
                          <a:pt x="1142" y="358"/>
                          <a:pt x="1144" y="359"/>
                        </a:cubicBezTo>
                        <a:cubicBezTo>
                          <a:pt x="1146" y="360"/>
                          <a:pt x="1156" y="354"/>
                          <a:pt x="1157" y="361"/>
                        </a:cubicBezTo>
                        <a:lnTo>
                          <a:pt x="1151" y="404"/>
                        </a:lnTo>
                        <a:lnTo>
                          <a:pt x="1150" y="428"/>
                        </a:lnTo>
                        <a:cubicBezTo>
                          <a:pt x="1150" y="433"/>
                          <a:pt x="1150" y="434"/>
                          <a:pt x="1151" y="437"/>
                        </a:cubicBezTo>
                        <a:cubicBezTo>
                          <a:pt x="1152" y="440"/>
                          <a:pt x="1153" y="446"/>
                          <a:pt x="1157" y="448"/>
                        </a:cubicBezTo>
                        <a:cubicBezTo>
                          <a:pt x="1161" y="450"/>
                          <a:pt x="1170" y="452"/>
                          <a:pt x="1174" y="451"/>
                        </a:cubicBezTo>
                        <a:cubicBezTo>
                          <a:pt x="1178" y="450"/>
                          <a:pt x="1177" y="443"/>
                          <a:pt x="1181" y="440"/>
                        </a:cubicBezTo>
                        <a:cubicBezTo>
                          <a:pt x="1185" y="437"/>
                          <a:pt x="1191" y="432"/>
                          <a:pt x="1195" y="433"/>
                        </a:cubicBezTo>
                        <a:cubicBezTo>
                          <a:pt x="1199" y="434"/>
                          <a:pt x="1203" y="441"/>
                          <a:pt x="1204" y="446"/>
                        </a:cubicBezTo>
                        <a:cubicBezTo>
                          <a:pt x="1205" y="451"/>
                          <a:pt x="1204" y="458"/>
                          <a:pt x="1204" y="463"/>
                        </a:cubicBezTo>
                        <a:cubicBezTo>
                          <a:pt x="1204" y="468"/>
                          <a:pt x="1205" y="471"/>
                          <a:pt x="1205" y="475"/>
                        </a:cubicBezTo>
                        <a:cubicBezTo>
                          <a:pt x="1205" y="479"/>
                          <a:pt x="1204" y="481"/>
                          <a:pt x="1205" y="485"/>
                        </a:cubicBezTo>
                        <a:cubicBezTo>
                          <a:pt x="1206" y="489"/>
                          <a:pt x="1213" y="495"/>
                          <a:pt x="1211" y="499"/>
                        </a:cubicBezTo>
                        <a:cubicBezTo>
                          <a:pt x="1209" y="503"/>
                          <a:pt x="1200" y="508"/>
                          <a:pt x="1195" y="508"/>
                        </a:cubicBezTo>
                        <a:cubicBezTo>
                          <a:pt x="1190" y="508"/>
                          <a:pt x="1206" y="501"/>
                          <a:pt x="1180" y="499"/>
                        </a:cubicBezTo>
                        <a:cubicBezTo>
                          <a:pt x="1154" y="497"/>
                          <a:pt x="1065" y="497"/>
                          <a:pt x="1037" y="497"/>
                        </a:cubicBezTo>
                        <a:cubicBezTo>
                          <a:pt x="1009" y="497"/>
                          <a:pt x="1016" y="496"/>
                          <a:pt x="1009" y="497"/>
                        </a:cubicBezTo>
                        <a:cubicBezTo>
                          <a:pt x="1002" y="498"/>
                          <a:pt x="999" y="502"/>
                          <a:pt x="994" y="503"/>
                        </a:cubicBezTo>
                        <a:cubicBezTo>
                          <a:pt x="989" y="504"/>
                          <a:pt x="985" y="503"/>
                          <a:pt x="979" y="505"/>
                        </a:cubicBezTo>
                        <a:cubicBezTo>
                          <a:pt x="973" y="507"/>
                          <a:pt x="962" y="510"/>
                          <a:pt x="958" y="515"/>
                        </a:cubicBezTo>
                        <a:cubicBezTo>
                          <a:pt x="954" y="520"/>
                          <a:pt x="957" y="527"/>
                          <a:pt x="955" y="532"/>
                        </a:cubicBezTo>
                        <a:cubicBezTo>
                          <a:pt x="953" y="537"/>
                          <a:pt x="948" y="544"/>
                          <a:pt x="946" y="548"/>
                        </a:cubicBezTo>
                        <a:cubicBezTo>
                          <a:pt x="944" y="552"/>
                          <a:pt x="943" y="555"/>
                          <a:pt x="940" y="559"/>
                        </a:cubicBezTo>
                        <a:cubicBezTo>
                          <a:pt x="937" y="563"/>
                          <a:pt x="928" y="567"/>
                          <a:pt x="926" y="571"/>
                        </a:cubicBezTo>
                        <a:cubicBezTo>
                          <a:pt x="924" y="575"/>
                          <a:pt x="927" y="578"/>
                          <a:pt x="925" y="581"/>
                        </a:cubicBezTo>
                        <a:cubicBezTo>
                          <a:pt x="923" y="584"/>
                          <a:pt x="911" y="587"/>
                          <a:pt x="911" y="590"/>
                        </a:cubicBezTo>
                        <a:cubicBezTo>
                          <a:pt x="911" y="593"/>
                          <a:pt x="921" y="598"/>
                          <a:pt x="922" y="601"/>
                        </a:cubicBezTo>
                        <a:cubicBezTo>
                          <a:pt x="923" y="604"/>
                          <a:pt x="919" y="604"/>
                          <a:pt x="916" y="605"/>
                        </a:cubicBezTo>
                        <a:cubicBezTo>
                          <a:pt x="913" y="606"/>
                          <a:pt x="906" y="606"/>
                          <a:pt x="904" y="607"/>
                        </a:cubicBezTo>
                        <a:cubicBezTo>
                          <a:pt x="902" y="608"/>
                          <a:pt x="906" y="612"/>
                          <a:pt x="904" y="614"/>
                        </a:cubicBezTo>
                        <a:cubicBezTo>
                          <a:pt x="902" y="616"/>
                          <a:pt x="894" y="618"/>
                          <a:pt x="889" y="620"/>
                        </a:cubicBezTo>
                        <a:cubicBezTo>
                          <a:pt x="884" y="622"/>
                          <a:pt x="880" y="628"/>
                          <a:pt x="874" y="628"/>
                        </a:cubicBezTo>
                        <a:cubicBezTo>
                          <a:pt x="868" y="628"/>
                          <a:pt x="859" y="619"/>
                          <a:pt x="853" y="619"/>
                        </a:cubicBezTo>
                        <a:cubicBezTo>
                          <a:pt x="830" y="627"/>
                          <a:pt x="843" y="627"/>
                          <a:pt x="835" y="628"/>
                        </a:cubicBezTo>
                        <a:cubicBezTo>
                          <a:pt x="827" y="629"/>
                          <a:pt x="810" y="624"/>
                          <a:pt x="803" y="625"/>
                        </a:cubicBezTo>
                        <a:cubicBezTo>
                          <a:pt x="796" y="626"/>
                          <a:pt x="795" y="631"/>
                          <a:pt x="791" y="634"/>
                        </a:cubicBezTo>
                        <a:cubicBezTo>
                          <a:pt x="787" y="637"/>
                          <a:pt x="783" y="639"/>
                          <a:pt x="779" y="641"/>
                        </a:cubicBezTo>
                        <a:cubicBezTo>
                          <a:pt x="762" y="659"/>
                          <a:pt x="775" y="647"/>
                          <a:pt x="764" y="647"/>
                        </a:cubicBezTo>
                        <a:cubicBezTo>
                          <a:pt x="753" y="647"/>
                          <a:pt x="722" y="642"/>
                          <a:pt x="712" y="641"/>
                        </a:cubicBezTo>
                        <a:cubicBezTo>
                          <a:pt x="702" y="640"/>
                          <a:pt x="707" y="639"/>
                          <a:pt x="704" y="640"/>
                        </a:cubicBezTo>
                        <a:cubicBezTo>
                          <a:pt x="701" y="641"/>
                          <a:pt x="698" y="646"/>
                          <a:pt x="691" y="647"/>
                        </a:cubicBezTo>
                        <a:cubicBezTo>
                          <a:pt x="684" y="648"/>
                          <a:pt x="672" y="647"/>
                          <a:pt x="664" y="649"/>
                        </a:cubicBezTo>
                        <a:cubicBezTo>
                          <a:pt x="656" y="651"/>
                          <a:pt x="654" y="658"/>
                          <a:pt x="644" y="658"/>
                        </a:cubicBezTo>
                        <a:cubicBezTo>
                          <a:pt x="634" y="658"/>
                          <a:pt x="611" y="655"/>
                          <a:pt x="602" y="652"/>
                        </a:cubicBezTo>
                        <a:cubicBezTo>
                          <a:pt x="593" y="649"/>
                          <a:pt x="596" y="642"/>
                          <a:pt x="592" y="640"/>
                        </a:cubicBezTo>
                        <a:cubicBezTo>
                          <a:pt x="588" y="638"/>
                          <a:pt x="580" y="641"/>
                          <a:pt x="575" y="641"/>
                        </a:cubicBezTo>
                        <a:cubicBezTo>
                          <a:pt x="570" y="641"/>
                          <a:pt x="566" y="639"/>
                          <a:pt x="563" y="641"/>
                        </a:cubicBezTo>
                        <a:cubicBezTo>
                          <a:pt x="560" y="643"/>
                          <a:pt x="557" y="652"/>
                          <a:pt x="554" y="653"/>
                        </a:cubicBezTo>
                        <a:cubicBezTo>
                          <a:pt x="551" y="654"/>
                          <a:pt x="548" y="649"/>
                          <a:pt x="545" y="650"/>
                        </a:cubicBezTo>
                        <a:cubicBezTo>
                          <a:pt x="542" y="651"/>
                          <a:pt x="539" y="662"/>
                          <a:pt x="538" y="661"/>
                        </a:cubicBezTo>
                        <a:cubicBezTo>
                          <a:pt x="537" y="660"/>
                          <a:pt x="542" y="646"/>
                          <a:pt x="539" y="646"/>
                        </a:cubicBezTo>
                        <a:cubicBezTo>
                          <a:pt x="536" y="646"/>
                          <a:pt x="523" y="658"/>
                          <a:pt x="518" y="659"/>
                        </a:cubicBezTo>
                        <a:cubicBezTo>
                          <a:pt x="513" y="660"/>
                          <a:pt x="523" y="655"/>
                          <a:pt x="508" y="655"/>
                        </a:cubicBezTo>
                        <a:cubicBezTo>
                          <a:pt x="493" y="655"/>
                          <a:pt x="446" y="658"/>
                          <a:pt x="428" y="658"/>
                        </a:cubicBezTo>
                        <a:cubicBezTo>
                          <a:pt x="410" y="658"/>
                          <a:pt x="410" y="655"/>
                          <a:pt x="401" y="656"/>
                        </a:cubicBezTo>
                        <a:cubicBezTo>
                          <a:pt x="392" y="657"/>
                          <a:pt x="378" y="666"/>
                          <a:pt x="371" y="667"/>
                        </a:cubicBezTo>
                        <a:cubicBezTo>
                          <a:pt x="364" y="668"/>
                          <a:pt x="370" y="661"/>
                          <a:pt x="359" y="659"/>
                        </a:cubicBezTo>
                        <a:cubicBezTo>
                          <a:pt x="341" y="653"/>
                          <a:pt x="315" y="657"/>
                          <a:pt x="302" y="655"/>
                        </a:cubicBezTo>
                        <a:cubicBezTo>
                          <a:pt x="289" y="653"/>
                          <a:pt x="290" y="649"/>
                          <a:pt x="286" y="647"/>
                        </a:cubicBezTo>
                        <a:cubicBezTo>
                          <a:pt x="282" y="645"/>
                          <a:pt x="280" y="642"/>
                          <a:pt x="277" y="641"/>
                        </a:cubicBezTo>
                        <a:cubicBezTo>
                          <a:pt x="274" y="640"/>
                          <a:pt x="275" y="645"/>
                          <a:pt x="266" y="643"/>
                        </a:cubicBezTo>
                        <a:cubicBezTo>
                          <a:pt x="257" y="641"/>
                          <a:pt x="231" y="632"/>
                          <a:pt x="220" y="626"/>
                        </a:cubicBezTo>
                        <a:cubicBezTo>
                          <a:pt x="209" y="620"/>
                          <a:pt x="205" y="611"/>
                          <a:pt x="200" y="607"/>
                        </a:cubicBezTo>
                        <a:cubicBezTo>
                          <a:pt x="195" y="603"/>
                          <a:pt x="193" y="602"/>
                          <a:pt x="187" y="599"/>
                        </a:cubicBezTo>
                        <a:cubicBezTo>
                          <a:pt x="181" y="596"/>
                          <a:pt x="167" y="592"/>
                          <a:pt x="161" y="590"/>
                        </a:cubicBezTo>
                        <a:cubicBezTo>
                          <a:pt x="155" y="588"/>
                          <a:pt x="154" y="585"/>
                          <a:pt x="151" y="584"/>
                        </a:cubicBezTo>
                        <a:cubicBezTo>
                          <a:pt x="148" y="583"/>
                          <a:pt x="149" y="585"/>
                          <a:pt x="143" y="586"/>
                        </a:cubicBezTo>
                        <a:cubicBezTo>
                          <a:pt x="137" y="587"/>
                          <a:pt x="122" y="590"/>
                          <a:pt x="116" y="589"/>
                        </a:cubicBezTo>
                        <a:cubicBezTo>
                          <a:pt x="110" y="588"/>
                          <a:pt x="111" y="584"/>
                          <a:pt x="107" y="581"/>
                        </a:cubicBezTo>
                        <a:cubicBezTo>
                          <a:pt x="103" y="578"/>
                          <a:pt x="96" y="574"/>
                          <a:pt x="92" y="571"/>
                        </a:cubicBezTo>
                        <a:cubicBezTo>
                          <a:pt x="88" y="568"/>
                          <a:pt x="89" y="566"/>
                          <a:pt x="85" y="565"/>
                        </a:cubicBezTo>
                        <a:cubicBezTo>
                          <a:pt x="81" y="564"/>
                          <a:pt x="71" y="567"/>
                          <a:pt x="67" y="566"/>
                        </a:cubicBezTo>
                        <a:cubicBezTo>
                          <a:pt x="63" y="565"/>
                          <a:pt x="66" y="559"/>
                          <a:pt x="61" y="556"/>
                        </a:cubicBezTo>
                        <a:cubicBezTo>
                          <a:pt x="56" y="553"/>
                          <a:pt x="42" y="552"/>
                          <a:pt x="37" y="550"/>
                        </a:cubicBezTo>
                        <a:cubicBezTo>
                          <a:pt x="32" y="548"/>
                          <a:pt x="34" y="544"/>
                          <a:pt x="29" y="542"/>
                        </a:cubicBezTo>
                        <a:cubicBezTo>
                          <a:pt x="24" y="540"/>
                          <a:pt x="8" y="542"/>
                          <a:pt x="4" y="539"/>
                        </a:cubicBezTo>
                        <a:cubicBezTo>
                          <a:pt x="0" y="536"/>
                          <a:pt x="0" y="526"/>
                          <a:pt x="4" y="521"/>
                        </a:cubicBezTo>
                        <a:cubicBezTo>
                          <a:pt x="8" y="516"/>
                          <a:pt x="21" y="514"/>
                          <a:pt x="26" y="509"/>
                        </a:cubicBezTo>
                        <a:cubicBezTo>
                          <a:pt x="31" y="504"/>
                          <a:pt x="32" y="496"/>
                          <a:pt x="37" y="490"/>
                        </a:cubicBezTo>
                        <a:cubicBezTo>
                          <a:pt x="42" y="484"/>
                          <a:pt x="50" y="474"/>
                          <a:pt x="56" y="473"/>
                        </a:cubicBezTo>
                        <a:cubicBezTo>
                          <a:pt x="62" y="472"/>
                          <a:pt x="69" y="482"/>
                          <a:pt x="71" y="481"/>
                        </a:cubicBezTo>
                        <a:cubicBezTo>
                          <a:pt x="73" y="480"/>
                          <a:pt x="67" y="473"/>
                          <a:pt x="68" y="469"/>
                        </a:cubicBezTo>
                        <a:cubicBezTo>
                          <a:pt x="69" y="465"/>
                          <a:pt x="75" y="462"/>
                          <a:pt x="76" y="458"/>
                        </a:cubicBezTo>
                        <a:cubicBezTo>
                          <a:pt x="77" y="454"/>
                          <a:pt x="75" y="447"/>
                          <a:pt x="77" y="443"/>
                        </a:cubicBezTo>
                        <a:cubicBezTo>
                          <a:pt x="79" y="439"/>
                          <a:pt x="83" y="435"/>
                          <a:pt x="88" y="433"/>
                        </a:cubicBezTo>
                        <a:cubicBezTo>
                          <a:pt x="93" y="431"/>
                          <a:pt x="104" y="432"/>
                          <a:pt x="107" y="431"/>
                        </a:cubicBezTo>
                        <a:cubicBezTo>
                          <a:pt x="110" y="430"/>
                          <a:pt x="105" y="428"/>
                          <a:pt x="104" y="425"/>
                        </a:cubicBezTo>
                        <a:cubicBezTo>
                          <a:pt x="103" y="422"/>
                          <a:pt x="100" y="412"/>
                          <a:pt x="101" y="410"/>
                        </a:cubicBezTo>
                        <a:cubicBezTo>
                          <a:pt x="102" y="408"/>
                          <a:pt x="107" y="411"/>
                          <a:pt x="109" y="409"/>
                        </a:cubicBezTo>
                        <a:cubicBezTo>
                          <a:pt x="111" y="407"/>
                          <a:pt x="112" y="403"/>
                          <a:pt x="112" y="400"/>
                        </a:cubicBezTo>
                        <a:cubicBezTo>
                          <a:pt x="112" y="397"/>
                          <a:pt x="111" y="392"/>
                          <a:pt x="112" y="388"/>
                        </a:cubicBezTo>
                        <a:cubicBezTo>
                          <a:pt x="113" y="384"/>
                          <a:pt x="119" y="381"/>
                          <a:pt x="121" y="377"/>
                        </a:cubicBezTo>
                        <a:cubicBezTo>
                          <a:pt x="123" y="373"/>
                          <a:pt x="122" y="365"/>
                          <a:pt x="125" y="361"/>
                        </a:cubicBezTo>
                        <a:cubicBezTo>
                          <a:pt x="128" y="357"/>
                          <a:pt x="136" y="356"/>
                          <a:pt x="140" y="352"/>
                        </a:cubicBezTo>
                        <a:cubicBezTo>
                          <a:pt x="144" y="348"/>
                          <a:pt x="147" y="340"/>
                          <a:pt x="151" y="335"/>
                        </a:cubicBezTo>
                        <a:cubicBezTo>
                          <a:pt x="155" y="330"/>
                          <a:pt x="158" y="326"/>
                          <a:pt x="164" y="323"/>
                        </a:cubicBezTo>
                        <a:cubicBezTo>
                          <a:pt x="170" y="320"/>
                          <a:pt x="180" y="317"/>
                          <a:pt x="185" y="316"/>
                        </a:cubicBezTo>
                        <a:cubicBezTo>
                          <a:pt x="190" y="315"/>
                          <a:pt x="192" y="316"/>
                          <a:pt x="196" y="314"/>
                        </a:cubicBezTo>
                        <a:cubicBezTo>
                          <a:pt x="200" y="312"/>
                          <a:pt x="207" y="307"/>
                          <a:pt x="211" y="305"/>
                        </a:cubicBezTo>
                        <a:cubicBezTo>
                          <a:pt x="215" y="303"/>
                          <a:pt x="219" y="305"/>
                          <a:pt x="223" y="304"/>
                        </a:cubicBezTo>
                        <a:cubicBezTo>
                          <a:pt x="227" y="303"/>
                          <a:pt x="231" y="299"/>
                          <a:pt x="235" y="296"/>
                        </a:cubicBezTo>
                        <a:cubicBezTo>
                          <a:pt x="239" y="293"/>
                          <a:pt x="244" y="287"/>
                          <a:pt x="250" y="284"/>
                        </a:cubicBezTo>
                        <a:cubicBezTo>
                          <a:pt x="256" y="281"/>
                          <a:pt x="266" y="280"/>
                          <a:pt x="271" y="277"/>
                        </a:cubicBezTo>
                        <a:cubicBezTo>
                          <a:pt x="276" y="274"/>
                          <a:pt x="277" y="267"/>
                          <a:pt x="281" y="266"/>
                        </a:cubicBezTo>
                        <a:cubicBezTo>
                          <a:pt x="285" y="265"/>
                          <a:pt x="294" y="271"/>
                          <a:pt x="296" y="268"/>
                        </a:cubicBezTo>
                        <a:cubicBezTo>
                          <a:pt x="298" y="265"/>
                          <a:pt x="293" y="247"/>
                          <a:pt x="296" y="245"/>
                        </a:cubicBezTo>
                        <a:cubicBezTo>
                          <a:pt x="299" y="243"/>
                          <a:pt x="313" y="255"/>
                          <a:pt x="317" y="253"/>
                        </a:cubicBezTo>
                        <a:cubicBezTo>
                          <a:pt x="321" y="251"/>
                          <a:pt x="316" y="237"/>
                          <a:pt x="320" y="232"/>
                        </a:cubicBezTo>
                        <a:cubicBezTo>
                          <a:pt x="324" y="227"/>
                          <a:pt x="335" y="227"/>
                          <a:pt x="340" y="223"/>
                        </a:cubicBezTo>
                        <a:cubicBezTo>
                          <a:pt x="345" y="219"/>
                          <a:pt x="347" y="212"/>
                          <a:pt x="349" y="208"/>
                        </a:cubicBezTo>
                        <a:cubicBezTo>
                          <a:pt x="351" y="204"/>
                          <a:pt x="351" y="203"/>
                          <a:pt x="353" y="200"/>
                        </a:cubicBezTo>
                        <a:cubicBezTo>
                          <a:pt x="357" y="201"/>
                          <a:pt x="362" y="193"/>
                          <a:pt x="364" y="187"/>
                        </a:cubicBezTo>
                        <a:cubicBezTo>
                          <a:pt x="366" y="181"/>
                          <a:pt x="364" y="170"/>
                          <a:pt x="368" y="166"/>
                        </a:cubicBezTo>
                        <a:cubicBezTo>
                          <a:pt x="372" y="162"/>
                          <a:pt x="382" y="164"/>
                          <a:pt x="386" y="161"/>
                        </a:cubicBezTo>
                        <a:cubicBezTo>
                          <a:pt x="390" y="158"/>
                          <a:pt x="389" y="150"/>
                          <a:pt x="392" y="145"/>
                        </a:cubicBezTo>
                        <a:cubicBezTo>
                          <a:pt x="395" y="140"/>
                          <a:pt x="401" y="136"/>
                          <a:pt x="403" y="133"/>
                        </a:cubicBezTo>
                        <a:cubicBezTo>
                          <a:pt x="405" y="130"/>
                          <a:pt x="405" y="129"/>
                          <a:pt x="406" y="125"/>
                        </a:cubicBezTo>
                        <a:cubicBezTo>
                          <a:pt x="407" y="121"/>
                          <a:pt x="405" y="113"/>
                          <a:pt x="407" y="109"/>
                        </a:cubicBezTo>
                        <a:cubicBezTo>
                          <a:pt x="409" y="105"/>
                          <a:pt x="415" y="101"/>
                          <a:pt x="419" y="100"/>
                        </a:cubicBezTo>
                        <a:cubicBezTo>
                          <a:pt x="423" y="99"/>
                          <a:pt x="429" y="101"/>
                          <a:pt x="434" y="104"/>
                        </a:cubicBezTo>
                        <a:cubicBezTo>
                          <a:pt x="439" y="107"/>
                          <a:pt x="445" y="112"/>
                          <a:pt x="448" y="116"/>
                        </a:cubicBezTo>
                        <a:cubicBezTo>
                          <a:pt x="451" y="120"/>
                          <a:pt x="454" y="124"/>
                          <a:pt x="454" y="128"/>
                        </a:cubicBezTo>
                        <a:cubicBezTo>
                          <a:pt x="454" y="132"/>
                          <a:pt x="447" y="135"/>
                          <a:pt x="448" y="140"/>
                        </a:cubicBezTo>
                        <a:cubicBezTo>
                          <a:pt x="449" y="145"/>
                          <a:pt x="456" y="153"/>
                          <a:pt x="460" y="157"/>
                        </a:cubicBezTo>
                        <a:cubicBezTo>
                          <a:pt x="464" y="161"/>
                          <a:pt x="469" y="162"/>
                          <a:pt x="473" y="163"/>
                        </a:cubicBezTo>
                        <a:cubicBezTo>
                          <a:pt x="477" y="164"/>
                          <a:pt x="480" y="164"/>
                          <a:pt x="484" y="166"/>
                        </a:cubicBez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95" name="Freeform 17">
                    <a:extLst>
                      <a:ext uri="{FF2B5EF4-FFF2-40B4-BE49-F238E27FC236}">
                        <a16:creationId xmlns:a16="http://schemas.microsoft.com/office/drawing/2014/main" id="{AB2AF3AF-820C-44F5-866E-257F835152CA}"/>
                      </a:ext>
                    </a:extLst>
                  </p:cNvPr>
                  <p:cNvSpPr/>
                  <p:nvPr/>
                </p:nvSpPr>
                <p:spPr>
                  <a:xfrm>
                    <a:off x="7286829" y="1963639"/>
                    <a:ext cx="2478348" cy="1529916"/>
                  </a:xfrm>
                  <a:custGeom>
                    <a:avLst/>
                    <a:gdLst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66725 w 1423987"/>
                      <a:gd name="connsiteY32" fmla="*/ 638175 h 895350"/>
                      <a:gd name="connsiteX33" fmla="*/ 457200 w 1423987"/>
                      <a:gd name="connsiteY33" fmla="*/ 595313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52537 w 1423987"/>
                      <a:gd name="connsiteY51" fmla="*/ 690563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33500 w 1423987"/>
                      <a:gd name="connsiteY55" fmla="*/ 757238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47787 w 1423987"/>
                      <a:gd name="connsiteY60" fmla="*/ 619125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57200 w 1423987"/>
                      <a:gd name="connsiteY33" fmla="*/ 595313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52537 w 1423987"/>
                      <a:gd name="connsiteY51" fmla="*/ 690563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33500 w 1423987"/>
                      <a:gd name="connsiteY55" fmla="*/ 757238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47787 w 1423987"/>
                      <a:gd name="connsiteY60" fmla="*/ 619125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52537 w 1423987"/>
                      <a:gd name="connsiteY51" fmla="*/ 690563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33500 w 1423987"/>
                      <a:gd name="connsiteY55" fmla="*/ 757238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47787 w 1423987"/>
                      <a:gd name="connsiteY60" fmla="*/ 619125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43101 w 1423987"/>
                      <a:gd name="connsiteY51" fmla="*/ 704850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33500 w 1423987"/>
                      <a:gd name="connsiteY55" fmla="*/ 757238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47787 w 1423987"/>
                      <a:gd name="connsiteY60" fmla="*/ 619125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43101 w 1423987"/>
                      <a:gd name="connsiteY51" fmla="*/ 704850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54733 w 1423987"/>
                      <a:gd name="connsiteY55" fmla="*/ 769144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47787 w 1423987"/>
                      <a:gd name="connsiteY60" fmla="*/ 619125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28637 w 1423987"/>
                      <a:gd name="connsiteY36" fmla="*/ 538163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43101 w 1423987"/>
                      <a:gd name="connsiteY51" fmla="*/ 704850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54733 w 1423987"/>
                      <a:gd name="connsiteY55" fmla="*/ 769144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59583 w 1423987"/>
                      <a:gd name="connsiteY60" fmla="*/ 611981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38100 w 1423987"/>
                      <a:gd name="connsiteY2" fmla="*/ 300038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19200 w 1423987"/>
                      <a:gd name="connsiteY36" fmla="*/ 566738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43101 w 1423987"/>
                      <a:gd name="connsiteY51" fmla="*/ 704850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54733 w 1423987"/>
                      <a:gd name="connsiteY55" fmla="*/ 769144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59583 w 1423987"/>
                      <a:gd name="connsiteY60" fmla="*/ 611981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23812 w 1423987"/>
                      <a:gd name="connsiteY0" fmla="*/ 242888 h 895350"/>
                      <a:gd name="connsiteX1" fmla="*/ 0 w 1423987"/>
                      <a:gd name="connsiteY1" fmla="*/ 290513 h 895350"/>
                      <a:gd name="connsiteX2" fmla="*/ 19226 w 1423987"/>
                      <a:gd name="connsiteY2" fmla="*/ 304800 h 895350"/>
                      <a:gd name="connsiteX3" fmla="*/ 38100 w 1423987"/>
                      <a:gd name="connsiteY3" fmla="*/ 333375 h 895350"/>
                      <a:gd name="connsiteX4" fmla="*/ 23812 w 1423987"/>
                      <a:gd name="connsiteY4" fmla="*/ 371475 h 895350"/>
                      <a:gd name="connsiteX5" fmla="*/ 52387 w 1423987"/>
                      <a:gd name="connsiteY5" fmla="*/ 385763 h 895350"/>
                      <a:gd name="connsiteX6" fmla="*/ 57150 w 1423987"/>
                      <a:gd name="connsiteY6" fmla="*/ 457200 h 895350"/>
                      <a:gd name="connsiteX7" fmla="*/ 66675 w 1423987"/>
                      <a:gd name="connsiteY7" fmla="*/ 485775 h 895350"/>
                      <a:gd name="connsiteX8" fmla="*/ 76200 w 1423987"/>
                      <a:gd name="connsiteY8" fmla="*/ 538163 h 895350"/>
                      <a:gd name="connsiteX9" fmla="*/ 76200 w 1423987"/>
                      <a:gd name="connsiteY9" fmla="*/ 538163 h 895350"/>
                      <a:gd name="connsiteX10" fmla="*/ 95250 w 1423987"/>
                      <a:gd name="connsiteY10" fmla="*/ 590550 h 895350"/>
                      <a:gd name="connsiteX11" fmla="*/ 100012 w 1423987"/>
                      <a:gd name="connsiteY11" fmla="*/ 628650 h 895350"/>
                      <a:gd name="connsiteX12" fmla="*/ 100012 w 1423987"/>
                      <a:gd name="connsiteY12" fmla="*/ 685800 h 895350"/>
                      <a:gd name="connsiteX13" fmla="*/ 57150 w 1423987"/>
                      <a:gd name="connsiteY13" fmla="*/ 738188 h 895350"/>
                      <a:gd name="connsiteX14" fmla="*/ 28575 w 1423987"/>
                      <a:gd name="connsiteY14" fmla="*/ 809625 h 895350"/>
                      <a:gd name="connsiteX15" fmla="*/ 33337 w 1423987"/>
                      <a:gd name="connsiteY15" fmla="*/ 847725 h 895350"/>
                      <a:gd name="connsiteX16" fmla="*/ 76200 w 1423987"/>
                      <a:gd name="connsiteY16" fmla="*/ 809625 h 895350"/>
                      <a:gd name="connsiteX17" fmla="*/ 119062 w 1423987"/>
                      <a:gd name="connsiteY17" fmla="*/ 809625 h 895350"/>
                      <a:gd name="connsiteX18" fmla="*/ 161925 w 1423987"/>
                      <a:gd name="connsiteY18" fmla="*/ 833438 h 895350"/>
                      <a:gd name="connsiteX19" fmla="*/ 190500 w 1423987"/>
                      <a:gd name="connsiteY19" fmla="*/ 881063 h 895350"/>
                      <a:gd name="connsiteX20" fmla="*/ 223837 w 1423987"/>
                      <a:gd name="connsiteY20" fmla="*/ 895350 h 895350"/>
                      <a:gd name="connsiteX21" fmla="*/ 223837 w 1423987"/>
                      <a:gd name="connsiteY21" fmla="*/ 895350 h 895350"/>
                      <a:gd name="connsiteX22" fmla="*/ 266700 w 1423987"/>
                      <a:gd name="connsiteY22" fmla="*/ 876300 h 895350"/>
                      <a:gd name="connsiteX23" fmla="*/ 276225 w 1423987"/>
                      <a:gd name="connsiteY23" fmla="*/ 833438 h 895350"/>
                      <a:gd name="connsiteX24" fmla="*/ 276225 w 1423987"/>
                      <a:gd name="connsiteY24" fmla="*/ 833438 h 895350"/>
                      <a:gd name="connsiteX25" fmla="*/ 338137 w 1423987"/>
                      <a:gd name="connsiteY25" fmla="*/ 857250 h 895350"/>
                      <a:gd name="connsiteX26" fmla="*/ 338137 w 1423987"/>
                      <a:gd name="connsiteY26" fmla="*/ 857250 h 895350"/>
                      <a:gd name="connsiteX27" fmla="*/ 390525 w 1423987"/>
                      <a:gd name="connsiteY27" fmla="*/ 838200 h 895350"/>
                      <a:gd name="connsiteX28" fmla="*/ 414337 w 1423987"/>
                      <a:gd name="connsiteY28" fmla="*/ 819150 h 895350"/>
                      <a:gd name="connsiteX29" fmla="*/ 442912 w 1423987"/>
                      <a:gd name="connsiteY29" fmla="*/ 781050 h 895350"/>
                      <a:gd name="connsiteX30" fmla="*/ 447675 w 1423987"/>
                      <a:gd name="connsiteY30" fmla="*/ 728663 h 895350"/>
                      <a:gd name="connsiteX31" fmla="*/ 481012 w 1423987"/>
                      <a:gd name="connsiteY31" fmla="*/ 690563 h 895350"/>
                      <a:gd name="connsiteX32" fmla="*/ 480881 w 1423987"/>
                      <a:gd name="connsiteY32" fmla="*/ 633412 h 895350"/>
                      <a:gd name="connsiteX33" fmla="*/ 466637 w 1423987"/>
                      <a:gd name="connsiteY33" fmla="*/ 585788 h 895350"/>
                      <a:gd name="connsiteX34" fmla="*/ 452437 w 1423987"/>
                      <a:gd name="connsiteY34" fmla="*/ 542925 h 895350"/>
                      <a:gd name="connsiteX35" fmla="*/ 495300 w 1423987"/>
                      <a:gd name="connsiteY35" fmla="*/ 523875 h 895350"/>
                      <a:gd name="connsiteX36" fmla="*/ 519200 w 1423987"/>
                      <a:gd name="connsiteY36" fmla="*/ 566738 h 895350"/>
                      <a:gd name="connsiteX37" fmla="*/ 557212 w 1423987"/>
                      <a:gd name="connsiteY37" fmla="*/ 566738 h 895350"/>
                      <a:gd name="connsiteX38" fmla="*/ 590550 w 1423987"/>
                      <a:gd name="connsiteY38" fmla="*/ 519113 h 895350"/>
                      <a:gd name="connsiteX39" fmla="*/ 633412 w 1423987"/>
                      <a:gd name="connsiteY39" fmla="*/ 519113 h 895350"/>
                      <a:gd name="connsiteX40" fmla="*/ 652462 w 1423987"/>
                      <a:gd name="connsiteY40" fmla="*/ 547688 h 895350"/>
                      <a:gd name="connsiteX41" fmla="*/ 709612 w 1423987"/>
                      <a:gd name="connsiteY41" fmla="*/ 619125 h 895350"/>
                      <a:gd name="connsiteX42" fmla="*/ 719137 w 1423987"/>
                      <a:gd name="connsiteY42" fmla="*/ 647700 h 895350"/>
                      <a:gd name="connsiteX43" fmla="*/ 790575 w 1423987"/>
                      <a:gd name="connsiteY43" fmla="*/ 676275 h 895350"/>
                      <a:gd name="connsiteX44" fmla="*/ 828675 w 1423987"/>
                      <a:gd name="connsiteY44" fmla="*/ 633413 h 895350"/>
                      <a:gd name="connsiteX45" fmla="*/ 871537 w 1423987"/>
                      <a:gd name="connsiteY45" fmla="*/ 633413 h 895350"/>
                      <a:gd name="connsiteX46" fmla="*/ 942975 w 1423987"/>
                      <a:gd name="connsiteY46" fmla="*/ 671513 h 895350"/>
                      <a:gd name="connsiteX47" fmla="*/ 981075 w 1423987"/>
                      <a:gd name="connsiteY47" fmla="*/ 666750 h 895350"/>
                      <a:gd name="connsiteX48" fmla="*/ 1004887 w 1423987"/>
                      <a:gd name="connsiteY48" fmla="*/ 714375 h 895350"/>
                      <a:gd name="connsiteX49" fmla="*/ 1071562 w 1423987"/>
                      <a:gd name="connsiteY49" fmla="*/ 723900 h 895350"/>
                      <a:gd name="connsiteX50" fmla="*/ 1133475 w 1423987"/>
                      <a:gd name="connsiteY50" fmla="*/ 700088 h 895350"/>
                      <a:gd name="connsiteX51" fmla="*/ 1243101 w 1423987"/>
                      <a:gd name="connsiteY51" fmla="*/ 704850 h 895350"/>
                      <a:gd name="connsiteX52" fmla="*/ 1295400 w 1423987"/>
                      <a:gd name="connsiteY52" fmla="*/ 742950 h 895350"/>
                      <a:gd name="connsiteX53" fmla="*/ 1338262 w 1423987"/>
                      <a:gd name="connsiteY53" fmla="*/ 738188 h 895350"/>
                      <a:gd name="connsiteX54" fmla="*/ 1333500 w 1423987"/>
                      <a:gd name="connsiteY54" fmla="*/ 757238 h 895350"/>
                      <a:gd name="connsiteX55" fmla="*/ 1354733 w 1423987"/>
                      <a:gd name="connsiteY55" fmla="*/ 769144 h 895350"/>
                      <a:gd name="connsiteX56" fmla="*/ 1414462 w 1423987"/>
                      <a:gd name="connsiteY56" fmla="*/ 762000 h 895350"/>
                      <a:gd name="connsiteX57" fmla="*/ 1409700 w 1423987"/>
                      <a:gd name="connsiteY57" fmla="*/ 723900 h 895350"/>
                      <a:gd name="connsiteX58" fmla="*/ 1366837 w 1423987"/>
                      <a:gd name="connsiteY58" fmla="*/ 690563 h 895350"/>
                      <a:gd name="connsiteX59" fmla="*/ 1352550 w 1423987"/>
                      <a:gd name="connsiteY59" fmla="*/ 647700 h 895350"/>
                      <a:gd name="connsiteX60" fmla="*/ 1359583 w 1423987"/>
                      <a:gd name="connsiteY60" fmla="*/ 611981 h 895350"/>
                      <a:gd name="connsiteX61" fmla="*/ 1357312 w 1423987"/>
                      <a:gd name="connsiteY61" fmla="*/ 552450 h 895350"/>
                      <a:gd name="connsiteX62" fmla="*/ 1295400 w 1423987"/>
                      <a:gd name="connsiteY62" fmla="*/ 585788 h 895350"/>
                      <a:gd name="connsiteX63" fmla="*/ 1276350 w 1423987"/>
                      <a:gd name="connsiteY63" fmla="*/ 557213 h 895350"/>
                      <a:gd name="connsiteX64" fmla="*/ 1257300 w 1423987"/>
                      <a:gd name="connsiteY64" fmla="*/ 476250 h 895350"/>
                      <a:gd name="connsiteX65" fmla="*/ 1300162 w 1423987"/>
                      <a:gd name="connsiteY65" fmla="*/ 457200 h 895350"/>
                      <a:gd name="connsiteX66" fmla="*/ 1371600 w 1423987"/>
                      <a:gd name="connsiteY66" fmla="*/ 457200 h 895350"/>
                      <a:gd name="connsiteX67" fmla="*/ 1419225 w 1423987"/>
                      <a:gd name="connsiteY67" fmla="*/ 423863 h 895350"/>
                      <a:gd name="connsiteX68" fmla="*/ 1423987 w 1423987"/>
                      <a:gd name="connsiteY68" fmla="*/ 371475 h 895350"/>
                      <a:gd name="connsiteX69" fmla="*/ 1352550 w 1423987"/>
                      <a:gd name="connsiteY69" fmla="*/ 390525 h 895350"/>
                      <a:gd name="connsiteX70" fmla="*/ 1333500 w 1423987"/>
                      <a:gd name="connsiteY70" fmla="*/ 376238 h 895350"/>
                      <a:gd name="connsiteX71" fmla="*/ 1257300 w 1423987"/>
                      <a:gd name="connsiteY71" fmla="*/ 347663 h 895350"/>
                      <a:gd name="connsiteX72" fmla="*/ 1214437 w 1423987"/>
                      <a:gd name="connsiteY72" fmla="*/ 361950 h 895350"/>
                      <a:gd name="connsiteX73" fmla="*/ 1200150 w 1423987"/>
                      <a:gd name="connsiteY73" fmla="*/ 419100 h 895350"/>
                      <a:gd name="connsiteX74" fmla="*/ 1171575 w 1423987"/>
                      <a:gd name="connsiteY74" fmla="*/ 423863 h 895350"/>
                      <a:gd name="connsiteX75" fmla="*/ 1152525 w 1423987"/>
                      <a:gd name="connsiteY75" fmla="*/ 338138 h 895350"/>
                      <a:gd name="connsiteX76" fmla="*/ 1109662 w 1423987"/>
                      <a:gd name="connsiteY76" fmla="*/ 304800 h 895350"/>
                      <a:gd name="connsiteX77" fmla="*/ 1057275 w 1423987"/>
                      <a:gd name="connsiteY77" fmla="*/ 328613 h 895350"/>
                      <a:gd name="connsiteX78" fmla="*/ 1033462 w 1423987"/>
                      <a:gd name="connsiteY78" fmla="*/ 361950 h 895350"/>
                      <a:gd name="connsiteX79" fmla="*/ 1033462 w 1423987"/>
                      <a:gd name="connsiteY79" fmla="*/ 361950 h 895350"/>
                      <a:gd name="connsiteX80" fmla="*/ 990600 w 1423987"/>
                      <a:gd name="connsiteY80" fmla="*/ 381000 h 895350"/>
                      <a:gd name="connsiteX81" fmla="*/ 938212 w 1423987"/>
                      <a:gd name="connsiteY81" fmla="*/ 385763 h 895350"/>
                      <a:gd name="connsiteX82" fmla="*/ 919162 w 1423987"/>
                      <a:gd name="connsiteY82" fmla="*/ 314325 h 895350"/>
                      <a:gd name="connsiteX83" fmla="*/ 942975 w 1423987"/>
                      <a:gd name="connsiteY83" fmla="*/ 195263 h 895350"/>
                      <a:gd name="connsiteX84" fmla="*/ 919162 w 1423987"/>
                      <a:gd name="connsiteY84" fmla="*/ 123825 h 895350"/>
                      <a:gd name="connsiteX85" fmla="*/ 914400 w 1423987"/>
                      <a:gd name="connsiteY85" fmla="*/ 61913 h 895350"/>
                      <a:gd name="connsiteX86" fmla="*/ 866775 w 1423987"/>
                      <a:gd name="connsiteY86" fmla="*/ 4763 h 895350"/>
                      <a:gd name="connsiteX87" fmla="*/ 771525 w 1423987"/>
                      <a:gd name="connsiteY87" fmla="*/ 42863 h 895350"/>
                      <a:gd name="connsiteX88" fmla="*/ 733425 w 1423987"/>
                      <a:gd name="connsiteY88" fmla="*/ 66675 h 895350"/>
                      <a:gd name="connsiteX89" fmla="*/ 614362 w 1423987"/>
                      <a:gd name="connsiteY89" fmla="*/ 9525 h 895350"/>
                      <a:gd name="connsiteX90" fmla="*/ 514350 w 1423987"/>
                      <a:gd name="connsiteY90" fmla="*/ 0 h 895350"/>
                      <a:gd name="connsiteX91" fmla="*/ 390525 w 1423987"/>
                      <a:gd name="connsiteY91" fmla="*/ 80963 h 895350"/>
                      <a:gd name="connsiteX92" fmla="*/ 395287 w 1423987"/>
                      <a:gd name="connsiteY92" fmla="*/ 161925 h 895350"/>
                      <a:gd name="connsiteX93" fmla="*/ 319087 w 1423987"/>
                      <a:gd name="connsiteY93" fmla="*/ 152400 h 895350"/>
                      <a:gd name="connsiteX94" fmla="*/ 171450 w 1423987"/>
                      <a:gd name="connsiteY94" fmla="*/ 190500 h 895350"/>
                      <a:gd name="connsiteX95" fmla="*/ 23812 w 1423987"/>
                      <a:gd name="connsiteY95" fmla="*/ 242888 h 895350"/>
                      <a:gd name="connsiteX0" fmla="*/ 19094 w 1419269"/>
                      <a:gd name="connsiteY0" fmla="*/ 242888 h 895350"/>
                      <a:gd name="connsiteX1" fmla="*/ 0 w 1419269"/>
                      <a:gd name="connsiteY1" fmla="*/ 280988 h 895350"/>
                      <a:gd name="connsiteX2" fmla="*/ 14508 w 1419269"/>
                      <a:gd name="connsiteY2" fmla="*/ 304800 h 895350"/>
                      <a:gd name="connsiteX3" fmla="*/ 33382 w 1419269"/>
                      <a:gd name="connsiteY3" fmla="*/ 333375 h 895350"/>
                      <a:gd name="connsiteX4" fmla="*/ 19094 w 1419269"/>
                      <a:gd name="connsiteY4" fmla="*/ 371475 h 895350"/>
                      <a:gd name="connsiteX5" fmla="*/ 47669 w 1419269"/>
                      <a:gd name="connsiteY5" fmla="*/ 385763 h 895350"/>
                      <a:gd name="connsiteX6" fmla="*/ 52432 w 1419269"/>
                      <a:gd name="connsiteY6" fmla="*/ 457200 h 895350"/>
                      <a:gd name="connsiteX7" fmla="*/ 61957 w 1419269"/>
                      <a:gd name="connsiteY7" fmla="*/ 485775 h 895350"/>
                      <a:gd name="connsiteX8" fmla="*/ 71482 w 1419269"/>
                      <a:gd name="connsiteY8" fmla="*/ 538163 h 895350"/>
                      <a:gd name="connsiteX9" fmla="*/ 71482 w 1419269"/>
                      <a:gd name="connsiteY9" fmla="*/ 538163 h 895350"/>
                      <a:gd name="connsiteX10" fmla="*/ 90532 w 1419269"/>
                      <a:gd name="connsiteY10" fmla="*/ 590550 h 895350"/>
                      <a:gd name="connsiteX11" fmla="*/ 95294 w 1419269"/>
                      <a:gd name="connsiteY11" fmla="*/ 628650 h 895350"/>
                      <a:gd name="connsiteX12" fmla="*/ 95294 w 1419269"/>
                      <a:gd name="connsiteY12" fmla="*/ 685800 h 895350"/>
                      <a:gd name="connsiteX13" fmla="*/ 52432 w 1419269"/>
                      <a:gd name="connsiteY13" fmla="*/ 738188 h 895350"/>
                      <a:gd name="connsiteX14" fmla="*/ 23857 w 1419269"/>
                      <a:gd name="connsiteY14" fmla="*/ 809625 h 895350"/>
                      <a:gd name="connsiteX15" fmla="*/ 28619 w 1419269"/>
                      <a:gd name="connsiteY15" fmla="*/ 847725 h 895350"/>
                      <a:gd name="connsiteX16" fmla="*/ 71482 w 1419269"/>
                      <a:gd name="connsiteY16" fmla="*/ 809625 h 895350"/>
                      <a:gd name="connsiteX17" fmla="*/ 114344 w 1419269"/>
                      <a:gd name="connsiteY17" fmla="*/ 809625 h 895350"/>
                      <a:gd name="connsiteX18" fmla="*/ 157207 w 1419269"/>
                      <a:gd name="connsiteY18" fmla="*/ 833438 h 895350"/>
                      <a:gd name="connsiteX19" fmla="*/ 185782 w 1419269"/>
                      <a:gd name="connsiteY19" fmla="*/ 881063 h 895350"/>
                      <a:gd name="connsiteX20" fmla="*/ 219119 w 1419269"/>
                      <a:gd name="connsiteY20" fmla="*/ 895350 h 895350"/>
                      <a:gd name="connsiteX21" fmla="*/ 219119 w 1419269"/>
                      <a:gd name="connsiteY21" fmla="*/ 895350 h 895350"/>
                      <a:gd name="connsiteX22" fmla="*/ 261982 w 1419269"/>
                      <a:gd name="connsiteY22" fmla="*/ 876300 h 895350"/>
                      <a:gd name="connsiteX23" fmla="*/ 271507 w 1419269"/>
                      <a:gd name="connsiteY23" fmla="*/ 833438 h 895350"/>
                      <a:gd name="connsiteX24" fmla="*/ 271507 w 1419269"/>
                      <a:gd name="connsiteY24" fmla="*/ 833438 h 895350"/>
                      <a:gd name="connsiteX25" fmla="*/ 333419 w 1419269"/>
                      <a:gd name="connsiteY25" fmla="*/ 857250 h 895350"/>
                      <a:gd name="connsiteX26" fmla="*/ 333419 w 1419269"/>
                      <a:gd name="connsiteY26" fmla="*/ 857250 h 895350"/>
                      <a:gd name="connsiteX27" fmla="*/ 385807 w 1419269"/>
                      <a:gd name="connsiteY27" fmla="*/ 838200 h 895350"/>
                      <a:gd name="connsiteX28" fmla="*/ 409619 w 1419269"/>
                      <a:gd name="connsiteY28" fmla="*/ 819150 h 895350"/>
                      <a:gd name="connsiteX29" fmla="*/ 438194 w 1419269"/>
                      <a:gd name="connsiteY29" fmla="*/ 781050 h 895350"/>
                      <a:gd name="connsiteX30" fmla="*/ 442957 w 1419269"/>
                      <a:gd name="connsiteY30" fmla="*/ 728663 h 895350"/>
                      <a:gd name="connsiteX31" fmla="*/ 476294 w 1419269"/>
                      <a:gd name="connsiteY31" fmla="*/ 690563 h 895350"/>
                      <a:gd name="connsiteX32" fmla="*/ 476163 w 1419269"/>
                      <a:gd name="connsiteY32" fmla="*/ 633412 h 895350"/>
                      <a:gd name="connsiteX33" fmla="*/ 461919 w 1419269"/>
                      <a:gd name="connsiteY33" fmla="*/ 585788 h 895350"/>
                      <a:gd name="connsiteX34" fmla="*/ 447719 w 1419269"/>
                      <a:gd name="connsiteY34" fmla="*/ 542925 h 895350"/>
                      <a:gd name="connsiteX35" fmla="*/ 490582 w 1419269"/>
                      <a:gd name="connsiteY35" fmla="*/ 523875 h 895350"/>
                      <a:gd name="connsiteX36" fmla="*/ 514482 w 1419269"/>
                      <a:gd name="connsiteY36" fmla="*/ 566738 h 895350"/>
                      <a:gd name="connsiteX37" fmla="*/ 552494 w 1419269"/>
                      <a:gd name="connsiteY37" fmla="*/ 566738 h 895350"/>
                      <a:gd name="connsiteX38" fmla="*/ 585832 w 1419269"/>
                      <a:gd name="connsiteY38" fmla="*/ 519113 h 895350"/>
                      <a:gd name="connsiteX39" fmla="*/ 628694 w 1419269"/>
                      <a:gd name="connsiteY39" fmla="*/ 519113 h 895350"/>
                      <a:gd name="connsiteX40" fmla="*/ 647744 w 1419269"/>
                      <a:gd name="connsiteY40" fmla="*/ 547688 h 895350"/>
                      <a:gd name="connsiteX41" fmla="*/ 704894 w 1419269"/>
                      <a:gd name="connsiteY41" fmla="*/ 619125 h 895350"/>
                      <a:gd name="connsiteX42" fmla="*/ 714419 w 1419269"/>
                      <a:gd name="connsiteY42" fmla="*/ 647700 h 895350"/>
                      <a:gd name="connsiteX43" fmla="*/ 785857 w 1419269"/>
                      <a:gd name="connsiteY43" fmla="*/ 676275 h 895350"/>
                      <a:gd name="connsiteX44" fmla="*/ 823957 w 1419269"/>
                      <a:gd name="connsiteY44" fmla="*/ 633413 h 895350"/>
                      <a:gd name="connsiteX45" fmla="*/ 866819 w 1419269"/>
                      <a:gd name="connsiteY45" fmla="*/ 633413 h 895350"/>
                      <a:gd name="connsiteX46" fmla="*/ 938257 w 1419269"/>
                      <a:gd name="connsiteY46" fmla="*/ 671513 h 895350"/>
                      <a:gd name="connsiteX47" fmla="*/ 976357 w 1419269"/>
                      <a:gd name="connsiteY47" fmla="*/ 666750 h 895350"/>
                      <a:gd name="connsiteX48" fmla="*/ 1000169 w 1419269"/>
                      <a:gd name="connsiteY48" fmla="*/ 714375 h 895350"/>
                      <a:gd name="connsiteX49" fmla="*/ 1066844 w 1419269"/>
                      <a:gd name="connsiteY49" fmla="*/ 723900 h 895350"/>
                      <a:gd name="connsiteX50" fmla="*/ 1128757 w 1419269"/>
                      <a:gd name="connsiteY50" fmla="*/ 700088 h 895350"/>
                      <a:gd name="connsiteX51" fmla="*/ 1238383 w 1419269"/>
                      <a:gd name="connsiteY51" fmla="*/ 704850 h 895350"/>
                      <a:gd name="connsiteX52" fmla="*/ 1290682 w 1419269"/>
                      <a:gd name="connsiteY52" fmla="*/ 742950 h 895350"/>
                      <a:gd name="connsiteX53" fmla="*/ 1333544 w 1419269"/>
                      <a:gd name="connsiteY53" fmla="*/ 738188 h 895350"/>
                      <a:gd name="connsiteX54" fmla="*/ 1328782 w 1419269"/>
                      <a:gd name="connsiteY54" fmla="*/ 757238 h 895350"/>
                      <a:gd name="connsiteX55" fmla="*/ 1350015 w 1419269"/>
                      <a:gd name="connsiteY55" fmla="*/ 769144 h 895350"/>
                      <a:gd name="connsiteX56" fmla="*/ 1409744 w 1419269"/>
                      <a:gd name="connsiteY56" fmla="*/ 762000 h 895350"/>
                      <a:gd name="connsiteX57" fmla="*/ 1404982 w 1419269"/>
                      <a:gd name="connsiteY57" fmla="*/ 723900 h 895350"/>
                      <a:gd name="connsiteX58" fmla="*/ 1362119 w 1419269"/>
                      <a:gd name="connsiteY58" fmla="*/ 690563 h 895350"/>
                      <a:gd name="connsiteX59" fmla="*/ 1347832 w 1419269"/>
                      <a:gd name="connsiteY59" fmla="*/ 647700 h 895350"/>
                      <a:gd name="connsiteX60" fmla="*/ 1354865 w 1419269"/>
                      <a:gd name="connsiteY60" fmla="*/ 611981 h 895350"/>
                      <a:gd name="connsiteX61" fmla="*/ 1352594 w 1419269"/>
                      <a:gd name="connsiteY61" fmla="*/ 552450 h 895350"/>
                      <a:gd name="connsiteX62" fmla="*/ 1290682 w 1419269"/>
                      <a:gd name="connsiteY62" fmla="*/ 585788 h 895350"/>
                      <a:gd name="connsiteX63" fmla="*/ 1271632 w 1419269"/>
                      <a:gd name="connsiteY63" fmla="*/ 557213 h 895350"/>
                      <a:gd name="connsiteX64" fmla="*/ 1252582 w 1419269"/>
                      <a:gd name="connsiteY64" fmla="*/ 476250 h 895350"/>
                      <a:gd name="connsiteX65" fmla="*/ 1295444 w 1419269"/>
                      <a:gd name="connsiteY65" fmla="*/ 457200 h 895350"/>
                      <a:gd name="connsiteX66" fmla="*/ 1366882 w 1419269"/>
                      <a:gd name="connsiteY66" fmla="*/ 457200 h 895350"/>
                      <a:gd name="connsiteX67" fmla="*/ 1414507 w 1419269"/>
                      <a:gd name="connsiteY67" fmla="*/ 423863 h 895350"/>
                      <a:gd name="connsiteX68" fmla="*/ 1419269 w 1419269"/>
                      <a:gd name="connsiteY68" fmla="*/ 371475 h 895350"/>
                      <a:gd name="connsiteX69" fmla="*/ 1347832 w 1419269"/>
                      <a:gd name="connsiteY69" fmla="*/ 390525 h 895350"/>
                      <a:gd name="connsiteX70" fmla="*/ 1328782 w 1419269"/>
                      <a:gd name="connsiteY70" fmla="*/ 376238 h 895350"/>
                      <a:gd name="connsiteX71" fmla="*/ 1252582 w 1419269"/>
                      <a:gd name="connsiteY71" fmla="*/ 347663 h 895350"/>
                      <a:gd name="connsiteX72" fmla="*/ 1209719 w 1419269"/>
                      <a:gd name="connsiteY72" fmla="*/ 361950 h 895350"/>
                      <a:gd name="connsiteX73" fmla="*/ 1195432 w 1419269"/>
                      <a:gd name="connsiteY73" fmla="*/ 419100 h 895350"/>
                      <a:gd name="connsiteX74" fmla="*/ 1166857 w 1419269"/>
                      <a:gd name="connsiteY74" fmla="*/ 423863 h 895350"/>
                      <a:gd name="connsiteX75" fmla="*/ 1147807 w 1419269"/>
                      <a:gd name="connsiteY75" fmla="*/ 338138 h 895350"/>
                      <a:gd name="connsiteX76" fmla="*/ 1104944 w 1419269"/>
                      <a:gd name="connsiteY76" fmla="*/ 304800 h 895350"/>
                      <a:gd name="connsiteX77" fmla="*/ 1052557 w 1419269"/>
                      <a:gd name="connsiteY77" fmla="*/ 328613 h 895350"/>
                      <a:gd name="connsiteX78" fmla="*/ 1028744 w 1419269"/>
                      <a:gd name="connsiteY78" fmla="*/ 361950 h 895350"/>
                      <a:gd name="connsiteX79" fmla="*/ 1028744 w 1419269"/>
                      <a:gd name="connsiteY79" fmla="*/ 361950 h 895350"/>
                      <a:gd name="connsiteX80" fmla="*/ 985882 w 1419269"/>
                      <a:gd name="connsiteY80" fmla="*/ 381000 h 895350"/>
                      <a:gd name="connsiteX81" fmla="*/ 933494 w 1419269"/>
                      <a:gd name="connsiteY81" fmla="*/ 385763 h 895350"/>
                      <a:gd name="connsiteX82" fmla="*/ 914444 w 1419269"/>
                      <a:gd name="connsiteY82" fmla="*/ 314325 h 895350"/>
                      <a:gd name="connsiteX83" fmla="*/ 938257 w 1419269"/>
                      <a:gd name="connsiteY83" fmla="*/ 195263 h 895350"/>
                      <a:gd name="connsiteX84" fmla="*/ 914444 w 1419269"/>
                      <a:gd name="connsiteY84" fmla="*/ 123825 h 895350"/>
                      <a:gd name="connsiteX85" fmla="*/ 909682 w 1419269"/>
                      <a:gd name="connsiteY85" fmla="*/ 61913 h 895350"/>
                      <a:gd name="connsiteX86" fmla="*/ 862057 w 1419269"/>
                      <a:gd name="connsiteY86" fmla="*/ 4763 h 895350"/>
                      <a:gd name="connsiteX87" fmla="*/ 766807 w 1419269"/>
                      <a:gd name="connsiteY87" fmla="*/ 42863 h 895350"/>
                      <a:gd name="connsiteX88" fmla="*/ 728707 w 1419269"/>
                      <a:gd name="connsiteY88" fmla="*/ 66675 h 895350"/>
                      <a:gd name="connsiteX89" fmla="*/ 609644 w 1419269"/>
                      <a:gd name="connsiteY89" fmla="*/ 9525 h 895350"/>
                      <a:gd name="connsiteX90" fmla="*/ 509632 w 1419269"/>
                      <a:gd name="connsiteY90" fmla="*/ 0 h 895350"/>
                      <a:gd name="connsiteX91" fmla="*/ 385807 w 1419269"/>
                      <a:gd name="connsiteY91" fmla="*/ 80963 h 895350"/>
                      <a:gd name="connsiteX92" fmla="*/ 390569 w 1419269"/>
                      <a:gd name="connsiteY92" fmla="*/ 161925 h 895350"/>
                      <a:gd name="connsiteX93" fmla="*/ 314369 w 1419269"/>
                      <a:gd name="connsiteY93" fmla="*/ 152400 h 895350"/>
                      <a:gd name="connsiteX94" fmla="*/ 166732 w 1419269"/>
                      <a:gd name="connsiteY94" fmla="*/ 190500 h 895350"/>
                      <a:gd name="connsiteX95" fmla="*/ 19094 w 1419269"/>
                      <a:gd name="connsiteY95" fmla="*/ 242888 h 895350"/>
                      <a:gd name="connsiteX0" fmla="*/ 19094 w 1419269"/>
                      <a:gd name="connsiteY0" fmla="*/ 242888 h 895350"/>
                      <a:gd name="connsiteX1" fmla="*/ 0 w 1419269"/>
                      <a:gd name="connsiteY1" fmla="*/ 280988 h 895350"/>
                      <a:gd name="connsiteX2" fmla="*/ 14508 w 1419269"/>
                      <a:gd name="connsiteY2" fmla="*/ 304800 h 895350"/>
                      <a:gd name="connsiteX3" fmla="*/ 33382 w 1419269"/>
                      <a:gd name="connsiteY3" fmla="*/ 333375 h 895350"/>
                      <a:gd name="connsiteX4" fmla="*/ 19094 w 1419269"/>
                      <a:gd name="connsiteY4" fmla="*/ 371475 h 895350"/>
                      <a:gd name="connsiteX5" fmla="*/ 28795 w 1419269"/>
                      <a:gd name="connsiteY5" fmla="*/ 390526 h 895350"/>
                      <a:gd name="connsiteX6" fmla="*/ 52432 w 1419269"/>
                      <a:gd name="connsiteY6" fmla="*/ 457200 h 895350"/>
                      <a:gd name="connsiteX7" fmla="*/ 61957 w 1419269"/>
                      <a:gd name="connsiteY7" fmla="*/ 485775 h 895350"/>
                      <a:gd name="connsiteX8" fmla="*/ 71482 w 1419269"/>
                      <a:gd name="connsiteY8" fmla="*/ 538163 h 895350"/>
                      <a:gd name="connsiteX9" fmla="*/ 71482 w 1419269"/>
                      <a:gd name="connsiteY9" fmla="*/ 538163 h 895350"/>
                      <a:gd name="connsiteX10" fmla="*/ 90532 w 1419269"/>
                      <a:gd name="connsiteY10" fmla="*/ 590550 h 895350"/>
                      <a:gd name="connsiteX11" fmla="*/ 95294 w 1419269"/>
                      <a:gd name="connsiteY11" fmla="*/ 628650 h 895350"/>
                      <a:gd name="connsiteX12" fmla="*/ 95294 w 1419269"/>
                      <a:gd name="connsiteY12" fmla="*/ 685800 h 895350"/>
                      <a:gd name="connsiteX13" fmla="*/ 52432 w 1419269"/>
                      <a:gd name="connsiteY13" fmla="*/ 738188 h 895350"/>
                      <a:gd name="connsiteX14" fmla="*/ 23857 w 1419269"/>
                      <a:gd name="connsiteY14" fmla="*/ 809625 h 895350"/>
                      <a:gd name="connsiteX15" fmla="*/ 28619 w 1419269"/>
                      <a:gd name="connsiteY15" fmla="*/ 847725 h 895350"/>
                      <a:gd name="connsiteX16" fmla="*/ 71482 w 1419269"/>
                      <a:gd name="connsiteY16" fmla="*/ 809625 h 895350"/>
                      <a:gd name="connsiteX17" fmla="*/ 114344 w 1419269"/>
                      <a:gd name="connsiteY17" fmla="*/ 809625 h 895350"/>
                      <a:gd name="connsiteX18" fmla="*/ 157207 w 1419269"/>
                      <a:gd name="connsiteY18" fmla="*/ 833438 h 895350"/>
                      <a:gd name="connsiteX19" fmla="*/ 185782 w 1419269"/>
                      <a:gd name="connsiteY19" fmla="*/ 881063 h 895350"/>
                      <a:gd name="connsiteX20" fmla="*/ 219119 w 1419269"/>
                      <a:gd name="connsiteY20" fmla="*/ 895350 h 895350"/>
                      <a:gd name="connsiteX21" fmla="*/ 219119 w 1419269"/>
                      <a:gd name="connsiteY21" fmla="*/ 895350 h 895350"/>
                      <a:gd name="connsiteX22" fmla="*/ 261982 w 1419269"/>
                      <a:gd name="connsiteY22" fmla="*/ 876300 h 895350"/>
                      <a:gd name="connsiteX23" fmla="*/ 271507 w 1419269"/>
                      <a:gd name="connsiteY23" fmla="*/ 833438 h 895350"/>
                      <a:gd name="connsiteX24" fmla="*/ 271507 w 1419269"/>
                      <a:gd name="connsiteY24" fmla="*/ 833438 h 895350"/>
                      <a:gd name="connsiteX25" fmla="*/ 333419 w 1419269"/>
                      <a:gd name="connsiteY25" fmla="*/ 857250 h 895350"/>
                      <a:gd name="connsiteX26" fmla="*/ 333419 w 1419269"/>
                      <a:gd name="connsiteY26" fmla="*/ 857250 h 895350"/>
                      <a:gd name="connsiteX27" fmla="*/ 385807 w 1419269"/>
                      <a:gd name="connsiteY27" fmla="*/ 838200 h 895350"/>
                      <a:gd name="connsiteX28" fmla="*/ 409619 w 1419269"/>
                      <a:gd name="connsiteY28" fmla="*/ 819150 h 895350"/>
                      <a:gd name="connsiteX29" fmla="*/ 438194 w 1419269"/>
                      <a:gd name="connsiteY29" fmla="*/ 781050 h 895350"/>
                      <a:gd name="connsiteX30" fmla="*/ 442957 w 1419269"/>
                      <a:gd name="connsiteY30" fmla="*/ 728663 h 895350"/>
                      <a:gd name="connsiteX31" fmla="*/ 476294 w 1419269"/>
                      <a:gd name="connsiteY31" fmla="*/ 690563 h 895350"/>
                      <a:gd name="connsiteX32" fmla="*/ 476163 w 1419269"/>
                      <a:gd name="connsiteY32" fmla="*/ 633412 h 895350"/>
                      <a:gd name="connsiteX33" fmla="*/ 461919 w 1419269"/>
                      <a:gd name="connsiteY33" fmla="*/ 585788 h 895350"/>
                      <a:gd name="connsiteX34" fmla="*/ 447719 w 1419269"/>
                      <a:gd name="connsiteY34" fmla="*/ 542925 h 895350"/>
                      <a:gd name="connsiteX35" fmla="*/ 490582 w 1419269"/>
                      <a:gd name="connsiteY35" fmla="*/ 523875 h 895350"/>
                      <a:gd name="connsiteX36" fmla="*/ 514482 w 1419269"/>
                      <a:gd name="connsiteY36" fmla="*/ 566738 h 895350"/>
                      <a:gd name="connsiteX37" fmla="*/ 552494 w 1419269"/>
                      <a:gd name="connsiteY37" fmla="*/ 566738 h 895350"/>
                      <a:gd name="connsiteX38" fmla="*/ 585832 w 1419269"/>
                      <a:gd name="connsiteY38" fmla="*/ 519113 h 895350"/>
                      <a:gd name="connsiteX39" fmla="*/ 628694 w 1419269"/>
                      <a:gd name="connsiteY39" fmla="*/ 519113 h 895350"/>
                      <a:gd name="connsiteX40" fmla="*/ 647744 w 1419269"/>
                      <a:gd name="connsiteY40" fmla="*/ 547688 h 895350"/>
                      <a:gd name="connsiteX41" fmla="*/ 704894 w 1419269"/>
                      <a:gd name="connsiteY41" fmla="*/ 619125 h 895350"/>
                      <a:gd name="connsiteX42" fmla="*/ 714419 w 1419269"/>
                      <a:gd name="connsiteY42" fmla="*/ 647700 h 895350"/>
                      <a:gd name="connsiteX43" fmla="*/ 785857 w 1419269"/>
                      <a:gd name="connsiteY43" fmla="*/ 676275 h 895350"/>
                      <a:gd name="connsiteX44" fmla="*/ 823957 w 1419269"/>
                      <a:gd name="connsiteY44" fmla="*/ 633413 h 895350"/>
                      <a:gd name="connsiteX45" fmla="*/ 866819 w 1419269"/>
                      <a:gd name="connsiteY45" fmla="*/ 633413 h 895350"/>
                      <a:gd name="connsiteX46" fmla="*/ 938257 w 1419269"/>
                      <a:gd name="connsiteY46" fmla="*/ 671513 h 895350"/>
                      <a:gd name="connsiteX47" fmla="*/ 976357 w 1419269"/>
                      <a:gd name="connsiteY47" fmla="*/ 666750 h 895350"/>
                      <a:gd name="connsiteX48" fmla="*/ 1000169 w 1419269"/>
                      <a:gd name="connsiteY48" fmla="*/ 714375 h 895350"/>
                      <a:gd name="connsiteX49" fmla="*/ 1066844 w 1419269"/>
                      <a:gd name="connsiteY49" fmla="*/ 723900 h 895350"/>
                      <a:gd name="connsiteX50" fmla="*/ 1128757 w 1419269"/>
                      <a:gd name="connsiteY50" fmla="*/ 700088 h 895350"/>
                      <a:gd name="connsiteX51" fmla="*/ 1238383 w 1419269"/>
                      <a:gd name="connsiteY51" fmla="*/ 704850 h 895350"/>
                      <a:gd name="connsiteX52" fmla="*/ 1290682 w 1419269"/>
                      <a:gd name="connsiteY52" fmla="*/ 742950 h 895350"/>
                      <a:gd name="connsiteX53" fmla="*/ 1333544 w 1419269"/>
                      <a:gd name="connsiteY53" fmla="*/ 738188 h 895350"/>
                      <a:gd name="connsiteX54" fmla="*/ 1328782 w 1419269"/>
                      <a:gd name="connsiteY54" fmla="*/ 757238 h 895350"/>
                      <a:gd name="connsiteX55" fmla="*/ 1350015 w 1419269"/>
                      <a:gd name="connsiteY55" fmla="*/ 769144 h 895350"/>
                      <a:gd name="connsiteX56" fmla="*/ 1409744 w 1419269"/>
                      <a:gd name="connsiteY56" fmla="*/ 762000 h 895350"/>
                      <a:gd name="connsiteX57" fmla="*/ 1404982 w 1419269"/>
                      <a:gd name="connsiteY57" fmla="*/ 723900 h 895350"/>
                      <a:gd name="connsiteX58" fmla="*/ 1362119 w 1419269"/>
                      <a:gd name="connsiteY58" fmla="*/ 690563 h 895350"/>
                      <a:gd name="connsiteX59" fmla="*/ 1347832 w 1419269"/>
                      <a:gd name="connsiteY59" fmla="*/ 647700 h 895350"/>
                      <a:gd name="connsiteX60" fmla="*/ 1354865 w 1419269"/>
                      <a:gd name="connsiteY60" fmla="*/ 611981 h 895350"/>
                      <a:gd name="connsiteX61" fmla="*/ 1352594 w 1419269"/>
                      <a:gd name="connsiteY61" fmla="*/ 552450 h 895350"/>
                      <a:gd name="connsiteX62" fmla="*/ 1290682 w 1419269"/>
                      <a:gd name="connsiteY62" fmla="*/ 585788 h 895350"/>
                      <a:gd name="connsiteX63" fmla="*/ 1271632 w 1419269"/>
                      <a:gd name="connsiteY63" fmla="*/ 557213 h 895350"/>
                      <a:gd name="connsiteX64" fmla="*/ 1252582 w 1419269"/>
                      <a:gd name="connsiteY64" fmla="*/ 476250 h 895350"/>
                      <a:gd name="connsiteX65" fmla="*/ 1295444 w 1419269"/>
                      <a:gd name="connsiteY65" fmla="*/ 457200 h 895350"/>
                      <a:gd name="connsiteX66" fmla="*/ 1366882 w 1419269"/>
                      <a:gd name="connsiteY66" fmla="*/ 457200 h 895350"/>
                      <a:gd name="connsiteX67" fmla="*/ 1414507 w 1419269"/>
                      <a:gd name="connsiteY67" fmla="*/ 423863 h 895350"/>
                      <a:gd name="connsiteX68" fmla="*/ 1419269 w 1419269"/>
                      <a:gd name="connsiteY68" fmla="*/ 371475 h 895350"/>
                      <a:gd name="connsiteX69" fmla="*/ 1347832 w 1419269"/>
                      <a:gd name="connsiteY69" fmla="*/ 390525 h 895350"/>
                      <a:gd name="connsiteX70" fmla="*/ 1328782 w 1419269"/>
                      <a:gd name="connsiteY70" fmla="*/ 376238 h 895350"/>
                      <a:gd name="connsiteX71" fmla="*/ 1252582 w 1419269"/>
                      <a:gd name="connsiteY71" fmla="*/ 347663 h 895350"/>
                      <a:gd name="connsiteX72" fmla="*/ 1209719 w 1419269"/>
                      <a:gd name="connsiteY72" fmla="*/ 361950 h 895350"/>
                      <a:gd name="connsiteX73" fmla="*/ 1195432 w 1419269"/>
                      <a:gd name="connsiteY73" fmla="*/ 419100 h 895350"/>
                      <a:gd name="connsiteX74" fmla="*/ 1166857 w 1419269"/>
                      <a:gd name="connsiteY74" fmla="*/ 423863 h 895350"/>
                      <a:gd name="connsiteX75" fmla="*/ 1147807 w 1419269"/>
                      <a:gd name="connsiteY75" fmla="*/ 338138 h 895350"/>
                      <a:gd name="connsiteX76" fmla="*/ 1104944 w 1419269"/>
                      <a:gd name="connsiteY76" fmla="*/ 304800 h 895350"/>
                      <a:gd name="connsiteX77" fmla="*/ 1052557 w 1419269"/>
                      <a:gd name="connsiteY77" fmla="*/ 328613 h 895350"/>
                      <a:gd name="connsiteX78" fmla="*/ 1028744 w 1419269"/>
                      <a:gd name="connsiteY78" fmla="*/ 361950 h 895350"/>
                      <a:gd name="connsiteX79" fmla="*/ 1028744 w 1419269"/>
                      <a:gd name="connsiteY79" fmla="*/ 361950 h 895350"/>
                      <a:gd name="connsiteX80" fmla="*/ 985882 w 1419269"/>
                      <a:gd name="connsiteY80" fmla="*/ 381000 h 895350"/>
                      <a:gd name="connsiteX81" fmla="*/ 933494 w 1419269"/>
                      <a:gd name="connsiteY81" fmla="*/ 385763 h 895350"/>
                      <a:gd name="connsiteX82" fmla="*/ 914444 w 1419269"/>
                      <a:gd name="connsiteY82" fmla="*/ 314325 h 895350"/>
                      <a:gd name="connsiteX83" fmla="*/ 938257 w 1419269"/>
                      <a:gd name="connsiteY83" fmla="*/ 195263 h 895350"/>
                      <a:gd name="connsiteX84" fmla="*/ 914444 w 1419269"/>
                      <a:gd name="connsiteY84" fmla="*/ 123825 h 895350"/>
                      <a:gd name="connsiteX85" fmla="*/ 909682 w 1419269"/>
                      <a:gd name="connsiteY85" fmla="*/ 61913 h 895350"/>
                      <a:gd name="connsiteX86" fmla="*/ 862057 w 1419269"/>
                      <a:gd name="connsiteY86" fmla="*/ 4763 h 895350"/>
                      <a:gd name="connsiteX87" fmla="*/ 766807 w 1419269"/>
                      <a:gd name="connsiteY87" fmla="*/ 42863 h 895350"/>
                      <a:gd name="connsiteX88" fmla="*/ 728707 w 1419269"/>
                      <a:gd name="connsiteY88" fmla="*/ 66675 h 895350"/>
                      <a:gd name="connsiteX89" fmla="*/ 609644 w 1419269"/>
                      <a:gd name="connsiteY89" fmla="*/ 9525 h 895350"/>
                      <a:gd name="connsiteX90" fmla="*/ 509632 w 1419269"/>
                      <a:gd name="connsiteY90" fmla="*/ 0 h 895350"/>
                      <a:gd name="connsiteX91" fmla="*/ 385807 w 1419269"/>
                      <a:gd name="connsiteY91" fmla="*/ 80963 h 895350"/>
                      <a:gd name="connsiteX92" fmla="*/ 390569 w 1419269"/>
                      <a:gd name="connsiteY92" fmla="*/ 161925 h 895350"/>
                      <a:gd name="connsiteX93" fmla="*/ 314369 w 1419269"/>
                      <a:gd name="connsiteY93" fmla="*/ 152400 h 895350"/>
                      <a:gd name="connsiteX94" fmla="*/ 166732 w 1419269"/>
                      <a:gd name="connsiteY94" fmla="*/ 190500 h 895350"/>
                      <a:gd name="connsiteX95" fmla="*/ 19094 w 1419269"/>
                      <a:gd name="connsiteY95" fmla="*/ 242888 h 895350"/>
                      <a:gd name="connsiteX0" fmla="*/ 19094 w 1419269"/>
                      <a:gd name="connsiteY0" fmla="*/ 242888 h 895350"/>
                      <a:gd name="connsiteX1" fmla="*/ 0 w 1419269"/>
                      <a:gd name="connsiteY1" fmla="*/ 280988 h 895350"/>
                      <a:gd name="connsiteX2" fmla="*/ 14508 w 1419269"/>
                      <a:gd name="connsiteY2" fmla="*/ 304800 h 895350"/>
                      <a:gd name="connsiteX3" fmla="*/ 21585 w 1419269"/>
                      <a:gd name="connsiteY3" fmla="*/ 333375 h 895350"/>
                      <a:gd name="connsiteX4" fmla="*/ 19094 w 1419269"/>
                      <a:gd name="connsiteY4" fmla="*/ 371475 h 895350"/>
                      <a:gd name="connsiteX5" fmla="*/ 28795 w 1419269"/>
                      <a:gd name="connsiteY5" fmla="*/ 390526 h 895350"/>
                      <a:gd name="connsiteX6" fmla="*/ 52432 w 1419269"/>
                      <a:gd name="connsiteY6" fmla="*/ 457200 h 895350"/>
                      <a:gd name="connsiteX7" fmla="*/ 61957 w 1419269"/>
                      <a:gd name="connsiteY7" fmla="*/ 485775 h 895350"/>
                      <a:gd name="connsiteX8" fmla="*/ 71482 w 1419269"/>
                      <a:gd name="connsiteY8" fmla="*/ 538163 h 895350"/>
                      <a:gd name="connsiteX9" fmla="*/ 71482 w 1419269"/>
                      <a:gd name="connsiteY9" fmla="*/ 538163 h 895350"/>
                      <a:gd name="connsiteX10" fmla="*/ 90532 w 1419269"/>
                      <a:gd name="connsiteY10" fmla="*/ 590550 h 895350"/>
                      <a:gd name="connsiteX11" fmla="*/ 95294 w 1419269"/>
                      <a:gd name="connsiteY11" fmla="*/ 628650 h 895350"/>
                      <a:gd name="connsiteX12" fmla="*/ 95294 w 1419269"/>
                      <a:gd name="connsiteY12" fmla="*/ 685800 h 895350"/>
                      <a:gd name="connsiteX13" fmla="*/ 52432 w 1419269"/>
                      <a:gd name="connsiteY13" fmla="*/ 738188 h 895350"/>
                      <a:gd name="connsiteX14" fmla="*/ 23857 w 1419269"/>
                      <a:gd name="connsiteY14" fmla="*/ 809625 h 895350"/>
                      <a:gd name="connsiteX15" fmla="*/ 28619 w 1419269"/>
                      <a:gd name="connsiteY15" fmla="*/ 847725 h 895350"/>
                      <a:gd name="connsiteX16" fmla="*/ 71482 w 1419269"/>
                      <a:gd name="connsiteY16" fmla="*/ 809625 h 895350"/>
                      <a:gd name="connsiteX17" fmla="*/ 114344 w 1419269"/>
                      <a:gd name="connsiteY17" fmla="*/ 809625 h 895350"/>
                      <a:gd name="connsiteX18" fmla="*/ 157207 w 1419269"/>
                      <a:gd name="connsiteY18" fmla="*/ 833438 h 895350"/>
                      <a:gd name="connsiteX19" fmla="*/ 185782 w 1419269"/>
                      <a:gd name="connsiteY19" fmla="*/ 881063 h 895350"/>
                      <a:gd name="connsiteX20" fmla="*/ 219119 w 1419269"/>
                      <a:gd name="connsiteY20" fmla="*/ 895350 h 895350"/>
                      <a:gd name="connsiteX21" fmla="*/ 219119 w 1419269"/>
                      <a:gd name="connsiteY21" fmla="*/ 895350 h 895350"/>
                      <a:gd name="connsiteX22" fmla="*/ 261982 w 1419269"/>
                      <a:gd name="connsiteY22" fmla="*/ 876300 h 895350"/>
                      <a:gd name="connsiteX23" fmla="*/ 271507 w 1419269"/>
                      <a:gd name="connsiteY23" fmla="*/ 833438 h 895350"/>
                      <a:gd name="connsiteX24" fmla="*/ 271507 w 1419269"/>
                      <a:gd name="connsiteY24" fmla="*/ 833438 h 895350"/>
                      <a:gd name="connsiteX25" fmla="*/ 333419 w 1419269"/>
                      <a:gd name="connsiteY25" fmla="*/ 857250 h 895350"/>
                      <a:gd name="connsiteX26" fmla="*/ 333419 w 1419269"/>
                      <a:gd name="connsiteY26" fmla="*/ 857250 h 895350"/>
                      <a:gd name="connsiteX27" fmla="*/ 385807 w 1419269"/>
                      <a:gd name="connsiteY27" fmla="*/ 838200 h 895350"/>
                      <a:gd name="connsiteX28" fmla="*/ 409619 w 1419269"/>
                      <a:gd name="connsiteY28" fmla="*/ 819150 h 895350"/>
                      <a:gd name="connsiteX29" fmla="*/ 438194 w 1419269"/>
                      <a:gd name="connsiteY29" fmla="*/ 781050 h 895350"/>
                      <a:gd name="connsiteX30" fmla="*/ 442957 w 1419269"/>
                      <a:gd name="connsiteY30" fmla="*/ 728663 h 895350"/>
                      <a:gd name="connsiteX31" fmla="*/ 476294 w 1419269"/>
                      <a:gd name="connsiteY31" fmla="*/ 690563 h 895350"/>
                      <a:gd name="connsiteX32" fmla="*/ 476163 w 1419269"/>
                      <a:gd name="connsiteY32" fmla="*/ 633412 h 895350"/>
                      <a:gd name="connsiteX33" fmla="*/ 461919 w 1419269"/>
                      <a:gd name="connsiteY33" fmla="*/ 585788 h 895350"/>
                      <a:gd name="connsiteX34" fmla="*/ 447719 w 1419269"/>
                      <a:gd name="connsiteY34" fmla="*/ 542925 h 895350"/>
                      <a:gd name="connsiteX35" fmla="*/ 490582 w 1419269"/>
                      <a:gd name="connsiteY35" fmla="*/ 523875 h 895350"/>
                      <a:gd name="connsiteX36" fmla="*/ 514482 w 1419269"/>
                      <a:gd name="connsiteY36" fmla="*/ 566738 h 895350"/>
                      <a:gd name="connsiteX37" fmla="*/ 552494 w 1419269"/>
                      <a:gd name="connsiteY37" fmla="*/ 566738 h 895350"/>
                      <a:gd name="connsiteX38" fmla="*/ 585832 w 1419269"/>
                      <a:gd name="connsiteY38" fmla="*/ 519113 h 895350"/>
                      <a:gd name="connsiteX39" fmla="*/ 628694 w 1419269"/>
                      <a:gd name="connsiteY39" fmla="*/ 519113 h 895350"/>
                      <a:gd name="connsiteX40" fmla="*/ 647744 w 1419269"/>
                      <a:gd name="connsiteY40" fmla="*/ 547688 h 895350"/>
                      <a:gd name="connsiteX41" fmla="*/ 704894 w 1419269"/>
                      <a:gd name="connsiteY41" fmla="*/ 619125 h 895350"/>
                      <a:gd name="connsiteX42" fmla="*/ 714419 w 1419269"/>
                      <a:gd name="connsiteY42" fmla="*/ 647700 h 895350"/>
                      <a:gd name="connsiteX43" fmla="*/ 785857 w 1419269"/>
                      <a:gd name="connsiteY43" fmla="*/ 676275 h 895350"/>
                      <a:gd name="connsiteX44" fmla="*/ 823957 w 1419269"/>
                      <a:gd name="connsiteY44" fmla="*/ 633413 h 895350"/>
                      <a:gd name="connsiteX45" fmla="*/ 866819 w 1419269"/>
                      <a:gd name="connsiteY45" fmla="*/ 633413 h 895350"/>
                      <a:gd name="connsiteX46" fmla="*/ 938257 w 1419269"/>
                      <a:gd name="connsiteY46" fmla="*/ 671513 h 895350"/>
                      <a:gd name="connsiteX47" fmla="*/ 976357 w 1419269"/>
                      <a:gd name="connsiteY47" fmla="*/ 666750 h 895350"/>
                      <a:gd name="connsiteX48" fmla="*/ 1000169 w 1419269"/>
                      <a:gd name="connsiteY48" fmla="*/ 714375 h 895350"/>
                      <a:gd name="connsiteX49" fmla="*/ 1066844 w 1419269"/>
                      <a:gd name="connsiteY49" fmla="*/ 723900 h 895350"/>
                      <a:gd name="connsiteX50" fmla="*/ 1128757 w 1419269"/>
                      <a:gd name="connsiteY50" fmla="*/ 700088 h 895350"/>
                      <a:gd name="connsiteX51" fmla="*/ 1238383 w 1419269"/>
                      <a:gd name="connsiteY51" fmla="*/ 704850 h 895350"/>
                      <a:gd name="connsiteX52" fmla="*/ 1290682 w 1419269"/>
                      <a:gd name="connsiteY52" fmla="*/ 742950 h 895350"/>
                      <a:gd name="connsiteX53" fmla="*/ 1333544 w 1419269"/>
                      <a:gd name="connsiteY53" fmla="*/ 738188 h 895350"/>
                      <a:gd name="connsiteX54" fmla="*/ 1328782 w 1419269"/>
                      <a:gd name="connsiteY54" fmla="*/ 757238 h 895350"/>
                      <a:gd name="connsiteX55" fmla="*/ 1350015 w 1419269"/>
                      <a:gd name="connsiteY55" fmla="*/ 769144 h 895350"/>
                      <a:gd name="connsiteX56" fmla="*/ 1409744 w 1419269"/>
                      <a:gd name="connsiteY56" fmla="*/ 762000 h 895350"/>
                      <a:gd name="connsiteX57" fmla="*/ 1404982 w 1419269"/>
                      <a:gd name="connsiteY57" fmla="*/ 723900 h 895350"/>
                      <a:gd name="connsiteX58" fmla="*/ 1362119 w 1419269"/>
                      <a:gd name="connsiteY58" fmla="*/ 690563 h 895350"/>
                      <a:gd name="connsiteX59" fmla="*/ 1347832 w 1419269"/>
                      <a:gd name="connsiteY59" fmla="*/ 647700 h 895350"/>
                      <a:gd name="connsiteX60" fmla="*/ 1354865 w 1419269"/>
                      <a:gd name="connsiteY60" fmla="*/ 611981 h 895350"/>
                      <a:gd name="connsiteX61" fmla="*/ 1352594 w 1419269"/>
                      <a:gd name="connsiteY61" fmla="*/ 552450 h 895350"/>
                      <a:gd name="connsiteX62" fmla="*/ 1290682 w 1419269"/>
                      <a:gd name="connsiteY62" fmla="*/ 585788 h 895350"/>
                      <a:gd name="connsiteX63" fmla="*/ 1271632 w 1419269"/>
                      <a:gd name="connsiteY63" fmla="*/ 557213 h 895350"/>
                      <a:gd name="connsiteX64" fmla="*/ 1252582 w 1419269"/>
                      <a:gd name="connsiteY64" fmla="*/ 476250 h 895350"/>
                      <a:gd name="connsiteX65" fmla="*/ 1295444 w 1419269"/>
                      <a:gd name="connsiteY65" fmla="*/ 457200 h 895350"/>
                      <a:gd name="connsiteX66" fmla="*/ 1366882 w 1419269"/>
                      <a:gd name="connsiteY66" fmla="*/ 457200 h 895350"/>
                      <a:gd name="connsiteX67" fmla="*/ 1414507 w 1419269"/>
                      <a:gd name="connsiteY67" fmla="*/ 423863 h 895350"/>
                      <a:gd name="connsiteX68" fmla="*/ 1419269 w 1419269"/>
                      <a:gd name="connsiteY68" fmla="*/ 371475 h 895350"/>
                      <a:gd name="connsiteX69" fmla="*/ 1347832 w 1419269"/>
                      <a:gd name="connsiteY69" fmla="*/ 390525 h 895350"/>
                      <a:gd name="connsiteX70" fmla="*/ 1328782 w 1419269"/>
                      <a:gd name="connsiteY70" fmla="*/ 376238 h 895350"/>
                      <a:gd name="connsiteX71" fmla="*/ 1252582 w 1419269"/>
                      <a:gd name="connsiteY71" fmla="*/ 347663 h 895350"/>
                      <a:gd name="connsiteX72" fmla="*/ 1209719 w 1419269"/>
                      <a:gd name="connsiteY72" fmla="*/ 361950 h 895350"/>
                      <a:gd name="connsiteX73" fmla="*/ 1195432 w 1419269"/>
                      <a:gd name="connsiteY73" fmla="*/ 419100 h 895350"/>
                      <a:gd name="connsiteX74" fmla="*/ 1166857 w 1419269"/>
                      <a:gd name="connsiteY74" fmla="*/ 423863 h 895350"/>
                      <a:gd name="connsiteX75" fmla="*/ 1147807 w 1419269"/>
                      <a:gd name="connsiteY75" fmla="*/ 338138 h 895350"/>
                      <a:gd name="connsiteX76" fmla="*/ 1104944 w 1419269"/>
                      <a:gd name="connsiteY76" fmla="*/ 304800 h 895350"/>
                      <a:gd name="connsiteX77" fmla="*/ 1052557 w 1419269"/>
                      <a:gd name="connsiteY77" fmla="*/ 328613 h 895350"/>
                      <a:gd name="connsiteX78" fmla="*/ 1028744 w 1419269"/>
                      <a:gd name="connsiteY78" fmla="*/ 361950 h 895350"/>
                      <a:gd name="connsiteX79" fmla="*/ 1028744 w 1419269"/>
                      <a:gd name="connsiteY79" fmla="*/ 361950 h 895350"/>
                      <a:gd name="connsiteX80" fmla="*/ 985882 w 1419269"/>
                      <a:gd name="connsiteY80" fmla="*/ 381000 h 895350"/>
                      <a:gd name="connsiteX81" fmla="*/ 933494 w 1419269"/>
                      <a:gd name="connsiteY81" fmla="*/ 385763 h 895350"/>
                      <a:gd name="connsiteX82" fmla="*/ 914444 w 1419269"/>
                      <a:gd name="connsiteY82" fmla="*/ 314325 h 895350"/>
                      <a:gd name="connsiteX83" fmla="*/ 938257 w 1419269"/>
                      <a:gd name="connsiteY83" fmla="*/ 195263 h 895350"/>
                      <a:gd name="connsiteX84" fmla="*/ 914444 w 1419269"/>
                      <a:gd name="connsiteY84" fmla="*/ 123825 h 895350"/>
                      <a:gd name="connsiteX85" fmla="*/ 909682 w 1419269"/>
                      <a:gd name="connsiteY85" fmla="*/ 61913 h 895350"/>
                      <a:gd name="connsiteX86" fmla="*/ 862057 w 1419269"/>
                      <a:gd name="connsiteY86" fmla="*/ 4763 h 895350"/>
                      <a:gd name="connsiteX87" fmla="*/ 766807 w 1419269"/>
                      <a:gd name="connsiteY87" fmla="*/ 42863 h 895350"/>
                      <a:gd name="connsiteX88" fmla="*/ 728707 w 1419269"/>
                      <a:gd name="connsiteY88" fmla="*/ 66675 h 895350"/>
                      <a:gd name="connsiteX89" fmla="*/ 609644 w 1419269"/>
                      <a:gd name="connsiteY89" fmla="*/ 9525 h 895350"/>
                      <a:gd name="connsiteX90" fmla="*/ 509632 w 1419269"/>
                      <a:gd name="connsiteY90" fmla="*/ 0 h 895350"/>
                      <a:gd name="connsiteX91" fmla="*/ 385807 w 1419269"/>
                      <a:gd name="connsiteY91" fmla="*/ 80963 h 895350"/>
                      <a:gd name="connsiteX92" fmla="*/ 390569 w 1419269"/>
                      <a:gd name="connsiteY92" fmla="*/ 161925 h 895350"/>
                      <a:gd name="connsiteX93" fmla="*/ 314369 w 1419269"/>
                      <a:gd name="connsiteY93" fmla="*/ 152400 h 895350"/>
                      <a:gd name="connsiteX94" fmla="*/ 166732 w 1419269"/>
                      <a:gd name="connsiteY94" fmla="*/ 190500 h 895350"/>
                      <a:gd name="connsiteX95" fmla="*/ 19094 w 1419269"/>
                      <a:gd name="connsiteY95" fmla="*/ 242888 h 895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</a:cxnLst>
                    <a:rect l="l" t="t" r="r" b="b"/>
                    <a:pathLst>
                      <a:path w="1419269" h="895350">
                        <a:moveTo>
                          <a:pt x="19094" y="242888"/>
                        </a:moveTo>
                        <a:lnTo>
                          <a:pt x="0" y="280988"/>
                        </a:lnTo>
                        <a:lnTo>
                          <a:pt x="14508" y="304800"/>
                        </a:lnTo>
                        <a:lnTo>
                          <a:pt x="21585" y="333375"/>
                        </a:lnTo>
                        <a:lnTo>
                          <a:pt x="19094" y="371475"/>
                        </a:lnTo>
                        <a:lnTo>
                          <a:pt x="28795" y="390526"/>
                        </a:lnTo>
                        <a:lnTo>
                          <a:pt x="52432" y="457200"/>
                        </a:lnTo>
                        <a:lnTo>
                          <a:pt x="61957" y="485775"/>
                        </a:lnTo>
                        <a:lnTo>
                          <a:pt x="71482" y="538163"/>
                        </a:lnTo>
                        <a:lnTo>
                          <a:pt x="71482" y="538163"/>
                        </a:lnTo>
                        <a:lnTo>
                          <a:pt x="90532" y="590550"/>
                        </a:lnTo>
                        <a:lnTo>
                          <a:pt x="95294" y="628650"/>
                        </a:lnTo>
                        <a:lnTo>
                          <a:pt x="95294" y="685800"/>
                        </a:lnTo>
                        <a:lnTo>
                          <a:pt x="52432" y="738188"/>
                        </a:lnTo>
                        <a:lnTo>
                          <a:pt x="23857" y="809625"/>
                        </a:lnTo>
                        <a:lnTo>
                          <a:pt x="28619" y="847725"/>
                        </a:lnTo>
                        <a:lnTo>
                          <a:pt x="71482" y="809625"/>
                        </a:lnTo>
                        <a:lnTo>
                          <a:pt x="114344" y="809625"/>
                        </a:lnTo>
                        <a:lnTo>
                          <a:pt x="157207" y="833438"/>
                        </a:lnTo>
                        <a:lnTo>
                          <a:pt x="185782" y="881063"/>
                        </a:lnTo>
                        <a:lnTo>
                          <a:pt x="219119" y="895350"/>
                        </a:lnTo>
                        <a:lnTo>
                          <a:pt x="219119" y="895350"/>
                        </a:lnTo>
                        <a:lnTo>
                          <a:pt x="261982" y="876300"/>
                        </a:lnTo>
                        <a:lnTo>
                          <a:pt x="271507" y="833438"/>
                        </a:lnTo>
                        <a:lnTo>
                          <a:pt x="271507" y="833438"/>
                        </a:lnTo>
                        <a:lnTo>
                          <a:pt x="333419" y="857250"/>
                        </a:lnTo>
                        <a:lnTo>
                          <a:pt x="333419" y="857250"/>
                        </a:lnTo>
                        <a:lnTo>
                          <a:pt x="385807" y="838200"/>
                        </a:lnTo>
                        <a:lnTo>
                          <a:pt x="409619" y="819150"/>
                        </a:lnTo>
                        <a:lnTo>
                          <a:pt x="438194" y="781050"/>
                        </a:lnTo>
                        <a:lnTo>
                          <a:pt x="442957" y="728663"/>
                        </a:lnTo>
                        <a:lnTo>
                          <a:pt x="476294" y="690563"/>
                        </a:lnTo>
                        <a:cubicBezTo>
                          <a:pt x="476250" y="671513"/>
                          <a:pt x="476207" y="652462"/>
                          <a:pt x="476163" y="633412"/>
                        </a:cubicBezTo>
                        <a:lnTo>
                          <a:pt x="461919" y="585788"/>
                        </a:lnTo>
                        <a:lnTo>
                          <a:pt x="447719" y="542925"/>
                        </a:lnTo>
                        <a:lnTo>
                          <a:pt x="490582" y="523875"/>
                        </a:lnTo>
                        <a:lnTo>
                          <a:pt x="514482" y="566738"/>
                        </a:lnTo>
                        <a:lnTo>
                          <a:pt x="552494" y="566738"/>
                        </a:lnTo>
                        <a:lnTo>
                          <a:pt x="585832" y="519113"/>
                        </a:lnTo>
                        <a:cubicBezTo>
                          <a:pt x="630272" y="514175"/>
                          <a:pt x="628694" y="499975"/>
                          <a:pt x="628694" y="519113"/>
                        </a:cubicBezTo>
                        <a:lnTo>
                          <a:pt x="647744" y="547688"/>
                        </a:lnTo>
                        <a:lnTo>
                          <a:pt x="704894" y="619125"/>
                        </a:lnTo>
                        <a:lnTo>
                          <a:pt x="714419" y="647700"/>
                        </a:lnTo>
                        <a:lnTo>
                          <a:pt x="785857" y="676275"/>
                        </a:lnTo>
                        <a:lnTo>
                          <a:pt x="823957" y="633413"/>
                        </a:lnTo>
                        <a:lnTo>
                          <a:pt x="866819" y="633413"/>
                        </a:lnTo>
                        <a:lnTo>
                          <a:pt x="938257" y="671513"/>
                        </a:lnTo>
                        <a:lnTo>
                          <a:pt x="976357" y="666750"/>
                        </a:lnTo>
                        <a:lnTo>
                          <a:pt x="1000169" y="714375"/>
                        </a:lnTo>
                        <a:lnTo>
                          <a:pt x="1066844" y="723900"/>
                        </a:lnTo>
                        <a:lnTo>
                          <a:pt x="1128757" y="700088"/>
                        </a:lnTo>
                        <a:lnTo>
                          <a:pt x="1238383" y="704850"/>
                        </a:lnTo>
                        <a:lnTo>
                          <a:pt x="1290682" y="742950"/>
                        </a:lnTo>
                        <a:lnTo>
                          <a:pt x="1333544" y="738188"/>
                        </a:lnTo>
                        <a:cubicBezTo>
                          <a:pt x="1331957" y="744538"/>
                          <a:pt x="1326037" y="752079"/>
                          <a:pt x="1328782" y="757238"/>
                        </a:cubicBezTo>
                        <a:cubicBezTo>
                          <a:pt x="1331527" y="762397"/>
                          <a:pt x="1342937" y="765175"/>
                          <a:pt x="1350015" y="769144"/>
                        </a:cubicBezTo>
                        <a:lnTo>
                          <a:pt x="1409744" y="762000"/>
                        </a:lnTo>
                        <a:lnTo>
                          <a:pt x="1404982" y="723900"/>
                        </a:lnTo>
                        <a:lnTo>
                          <a:pt x="1362119" y="690563"/>
                        </a:lnTo>
                        <a:cubicBezTo>
                          <a:pt x="1357357" y="676275"/>
                          <a:pt x="1349041" y="660797"/>
                          <a:pt x="1347832" y="647700"/>
                        </a:cubicBezTo>
                        <a:cubicBezTo>
                          <a:pt x="1346623" y="634603"/>
                          <a:pt x="1352521" y="623887"/>
                          <a:pt x="1354865" y="611981"/>
                        </a:cubicBezTo>
                        <a:lnTo>
                          <a:pt x="1352594" y="552450"/>
                        </a:lnTo>
                        <a:lnTo>
                          <a:pt x="1290682" y="585788"/>
                        </a:lnTo>
                        <a:lnTo>
                          <a:pt x="1271632" y="557213"/>
                        </a:lnTo>
                        <a:lnTo>
                          <a:pt x="1252582" y="476250"/>
                        </a:lnTo>
                        <a:lnTo>
                          <a:pt x="1295444" y="457200"/>
                        </a:lnTo>
                        <a:lnTo>
                          <a:pt x="1366882" y="457200"/>
                        </a:lnTo>
                        <a:lnTo>
                          <a:pt x="1414507" y="423863"/>
                        </a:lnTo>
                        <a:lnTo>
                          <a:pt x="1419269" y="371475"/>
                        </a:lnTo>
                        <a:lnTo>
                          <a:pt x="1347832" y="390525"/>
                        </a:lnTo>
                        <a:lnTo>
                          <a:pt x="1328782" y="376238"/>
                        </a:lnTo>
                        <a:lnTo>
                          <a:pt x="1252582" y="347663"/>
                        </a:lnTo>
                        <a:lnTo>
                          <a:pt x="1209719" y="361950"/>
                        </a:lnTo>
                        <a:lnTo>
                          <a:pt x="1195432" y="419100"/>
                        </a:lnTo>
                        <a:lnTo>
                          <a:pt x="1166857" y="423863"/>
                        </a:lnTo>
                        <a:lnTo>
                          <a:pt x="1147807" y="338138"/>
                        </a:lnTo>
                        <a:lnTo>
                          <a:pt x="1104944" y="304800"/>
                        </a:lnTo>
                        <a:lnTo>
                          <a:pt x="1052557" y="328613"/>
                        </a:lnTo>
                        <a:lnTo>
                          <a:pt x="1028744" y="361950"/>
                        </a:lnTo>
                        <a:lnTo>
                          <a:pt x="1028744" y="361950"/>
                        </a:lnTo>
                        <a:lnTo>
                          <a:pt x="985882" y="381000"/>
                        </a:lnTo>
                        <a:lnTo>
                          <a:pt x="933494" y="385763"/>
                        </a:lnTo>
                        <a:lnTo>
                          <a:pt x="914444" y="314325"/>
                        </a:lnTo>
                        <a:lnTo>
                          <a:pt x="938257" y="195263"/>
                        </a:lnTo>
                        <a:lnTo>
                          <a:pt x="914444" y="123825"/>
                        </a:lnTo>
                        <a:lnTo>
                          <a:pt x="909682" y="61913"/>
                        </a:lnTo>
                        <a:lnTo>
                          <a:pt x="862057" y="4763"/>
                        </a:lnTo>
                        <a:lnTo>
                          <a:pt x="766807" y="42863"/>
                        </a:lnTo>
                        <a:lnTo>
                          <a:pt x="728707" y="66675"/>
                        </a:lnTo>
                        <a:lnTo>
                          <a:pt x="609644" y="9525"/>
                        </a:lnTo>
                        <a:lnTo>
                          <a:pt x="509632" y="0"/>
                        </a:lnTo>
                        <a:lnTo>
                          <a:pt x="385807" y="80963"/>
                        </a:lnTo>
                        <a:lnTo>
                          <a:pt x="390569" y="161925"/>
                        </a:lnTo>
                        <a:lnTo>
                          <a:pt x="314369" y="152400"/>
                        </a:lnTo>
                        <a:lnTo>
                          <a:pt x="166732" y="190500"/>
                        </a:lnTo>
                        <a:lnTo>
                          <a:pt x="19094" y="242888"/>
                        </a:lnTo>
                        <a:close/>
                      </a:path>
                    </a:pathLst>
                  </a:custGeom>
                  <a:solidFill>
                    <a:schemeClr val="bg1">
                      <a:lumMod val="75000"/>
                    </a:schemeClr>
                  </a:solidFill>
                  <a:ln w="6350" cap="flat" cmpd="sng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0" tIns="0" rIns="0" bIns="0" numCol="1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217400"/>
                    <a:endParaRPr lang="en-US" sz="2400">
                      <a:solidFill>
                        <a:prstClr val="black"/>
                      </a:solidFill>
                    </a:endParaRPr>
                  </a:p>
                </p:txBody>
              </p:sp>
            </p:grpSp>
            <p:grpSp>
              <p:nvGrpSpPr>
                <p:cNvPr id="22" name="Группа 21"/>
                <p:cNvGrpSpPr/>
                <p:nvPr/>
              </p:nvGrpSpPr>
              <p:grpSpPr>
                <a:xfrm>
                  <a:off x="4065502" y="589347"/>
                  <a:ext cx="4988759" cy="2630475"/>
                  <a:chOff x="321129" y="1207181"/>
                  <a:chExt cx="8879192" cy="4673914"/>
                </a:xfrm>
              </p:grpSpPr>
              <p:sp>
                <p:nvSpPr>
                  <p:cNvPr id="24" name="Полилиния 23"/>
                  <p:cNvSpPr/>
                  <p:nvPr/>
                </p:nvSpPr>
                <p:spPr>
                  <a:xfrm>
                    <a:off x="4282804" y="4689093"/>
                    <a:ext cx="991769" cy="1140824"/>
                  </a:xfrm>
                  <a:custGeom>
                    <a:avLst/>
                    <a:gdLst>
                      <a:gd name="connsiteX0" fmla="*/ 0 w 991769"/>
                      <a:gd name="connsiteY0" fmla="*/ 9742 h 1140824"/>
                      <a:gd name="connsiteX1" fmla="*/ 65005 w 991769"/>
                      <a:gd name="connsiteY1" fmla="*/ 1075 h 1140824"/>
                      <a:gd name="connsiteX2" fmla="*/ 95340 w 991769"/>
                      <a:gd name="connsiteY2" fmla="*/ 31410 h 1140824"/>
                      <a:gd name="connsiteX3" fmla="*/ 134343 w 991769"/>
                      <a:gd name="connsiteY3" fmla="*/ 53078 h 1140824"/>
                      <a:gd name="connsiteX4" fmla="*/ 160345 w 991769"/>
                      <a:gd name="connsiteY4" fmla="*/ 74747 h 1140824"/>
                      <a:gd name="connsiteX5" fmla="*/ 212349 w 991769"/>
                      <a:gd name="connsiteY5" fmla="*/ 135418 h 1140824"/>
                      <a:gd name="connsiteX6" fmla="*/ 255685 w 991769"/>
                      <a:gd name="connsiteY6" fmla="*/ 170087 h 1140824"/>
                      <a:gd name="connsiteX7" fmla="*/ 299022 w 991769"/>
                      <a:gd name="connsiteY7" fmla="*/ 226424 h 1140824"/>
                      <a:gd name="connsiteX8" fmla="*/ 342358 w 991769"/>
                      <a:gd name="connsiteY8" fmla="*/ 239425 h 1140824"/>
                      <a:gd name="connsiteX9" fmla="*/ 377027 w 991769"/>
                      <a:gd name="connsiteY9" fmla="*/ 261093 h 1140824"/>
                      <a:gd name="connsiteX10" fmla="*/ 433365 w 991769"/>
                      <a:gd name="connsiteY10" fmla="*/ 343433 h 1140824"/>
                      <a:gd name="connsiteX11" fmla="*/ 502703 w 991769"/>
                      <a:gd name="connsiteY11" fmla="*/ 404104 h 1140824"/>
                      <a:gd name="connsiteX12" fmla="*/ 585042 w 991769"/>
                      <a:gd name="connsiteY12" fmla="*/ 477776 h 1140824"/>
                      <a:gd name="connsiteX13" fmla="*/ 645714 w 991769"/>
                      <a:gd name="connsiteY13" fmla="*/ 508111 h 1140824"/>
                      <a:gd name="connsiteX14" fmla="*/ 715052 w 991769"/>
                      <a:gd name="connsiteY14" fmla="*/ 560115 h 1140824"/>
                      <a:gd name="connsiteX15" fmla="*/ 788724 w 991769"/>
                      <a:gd name="connsiteY15" fmla="*/ 620786 h 1140824"/>
                      <a:gd name="connsiteX16" fmla="*/ 840728 w 991769"/>
                      <a:gd name="connsiteY16" fmla="*/ 646788 h 1140824"/>
                      <a:gd name="connsiteX17" fmla="*/ 905732 w 991769"/>
                      <a:gd name="connsiteY17" fmla="*/ 703126 h 1140824"/>
                      <a:gd name="connsiteX18" fmla="*/ 940402 w 991769"/>
                      <a:gd name="connsiteY18" fmla="*/ 798466 h 1140824"/>
                      <a:gd name="connsiteX19" fmla="*/ 988072 w 991769"/>
                      <a:gd name="connsiteY19" fmla="*/ 833135 h 1140824"/>
                      <a:gd name="connsiteX20" fmla="*/ 988072 w 991769"/>
                      <a:gd name="connsiteY20" fmla="*/ 872138 h 1140824"/>
                      <a:gd name="connsiteX21" fmla="*/ 983738 w 991769"/>
                      <a:gd name="connsiteY21" fmla="*/ 954477 h 1140824"/>
                      <a:gd name="connsiteX22" fmla="*/ 970737 w 991769"/>
                      <a:gd name="connsiteY22" fmla="*/ 1002148 h 1140824"/>
                      <a:gd name="connsiteX23" fmla="*/ 940402 w 991769"/>
                      <a:gd name="connsiteY23" fmla="*/ 1010815 h 1140824"/>
                      <a:gd name="connsiteX24" fmla="*/ 936068 w 991769"/>
                      <a:gd name="connsiteY24" fmla="*/ 1062819 h 1140824"/>
                      <a:gd name="connsiteX25" fmla="*/ 944735 w 991769"/>
                      <a:gd name="connsiteY25" fmla="*/ 1119156 h 1140824"/>
                      <a:gd name="connsiteX26" fmla="*/ 944735 w 991769"/>
                      <a:gd name="connsiteY26" fmla="*/ 1140824 h 11408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991769" h="1140824">
                        <a:moveTo>
                          <a:pt x="0" y="9742"/>
                        </a:moveTo>
                        <a:cubicBezTo>
                          <a:pt x="24557" y="3603"/>
                          <a:pt x="49115" y="-2536"/>
                          <a:pt x="65005" y="1075"/>
                        </a:cubicBezTo>
                        <a:cubicBezTo>
                          <a:pt x="80895" y="4686"/>
                          <a:pt x="83784" y="22743"/>
                          <a:pt x="95340" y="31410"/>
                        </a:cubicBezTo>
                        <a:cubicBezTo>
                          <a:pt x="106896" y="40077"/>
                          <a:pt x="123509" y="45855"/>
                          <a:pt x="134343" y="53078"/>
                        </a:cubicBezTo>
                        <a:cubicBezTo>
                          <a:pt x="145177" y="60301"/>
                          <a:pt x="147344" y="61024"/>
                          <a:pt x="160345" y="74747"/>
                        </a:cubicBezTo>
                        <a:cubicBezTo>
                          <a:pt x="173346" y="88470"/>
                          <a:pt x="196459" y="119528"/>
                          <a:pt x="212349" y="135418"/>
                        </a:cubicBezTo>
                        <a:cubicBezTo>
                          <a:pt x="228239" y="151308"/>
                          <a:pt x="241240" y="154919"/>
                          <a:pt x="255685" y="170087"/>
                        </a:cubicBezTo>
                        <a:cubicBezTo>
                          <a:pt x="270130" y="185255"/>
                          <a:pt x="284577" y="214868"/>
                          <a:pt x="299022" y="226424"/>
                        </a:cubicBezTo>
                        <a:cubicBezTo>
                          <a:pt x="313467" y="237980"/>
                          <a:pt x="329357" y="233647"/>
                          <a:pt x="342358" y="239425"/>
                        </a:cubicBezTo>
                        <a:cubicBezTo>
                          <a:pt x="355359" y="245203"/>
                          <a:pt x="361859" y="243758"/>
                          <a:pt x="377027" y="261093"/>
                        </a:cubicBezTo>
                        <a:cubicBezTo>
                          <a:pt x="392195" y="278428"/>
                          <a:pt x="412419" y="319598"/>
                          <a:pt x="433365" y="343433"/>
                        </a:cubicBezTo>
                        <a:cubicBezTo>
                          <a:pt x="454311" y="367268"/>
                          <a:pt x="502703" y="404104"/>
                          <a:pt x="502703" y="404104"/>
                        </a:cubicBezTo>
                        <a:cubicBezTo>
                          <a:pt x="527982" y="426494"/>
                          <a:pt x="561207" y="460442"/>
                          <a:pt x="585042" y="477776"/>
                        </a:cubicBezTo>
                        <a:cubicBezTo>
                          <a:pt x="608877" y="495110"/>
                          <a:pt x="624046" y="494388"/>
                          <a:pt x="645714" y="508111"/>
                        </a:cubicBezTo>
                        <a:cubicBezTo>
                          <a:pt x="667382" y="521834"/>
                          <a:pt x="691217" y="541336"/>
                          <a:pt x="715052" y="560115"/>
                        </a:cubicBezTo>
                        <a:cubicBezTo>
                          <a:pt x="738887" y="578894"/>
                          <a:pt x="767778" y="606341"/>
                          <a:pt x="788724" y="620786"/>
                        </a:cubicBezTo>
                        <a:cubicBezTo>
                          <a:pt x="809670" y="635231"/>
                          <a:pt x="821227" y="633065"/>
                          <a:pt x="840728" y="646788"/>
                        </a:cubicBezTo>
                        <a:cubicBezTo>
                          <a:pt x="860229" y="660511"/>
                          <a:pt x="889120" y="677846"/>
                          <a:pt x="905732" y="703126"/>
                        </a:cubicBezTo>
                        <a:cubicBezTo>
                          <a:pt x="922344" y="728406"/>
                          <a:pt x="926679" y="776798"/>
                          <a:pt x="940402" y="798466"/>
                        </a:cubicBezTo>
                        <a:cubicBezTo>
                          <a:pt x="954125" y="820134"/>
                          <a:pt x="980127" y="820856"/>
                          <a:pt x="988072" y="833135"/>
                        </a:cubicBezTo>
                        <a:cubicBezTo>
                          <a:pt x="996017" y="845414"/>
                          <a:pt x="988794" y="851914"/>
                          <a:pt x="988072" y="872138"/>
                        </a:cubicBezTo>
                        <a:cubicBezTo>
                          <a:pt x="987350" y="892362"/>
                          <a:pt x="986627" y="932809"/>
                          <a:pt x="983738" y="954477"/>
                        </a:cubicBezTo>
                        <a:cubicBezTo>
                          <a:pt x="980849" y="976145"/>
                          <a:pt x="977960" y="992758"/>
                          <a:pt x="970737" y="1002148"/>
                        </a:cubicBezTo>
                        <a:cubicBezTo>
                          <a:pt x="963514" y="1011538"/>
                          <a:pt x="946180" y="1000703"/>
                          <a:pt x="940402" y="1010815"/>
                        </a:cubicBezTo>
                        <a:cubicBezTo>
                          <a:pt x="934624" y="1020927"/>
                          <a:pt x="935346" y="1044762"/>
                          <a:pt x="936068" y="1062819"/>
                        </a:cubicBezTo>
                        <a:cubicBezTo>
                          <a:pt x="936790" y="1080876"/>
                          <a:pt x="943291" y="1106155"/>
                          <a:pt x="944735" y="1119156"/>
                        </a:cubicBezTo>
                        <a:cubicBezTo>
                          <a:pt x="946179" y="1132157"/>
                          <a:pt x="945457" y="1136490"/>
                          <a:pt x="944735" y="1140824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" name="Полилиния 24"/>
                  <p:cNvSpPr/>
                  <p:nvPr/>
                </p:nvSpPr>
                <p:spPr>
                  <a:xfrm>
                    <a:off x="4279693" y="4658673"/>
                    <a:ext cx="1022739" cy="1183087"/>
                  </a:xfrm>
                  <a:custGeom>
                    <a:avLst/>
                    <a:gdLst>
                      <a:gd name="connsiteX0" fmla="*/ 0 w 991769"/>
                      <a:gd name="connsiteY0" fmla="*/ 9742 h 1140824"/>
                      <a:gd name="connsiteX1" fmla="*/ 65005 w 991769"/>
                      <a:gd name="connsiteY1" fmla="*/ 1075 h 1140824"/>
                      <a:gd name="connsiteX2" fmla="*/ 95340 w 991769"/>
                      <a:gd name="connsiteY2" fmla="*/ 31410 h 1140824"/>
                      <a:gd name="connsiteX3" fmla="*/ 134343 w 991769"/>
                      <a:gd name="connsiteY3" fmla="*/ 53078 h 1140824"/>
                      <a:gd name="connsiteX4" fmla="*/ 160345 w 991769"/>
                      <a:gd name="connsiteY4" fmla="*/ 74747 h 1140824"/>
                      <a:gd name="connsiteX5" fmla="*/ 212349 w 991769"/>
                      <a:gd name="connsiteY5" fmla="*/ 135418 h 1140824"/>
                      <a:gd name="connsiteX6" fmla="*/ 255685 w 991769"/>
                      <a:gd name="connsiteY6" fmla="*/ 170087 h 1140824"/>
                      <a:gd name="connsiteX7" fmla="*/ 299022 w 991769"/>
                      <a:gd name="connsiteY7" fmla="*/ 226424 h 1140824"/>
                      <a:gd name="connsiteX8" fmla="*/ 342358 w 991769"/>
                      <a:gd name="connsiteY8" fmla="*/ 239425 h 1140824"/>
                      <a:gd name="connsiteX9" fmla="*/ 377027 w 991769"/>
                      <a:gd name="connsiteY9" fmla="*/ 261093 h 1140824"/>
                      <a:gd name="connsiteX10" fmla="*/ 433365 w 991769"/>
                      <a:gd name="connsiteY10" fmla="*/ 343433 h 1140824"/>
                      <a:gd name="connsiteX11" fmla="*/ 502703 w 991769"/>
                      <a:gd name="connsiteY11" fmla="*/ 404104 h 1140824"/>
                      <a:gd name="connsiteX12" fmla="*/ 585042 w 991769"/>
                      <a:gd name="connsiteY12" fmla="*/ 477776 h 1140824"/>
                      <a:gd name="connsiteX13" fmla="*/ 645714 w 991769"/>
                      <a:gd name="connsiteY13" fmla="*/ 508111 h 1140824"/>
                      <a:gd name="connsiteX14" fmla="*/ 715052 w 991769"/>
                      <a:gd name="connsiteY14" fmla="*/ 560115 h 1140824"/>
                      <a:gd name="connsiteX15" fmla="*/ 788724 w 991769"/>
                      <a:gd name="connsiteY15" fmla="*/ 620786 h 1140824"/>
                      <a:gd name="connsiteX16" fmla="*/ 840728 w 991769"/>
                      <a:gd name="connsiteY16" fmla="*/ 646788 h 1140824"/>
                      <a:gd name="connsiteX17" fmla="*/ 905732 w 991769"/>
                      <a:gd name="connsiteY17" fmla="*/ 703126 h 1140824"/>
                      <a:gd name="connsiteX18" fmla="*/ 940402 w 991769"/>
                      <a:gd name="connsiteY18" fmla="*/ 798466 h 1140824"/>
                      <a:gd name="connsiteX19" fmla="*/ 988072 w 991769"/>
                      <a:gd name="connsiteY19" fmla="*/ 833135 h 1140824"/>
                      <a:gd name="connsiteX20" fmla="*/ 988072 w 991769"/>
                      <a:gd name="connsiteY20" fmla="*/ 872138 h 1140824"/>
                      <a:gd name="connsiteX21" fmla="*/ 983738 w 991769"/>
                      <a:gd name="connsiteY21" fmla="*/ 954477 h 1140824"/>
                      <a:gd name="connsiteX22" fmla="*/ 970737 w 991769"/>
                      <a:gd name="connsiteY22" fmla="*/ 1002148 h 1140824"/>
                      <a:gd name="connsiteX23" fmla="*/ 940402 w 991769"/>
                      <a:gd name="connsiteY23" fmla="*/ 1010815 h 1140824"/>
                      <a:gd name="connsiteX24" fmla="*/ 936068 w 991769"/>
                      <a:gd name="connsiteY24" fmla="*/ 1062819 h 1140824"/>
                      <a:gd name="connsiteX25" fmla="*/ 944735 w 991769"/>
                      <a:gd name="connsiteY25" fmla="*/ 1119156 h 1140824"/>
                      <a:gd name="connsiteX26" fmla="*/ 944735 w 991769"/>
                      <a:gd name="connsiteY26" fmla="*/ 1140824 h 11408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991769" h="1140824">
                        <a:moveTo>
                          <a:pt x="0" y="9742"/>
                        </a:moveTo>
                        <a:cubicBezTo>
                          <a:pt x="24557" y="3603"/>
                          <a:pt x="49115" y="-2536"/>
                          <a:pt x="65005" y="1075"/>
                        </a:cubicBezTo>
                        <a:cubicBezTo>
                          <a:pt x="80895" y="4686"/>
                          <a:pt x="83784" y="22743"/>
                          <a:pt x="95340" y="31410"/>
                        </a:cubicBezTo>
                        <a:cubicBezTo>
                          <a:pt x="106896" y="40077"/>
                          <a:pt x="123509" y="45855"/>
                          <a:pt x="134343" y="53078"/>
                        </a:cubicBezTo>
                        <a:cubicBezTo>
                          <a:pt x="145177" y="60301"/>
                          <a:pt x="147344" y="61024"/>
                          <a:pt x="160345" y="74747"/>
                        </a:cubicBezTo>
                        <a:cubicBezTo>
                          <a:pt x="173346" y="88470"/>
                          <a:pt x="196459" y="119528"/>
                          <a:pt x="212349" y="135418"/>
                        </a:cubicBezTo>
                        <a:cubicBezTo>
                          <a:pt x="228239" y="151308"/>
                          <a:pt x="241240" y="154919"/>
                          <a:pt x="255685" y="170087"/>
                        </a:cubicBezTo>
                        <a:cubicBezTo>
                          <a:pt x="270130" y="185255"/>
                          <a:pt x="284577" y="214868"/>
                          <a:pt x="299022" y="226424"/>
                        </a:cubicBezTo>
                        <a:cubicBezTo>
                          <a:pt x="313467" y="237980"/>
                          <a:pt x="329357" y="233647"/>
                          <a:pt x="342358" y="239425"/>
                        </a:cubicBezTo>
                        <a:cubicBezTo>
                          <a:pt x="355359" y="245203"/>
                          <a:pt x="361859" y="243758"/>
                          <a:pt x="377027" y="261093"/>
                        </a:cubicBezTo>
                        <a:cubicBezTo>
                          <a:pt x="392195" y="278428"/>
                          <a:pt x="412419" y="319598"/>
                          <a:pt x="433365" y="343433"/>
                        </a:cubicBezTo>
                        <a:cubicBezTo>
                          <a:pt x="454311" y="367268"/>
                          <a:pt x="502703" y="404104"/>
                          <a:pt x="502703" y="404104"/>
                        </a:cubicBezTo>
                        <a:cubicBezTo>
                          <a:pt x="527982" y="426494"/>
                          <a:pt x="561207" y="460442"/>
                          <a:pt x="585042" y="477776"/>
                        </a:cubicBezTo>
                        <a:cubicBezTo>
                          <a:pt x="608877" y="495110"/>
                          <a:pt x="624046" y="494388"/>
                          <a:pt x="645714" y="508111"/>
                        </a:cubicBezTo>
                        <a:cubicBezTo>
                          <a:pt x="667382" y="521834"/>
                          <a:pt x="691217" y="541336"/>
                          <a:pt x="715052" y="560115"/>
                        </a:cubicBezTo>
                        <a:cubicBezTo>
                          <a:pt x="738887" y="578894"/>
                          <a:pt x="767778" y="606341"/>
                          <a:pt x="788724" y="620786"/>
                        </a:cubicBezTo>
                        <a:cubicBezTo>
                          <a:pt x="809670" y="635231"/>
                          <a:pt x="821227" y="633065"/>
                          <a:pt x="840728" y="646788"/>
                        </a:cubicBezTo>
                        <a:cubicBezTo>
                          <a:pt x="860229" y="660511"/>
                          <a:pt x="889120" y="677846"/>
                          <a:pt x="905732" y="703126"/>
                        </a:cubicBezTo>
                        <a:cubicBezTo>
                          <a:pt x="922344" y="728406"/>
                          <a:pt x="926679" y="776798"/>
                          <a:pt x="940402" y="798466"/>
                        </a:cubicBezTo>
                        <a:cubicBezTo>
                          <a:pt x="954125" y="820134"/>
                          <a:pt x="980127" y="820856"/>
                          <a:pt x="988072" y="833135"/>
                        </a:cubicBezTo>
                        <a:cubicBezTo>
                          <a:pt x="996017" y="845414"/>
                          <a:pt x="988794" y="851914"/>
                          <a:pt x="988072" y="872138"/>
                        </a:cubicBezTo>
                        <a:cubicBezTo>
                          <a:pt x="987350" y="892362"/>
                          <a:pt x="986627" y="932809"/>
                          <a:pt x="983738" y="954477"/>
                        </a:cubicBezTo>
                        <a:cubicBezTo>
                          <a:pt x="980849" y="976145"/>
                          <a:pt x="977960" y="992758"/>
                          <a:pt x="970737" y="1002148"/>
                        </a:cubicBezTo>
                        <a:cubicBezTo>
                          <a:pt x="963514" y="1011538"/>
                          <a:pt x="946180" y="1000703"/>
                          <a:pt x="940402" y="1010815"/>
                        </a:cubicBezTo>
                        <a:cubicBezTo>
                          <a:pt x="934624" y="1020927"/>
                          <a:pt x="935346" y="1044762"/>
                          <a:pt x="936068" y="1062819"/>
                        </a:cubicBezTo>
                        <a:cubicBezTo>
                          <a:pt x="936790" y="1080876"/>
                          <a:pt x="943291" y="1106155"/>
                          <a:pt x="944735" y="1119156"/>
                        </a:cubicBezTo>
                        <a:cubicBezTo>
                          <a:pt x="946179" y="1132157"/>
                          <a:pt x="945457" y="1136490"/>
                          <a:pt x="944735" y="1140824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" name="Полилиния 25"/>
                  <p:cNvSpPr/>
                  <p:nvPr/>
                </p:nvSpPr>
                <p:spPr>
                  <a:xfrm>
                    <a:off x="4277313" y="4719344"/>
                    <a:ext cx="975071" cy="1100746"/>
                  </a:xfrm>
                  <a:custGeom>
                    <a:avLst/>
                    <a:gdLst>
                      <a:gd name="connsiteX0" fmla="*/ 0 w 991769"/>
                      <a:gd name="connsiteY0" fmla="*/ 9742 h 1140824"/>
                      <a:gd name="connsiteX1" fmla="*/ 65005 w 991769"/>
                      <a:gd name="connsiteY1" fmla="*/ 1075 h 1140824"/>
                      <a:gd name="connsiteX2" fmla="*/ 95340 w 991769"/>
                      <a:gd name="connsiteY2" fmla="*/ 31410 h 1140824"/>
                      <a:gd name="connsiteX3" fmla="*/ 134343 w 991769"/>
                      <a:gd name="connsiteY3" fmla="*/ 53078 h 1140824"/>
                      <a:gd name="connsiteX4" fmla="*/ 160345 w 991769"/>
                      <a:gd name="connsiteY4" fmla="*/ 74747 h 1140824"/>
                      <a:gd name="connsiteX5" fmla="*/ 212349 w 991769"/>
                      <a:gd name="connsiteY5" fmla="*/ 135418 h 1140824"/>
                      <a:gd name="connsiteX6" fmla="*/ 255685 w 991769"/>
                      <a:gd name="connsiteY6" fmla="*/ 170087 h 1140824"/>
                      <a:gd name="connsiteX7" fmla="*/ 299022 w 991769"/>
                      <a:gd name="connsiteY7" fmla="*/ 226424 h 1140824"/>
                      <a:gd name="connsiteX8" fmla="*/ 342358 w 991769"/>
                      <a:gd name="connsiteY8" fmla="*/ 239425 h 1140824"/>
                      <a:gd name="connsiteX9" fmla="*/ 377027 w 991769"/>
                      <a:gd name="connsiteY9" fmla="*/ 261093 h 1140824"/>
                      <a:gd name="connsiteX10" fmla="*/ 433365 w 991769"/>
                      <a:gd name="connsiteY10" fmla="*/ 343433 h 1140824"/>
                      <a:gd name="connsiteX11" fmla="*/ 502703 w 991769"/>
                      <a:gd name="connsiteY11" fmla="*/ 404104 h 1140824"/>
                      <a:gd name="connsiteX12" fmla="*/ 585042 w 991769"/>
                      <a:gd name="connsiteY12" fmla="*/ 477776 h 1140824"/>
                      <a:gd name="connsiteX13" fmla="*/ 645714 w 991769"/>
                      <a:gd name="connsiteY13" fmla="*/ 508111 h 1140824"/>
                      <a:gd name="connsiteX14" fmla="*/ 715052 w 991769"/>
                      <a:gd name="connsiteY14" fmla="*/ 560115 h 1140824"/>
                      <a:gd name="connsiteX15" fmla="*/ 788724 w 991769"/>
                      <a:gd name="connsiteY15" fmla="*/ 620786 h 1140824"/>
                      <a:gd name="connsiteX16" fmla="*/ 840728 w 991769"/>
                      <a:gd name="connsiteY16" fmla="*/ 646788 h 1140824"/>
                      <a:gd name="connsiteX17" fmla="*/ 905732 w 991769"/>
                      <a:gd name="connsiteY17" fmla="*/ 703126 h 1140824"/>
                      <a:gd name="connsiteX18" fmla="*/ 940402 w 991769"/>
                      <a:gd name="connsiteY18" fmla="*/ 798466 h 1140824"/>
                      <a:gd name="connsiteX19" fmla="*/ 988072 w 991769"/>
                      <a:gd name="connsiteY19" fmla="*/ 833135 h 1140824"/>
                      <a:gd name="connsiteX20" fmla="*/ 988072 w 991769"/>
                      <a:gd name="connsiteY20" fmla="*/ 872138 h 1140824"/>
                      <a:gd name="connsiteX21" fmla="*/ 983738 w 991769"/>
                      <a:gd name="connsiteY21" fmla="*/ 954477 h 1140824"/>
                      <a:gd name="connsiteX22" fmla="*/ 970737 w 991769"/>
                      <a:gd name="connsiteY22" fmla="*/ 1002148 h 1140824"/>
                      <a:gd name="connsiteX23" fmla="*/ 940402 w 991769"/>
                      <a:gd name="connsiteY23" fmla="*/ 1010815 h 1140824"/>
                      <a:gd name="connsiteX24" fmla="*/ 936068 w 991769"/>
                      <a:gd name="connsiteY24" fmla="*/ 1062819 h 1140824"/>
                      <a:gd name="connsiteX25" fmla="*/ 944735 w 991769"/>
                      <a:gd name="connsiteY25" fmla="*/ 1119156 h 1140824"/>
                      <a:gd name="connsiteX26" fmla="*/ 944735 w 991769"/>
                      <a:gd name="connsiteY26" fmla="*/ 1140824 h 11408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991769" h="1140824">
                        <a:moveTo>
                          <a:pt x="0" y="9742"/>
                        </a:moveTo>
                        <a:cubicBezTo>
                          <a:pt x="24557" y="3603"/>
                          <a:pt x="49115" y="-2536"/>
                          <a:pt x="65005" y="1075"/>
                        </a:cubicBezTo>
                        <a:cubicBezTo>
                          <a:pt x="80895" y="4686"/>
                          <a:pt x="83784" y="22743"/>
                          <a:pt x="95340" y="31410"/>
                        </a:cubicBezTo>
                        <a:cubicBezTo>
                          <a:pt x="106896" y="40077"/>
                          <a:pt x="123509" y="45855"/>
                          <a:pt x="134343" y="53078"/>
                        </a:cubicBezTo>
                        <a:cubicBezTo>
                          <a:pt x="145177" y="60301"/>
                          <a:pt x="147344" y="61024"/>
                          <a:pt x="160345" y="74747"/>
                        </a:cubicBezTo>
                        <a:cubicBezTo>
                          <a:pt x="173346" y="88470"/>
                          <a:pt x="196459" y="119528"/>
                          <a:pt x="212349" y="135418"/>
                        </a:cubicBezTo>
                        <a:cubicBezTo>
                          <a:pt x="228239" y="151308"/>
                          <a:pt x="241240" y="154919"/>
                          <a:pt x="255685" y="170087"/>
                        </a:cubicBezTo>
                        <a:cubicBezTo>
                          <a:pt x="270130" y="185255"/>
                          <a:pt x="284577" y="214868"/>
                          <a:pt x="299022" y="226424"/>
                        </a:cubicBezTo>
                        <a:cubicBezTo>
                          <a:pt x="313467" y="237980"/>
                          <a:pt x="329357" y="233647"/>
                          <a:pt x="342358" y="239425"/>
                        </a:cubicBezTo>
                        <a:cubicBezTo>
                          <a:pt x="355359" y="245203"/>
                          <a:pt x="361859" y="243758"/>
                          <a:pt x="377027" y="261093"/>
                        </a:cubicBezTo>
                        <a:cubicBezTo>
                          <a:pt x="392195" y="278428"/>
                          <a:pt x="412419" y="319598"/>
                          <a:pt x="433365" y="343433"/>
                        </a:cubicBezTo>
                        <a:cubicBezTo>
                          <a:pt x="454311" y="367268"/>
                          <a:pt x="502703" y="404104"/>
                          <a:pt x="502703" y="404104"/>
                        </a:cubicBezTo>
                        <a:cubicBezTo>
                          <a:pt x="527982" y="426494"/>
                          <a:pt x="561207" y="460442"/>
                          <a:pt x="585042" y="477776"/>
                        </a:cubicBezTo>
                        <a:cubicBezTo>
                          <a:pt x="608877" y="495110"/>
                          <a:pt x="624046" y="494388"/>
                          <a:pt x="645714" y="508111"/>
                        </a:cubicBezTo>
                        <a:cubicBezTo>
                          <a:pt x="667382" y="521834"/>
                          <a:pt x="691217" y="541336"/>
                          <a:pt x="715052" y="560115"/>
                        </a:cubicBezTo>
                        <a:cubicBezTo>
                          <a:pt x="738887" y="578894"/>
                          <a:pt x="767778" y="606341"/>
                          <a:pt x="788724" y="620786"/>
                        </a:cubicBezTo>
                        <a:cubicBezTo>
                          <a:pt x="809670" y="635231"/>
                          <a:pt x="821227" y="633065"/>
                          <a:pt x="840728" y="646788"/>
                        </a:cubicBezTo>
                        <a:cubicBezTo>
                          <a:pt x="860229" y="660511"/>
                          <a:pt x="889120" y="677846"/>
                          <a:pt x="905732" y="703126"/>
                        </a:cubicBezTo>
                        <a:cubicBezTo>
                          <a:pt x="922344" y="728406"/>
                          <a:pt x="926679" y="776798"/>
                          <a:pt x="940402" y="798466"/>
                        </a:cubicBezTo>
                        <a:cubicBezTo>
                          <a:pt x="954125" y="820134"/>
                          <a:pt x="980127" y="820856"/>
                          <a:pt x="988072" y="833135"/>
                        </a:cubicBezTo>
                        <a:cubicBezTo>
                          <a:pt x="996017" y="845414"/>
                          <a:pt x="988794" y="851914"/>
                          <a:pt x="988072" y="872138"/>
                        </a:cubicBezTo>
                        <a:cubicBezTo>
                          <a:pt x="987350" y="892362"/>
                          <a:pt x="986627" y="932809"/>
                          <a:pt x="983738" y="954477"/>
                        </a:cubicBezTo>
                        <a:cubicBezTo>
                          <a:pt x="980849" y="976145"/>
                          <a:pt x="977960" y="992758"/>
                          <a:pt x="970737" y="1002148"/>
                        </a:cubicBezTo>
                        <a:cubicBezTo>
                          <a:pt x="963514" y="1011538"/>
                          <a:pt x="946180" y="1000703"/>
                          <a:pt x="940402" y="1010815"/>
                        </a:cubicBezTo>
                        <a:cubicBezTo>
                          <a:pt x="934624" y="1020927"/>
                          <a:pt x="935346" y="1044762"/>
                          <a:pt x="936068" y="1062819"/>
                        </a:cubicBezTo>
                        <a:cubicBezTo>
                          <a:pt x="936790" y="1080876"/>
                          <a:pt x="943291" y="1106155"/>
                          <a:pt x="944735" y="1119156"/>
                        </a:cubicBezTo>
                        <a:cubicBezTo>
                          <a:pt x="946179" y="1132157"/>
                          <a:pt x="945457" y="1136490"/>
                          <a:pt x="944735" y="1140824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" name="Полилиния 26"/>
                  <p:cNvSpPr/>
                  <p:nvPr/>
                </p:nvSpPr>
                <p:spPr>
                  <a:xfrm>
                    <a:off x="4285978" y="4692268"/>
                    <a:ext cx="991769" cy="1140824"/>
                  </a:xfrm>
                  <a:custGeom>
                    <a:avLst/>
                    <a:gdLst>
                      <a:gd name="connsiteX0" fmla="*/ 0 w 991769"/>
                      <a:gd name="connsiteY0" fmla="*/ 9742 h 1140824"/>
                      <a:gd name="connsiteX1" fmla="*/ 65005 w 991769"/>
                      <a:gd name="connsiteY1" fmla="*/ 1075 h 1140824"/>
                      <a:gd name="connsiteX2" fmla="*/ 95340 w 991769"/>
                      <a:gd name="connsiteY2" fmla="*/ 31410 h 1140824"/>
                      <a:gd name="connsiteX3" fmla="*/ 134343 w 991769"/>
                      <a:gd name="connsiteY3" fmla="*/ 53078 h 1140824"/>
                      <a:gd name="connsiteX4" fmla="*/ 160345 w 991769"/>
                      <a:gd name="connsiteY4" fmla="*/ 74747 h 1140824"/>
                      <a:gd name="connsiteX5" fmla="*/ 212349 w 991769"/>
                      <a:gd name="connsiteY5" fmla="*/ 135418 h 1140824"/>
                      <a:gd name="connsiteX6" fmla="*/ 255685 w 991769"/>
                      <a:gd name="connsiteY6" fmla="*/ 170087 h 1140824"/>
                      <a:gd name="connsiteX7" fmla="*/ 299022 w 991769"/>
                      <a:gd name="connsiteY7" fmla="*/ 226424 h 1140824"/>
                      <a:gd name="connsiteX8" fmla="*/ 342358 w 991769"/>
                      <a:gd name="connsiteY8" fmla="*/ 239425 h 1140824"/>
                      <a:gd name="connsiteX9" fmla="*/ 377027 w 991769"/>
                      <a:gd name="connsiteY9" fmla="*/ 261093 h 1140824"/>
                      <a:gd name="connsiteX10" fmla="*/ 433365 w 991769"/>
                      <a:gd name="connsiteY10" fmla="*/ 343433 h 1140824"/>
                      <a:gd name="connsiteX11" fmla="*/ 502703 w 991769"/>
                      <a:gd name="connsiteY11" fmla="*/ 404104 h 1140824"/>
                      <a:gd name="connsiteX12" fmla="*/ 585042 w 991769"/>
                      <a:gd name="connsiteY12" fmla="*/ 477776 h 1140824"/>
                      <a:gd name="connsiteX13" fmla="*/ 645714 w 991769"/>
                      <a:gd name="connsiteY13" fmla="*/ 508111 h 1140824"/>
                      <a:gd name="connsiteX14" fmla="*/ 715052 w 991769"/>
                      <a:gd name="connsiteY14" fmla="*/ 560115 h 1140824"/>
                      <a:gd name="connsiteX15" fmla="*/ 788724 w 991769"/>
                      <a:gd name="connsiteY15" fmla="*/ 620786 h 1140824"/>
                      <a:gd name="connsiteX16" fmla="*/ 840728 w 991769"/>
                      <a:gd name="connsiteY16" fmla="*/ 646788 h 1140824"/>
                      <a:gd name="connsiteX17" fmla="*/ 905732 w 991769"/>
                      <a:gd name="connsiteY17" fmla="*/ 703126 h 1140824"/>
                      <a:gd name="connsiteX18" fmla="*/ 940402 w 991769"/>
                      <a:gd name="connsiteY18" fmla="*/ 798466 h 1140824"/>
                      <a:gd name="connsiteX19" fmla="*/ 988072 w 991769"/>
                      <a:gd name="connsiteY19" fmla="*/ 833135 h 1140824"/>
                      <a:gd name="connsiteX20" fmla="*/ 988072 w 991769"/>
                      <a:gd name="connsiteY20" fmla="*/ 872138 h 1140824"/>
                      <a:gd name="connsiteX21" fmla="*/ 983738 w 991769"/>
                      <a:gd name="connsiteY21" fmla="*/ 954477 h 1140824"/>
                      <a:gd name="connsiteX22" fmla="*/ 970737 w 991769"/>
                      <a:gd name="connsiteY22" fmla="*/ 1002148 h 1140824"/>
                      <a:gd name="connsiteX23" fmla="*/ 940402 w 991769"/>
                      <a:gd name="connsiteY23" fmla="*/ 1010815 h 1140824"/>
                      <a:gd name="connsiteX24" fmla="*/ 936068 w 991769"/>
                      <a:gd name="connsiteY24" fmla="*/ 1062819 h 1140824"/>
                      <a:gd name="connsiteX25" fmla="*/ 944735 w 991769"/>
                      <a:gd name="connsiteY25" fmla="*/ 1119156 h 1140824"/>
                      <a:gd name="connsiteX26" fmla="*/ 944735 w 991769"/>
                      <a:gd name="connsiteY26" fmla="*/ 1140824 h 11408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</a:cxnLst>
                    <a:rect l="l" t="t" r="r" b="b"/>
                    <a:pathLst>
                      <a:path w="991769" h="1140824">
                        <a:moveTo>
                          <a:pt x="0" y="9742"/>
                        </a:moveTo>
                        <a:cubicBezTo>
                          <a:pt x="24557" y="3603"/>
                          <a:pt x="49115" y="-2536"/>
                          <a:pt x="65005" y="1075"/>
                        </a:cubicBezTo>
                        <a:cubicBezTo>
                          <a:pt x="80895" y="4686"/>
                          <a:pt x="83784" y="22743"/>
                          <a:pt x="95340" y="31410"/>
                        </a:cubicBezTo>
                        <a:cubicBezTo>
                          <a:pt x="106896" y="40077"/>
                          <a:pt x="123509" y="45855"/>
                          <a:pt x="134343" y="53078"/>
                        </a:cubicBezTo>
                        <a:cubicBezTo>
                          <a:pt x="145177" y="60301"/>
                          <a:pt x="147344" y="61024"/>
                          <a:pt x="160345" y="74747"/>
                        </a:cubicBezTo>
                        <a:cubicBezTo>
                          <a:pt x="173346" y="88470"/>
                          <a:pt x="196459" y="119528"/>
                          <a:pt x="212349" y="135418"/>
                        </a:cubicBezTo>
                        <a:cubicBezTo>
                          <a:pt x="228239" y="151308"/>
                          <a:pt x="241240" y="154919"/>
                          <a:pt x="255685" y="170087"/>
                        </a:cubicBezTo>
                        <a:cubicBezTo>
                          <a:pt x="270130" y="185255"/>
                          <a:pt x="284577" y="214868"/>
                          <a:pt x="299022" y="226424"/>
                        </a:cubicBezTo>
                        <a:cubicBezTo>
                          <a:pt x="313467" y="237980"/>
                          <a:pt x="329357" y="233647"/>
                          <a:pt x="342358" y="239425"/>
                        </a:cubicBezTo>
                        <a:cubicBezTo>
                          <a:pt x="355359" y="245203"/>
                          <a:pt x="361859" y="243758"/>
                          <a:pt x="377027" y="261093"/>
                        </a:cubicBezTo>
                        <a:cubicBezTo>
                          <a:pt x="392195" y="278428"/>
                          <a:pt x="412419" y="319598"/>
                          <a:pt x="433365" y="343433"/>
                        </a:cubicBezTo>
                        <a:cubicBezTo>
                          <a:pt x="454311" y="367268"/>
                          <a:pt x="502703" y="404104"/>
                          <a:pt x="502703" y="404104"/>
                        </a:cubicBezTo>
                        <a:cubicBezTo>
                          <a:pt x="527982" y="426494"/>
                          <a:pt x="561207" y="460442"/>
                          <a:pt x="585042" y="477776"/>
                        </a:cubicBezTo>
                        <a:cubicBezTo>
                          <a:pt x="608877" y="495110"/>
                          <a:pt x="624046" y="494388"/>
                          <a:pt x="645714" y="508111"/>
                        </a:cubicBezTo>
                        <a:cubicBezTo>
                          <a:pt x="667382" y="521834"/>
                          <a:pt x="691217" y="541336"/>
                          <a:pt x="715052" y="560115"/>
                        </a:cubicBezTo>
                        <a:cubicBezTo>
                          <a:pt x="738887" y="578894"/>
                          <a:pt x="767778" y="606341"/>
                          <a:pt x="788724" y="620786"/>
                        </a:cubicBezTo>
                        <a:cubicBezTo>
                          <a:pt x="809670" y="635231"/>
                          <a:pt x="821227" y="633065"/>
                          <a:pt x="840728" y="646788"/>
                        </a:cubicBezTo>
                        <a:cubicBezTo>
                          <a:pt x="860229" y="660511"/>
                          <a:pt x="889120" y="677846"/>
                          <a:pt x="905732" y="703126"/>
                        </a:cubicBezTo>
                        <a:cubicBezTo>
                          <a:pt x="922344" y="728406"/>
                          <a:pt x="926679" y="776798"/>
                          <a:pt x="940402" y="798466"/>
                        </a:cubicBezTo>
                        <a:cubicBezTo>
                          <a:pt x="954125" y="820134"/>
                          <a:pt x="980127" y="820856"/>
                          <a:pt x="988072" y="833135"/>
                        </a:cubicBezTo>
                        <a:cubicBezTo>
                          <a:pt x="996017" y="845414"/>
                          <a:pt x="988794" y="851914"/>
                          <a:pt x="988072" y="872138"/>
                        </a:cubicBezTo>
                        <a:cubicBezTo>
                          <a:pt x="987350" y="892362"/>
                          <a:pt x="986627" y="932809"/>
                          <a:pt x="983738" y="954477"/>
                        </a:cubicBezTo>
                        <a:cubicBezTo>
                          <a:pt x="980849" y="976145"/>
                          <a:pt x="977960" y="992758"/>
                          <a:pt x="970737" y="1002148"/>
                        </a:cubicBezTo>
                        <a:cubicBezTo>
                          <a:pt x="963514" y="1011538"/>
                          <a:pt x="946180" y="1000703"/>
                          <a:pt x="940402" y="1010815"/>
                        </a:cubicBezTo>
                        <a:cubicBezTo>
                          <a:pt x="934624" y="1020927"/>
                          <a:pt x="935346" y="1044762"/>
                          <a:pt x="936068" y="1062819"/>
                        </a:cubicBezTo>
                        <a:cubicBezTo>
                          <a:pt x="936790" y="1080876"/>
                          <a:pt x="943291" y="1106155"/>
                          <a:pt x="944735" y="1119156"/>
                        </a:cubicBezTo>
                        <a:cubicBezTo>
                          <a:pt x="946179" y="1132157"/>
                          <a:pt x="945457" y="1136490"/>
                          <a:pt x="944735" y="1140824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" name="Полилиния 27"/>
                  <p:cNvSpPr/>
                  <p:nvPr/>
                </p:nvSpPr>
                <p:spPr>
                  <a:xfrm>
                    <a:off x="2538974" y="2711592"/>
                    <a:ext cx="1761322" cy="1993758"/>
                  </a:xfrm>
                  <a:custGeom>
                    <a:avLst/>
                    <a:gdLst>
                      <a:gd name="connsiteX0" fmla="*/ 1761322 w 1761322"/>
                      <a:gd name="connsiteY0" fmla="*/ 1993758 h 1993758"/>
                      <a:gd name="connsiteX1" fmla="*/ 1704172 w 1761322"/>
                      <a:gd name="connsiteY1" fmla="*/ 1978518 h 1993758"/>
                      <a:gd name="connsiteX2" fmla="*/ 1662262 w 1761322"/>
                      <a:gd name="connsiteY2" fmla="*/ 1970898 h 1993758"/>
                      <a:gd name="connsiteX3" fmla="*/ 1620352 w 1761322"/>
                      <a:gd name="connsiteY3" fmla="*/ 1967088 h 1993758"/>
                      <a:gd name="connsiteX4" fmla="*/ 1586062 w 1761322"/>
                      <a:gd name="connsiteY4" fmla="*/ 1959468 h 1993758"/>
                      <a:gd name="connsiteX5" fmla="*/ 1574632 w 1761322"/>
                      <a:gd name="connsiteY5" fmla="*/ 1963278 h 1993758"/>
                      <a:gd name="connsiteX6" fmla="*/ 1551772 w 1761322"/>
                      <a:gd name="connsiteY6" fmla="*/ 1928988 h 1993758"/>
                      <a:gd name="connsiteX7" fmla="*/ 1506052 w 1761322"/>
                      <a:gd name="connsiteY7" fmla="*/ 1906128 h 1993758"/>
                      <a:gd name="connsiteX8" fmla="*/ 1452712 w 1761322"/>
                      <a:gd name="connsiteY8" fmla="*/ 1883268 h 1993758"/>
                      <a:gd name="connsiteX9" fmla="*/ 1422232 w 1761322"/>
                      <a:gd name="connsiteY9" fmla="*/ 1868028 h 1993758"/>
                      <a:gd name="connsiteX10" fmla="*/ 1406992 w 1761322"/>
                      <a:gd name="connsiteY10" fmla="*/ 1814688 h 1993758"/>
                      <a:gd name="connsiteX11" fmla="*/ 1403182 w 1761322"/>
                      <a:gd name="connsiteY11" fmla="*/ 1746108 h 1993758"/>
                      <a:gd name="connsiteX12" fmla="*/ 1418422 w 1761322"/>
                      <a:gd name="connsiteY12" fmla="*/ 1723248 h 1993758"/>
                      <a:gd name="connsiteX13" fmla="*/ 1391752 w 1761322"/>
                      <a:gd name="connsiteY13" fmla="*/ 1681338 h 1993758"/>
                      <a:gd name="connsiteX14" fmla="*/ 1380322 w 1761322"/>
                      <a:gd name="connsiteY14" fmla="*/ 1654668 h 1993758"/>
                      <a:gd name="connsiteX15" fmla="*/ 1342222 w 1761322"/>
                      <a:gd name="connsiteY15" fmla="*/ 1639428 h 1993758"/>
                      <a:gd name="connsiteX16" fmla="*/ 1254592 w 1761322"/>
                      <a:gd name="connsiteY16" fmla="*/ 1662288 h 1993758"/>
                      <a:gd name="connsiteX17" fmla="*/ 1227922 w 1761322"/>
                      <a:gd name="connsiteY17" fmla="*/ 1677528 h 1993758"/>
                      <a:gd name="connsiteX18" fmla="*/ 1140292 w 1761322"/>
                      <a:gd name="connsiteY18" fmla="*/ 1639428 h 1993758"/>
                      <a:gd name="connsiteX19" fmla="*/ 1083142 w 1761322"/>
                      <a:gd name="connsiteY19" fmla="*/ 1608948 h 1993758"/>
                      <a:gd name="connsiteX20" fmla="*/ 1014562 w 1761322"/>
                      <a:gd name="connsiteY20" fmla="*/ 1589898 h 1993758"/>
                      <a:gd name="connsiteX21" fmla="*/ 965032 w 1761322"/>
                      <a:gd name="connsiteY21" fmla="*/ 1597518 h 1993758"/>
                      <a:gd name="connsiteX22" fmla="*/ 957412 w 1761322"/>
                      <a:gd name="connsiteY22" fmla="*/ 1525128 h 1993758"/>
                      <a:gd name="connsiteX23" fmla="*/ 930742 w 1761322"/>
                      <a:gd name="connsiteY23" fmla="*/ 1448928 h 1993758"/>
                      <a:gd name="connsiteX24" fmla="*/ 919312 w 1761322"/>
                      <a:gd name="connsiteY24" fmla="*/ 1384158 h 1993758"/>
                      <a:gd name="connsiteX25" fmla="*/ 911692 w 1761322"/>
                      <a:gd name="connsiteY25" fmla="*/ 1361298 h 1993758"/>
                      <a:gd name="connsiteX26" fmla="*/ 907882 w 1761322"/>
                      <a:gd name="connsiteY26" fmla="*/ 1311768 h 1993758"/>
                      <a:gd name="connsiteX27" fmla="*/ 885022 w 1761322"/>
                      <a:gd name="connsiteY27" fmla="*/ 1269858 h 1993758"/>
                      <a:gd name="connsiteX28" fmla="*/ 858352 w 1761322"/>
                      <a:gd name="connsiteY28" fmla="*/ 1205088 h 1993758"/>
                      <a:gd name="connsiteX29" fmla="*/ 846922 w 1761322"/>
                      <a:gd name="connsiteY29" fmla="*/ 1163178 h 1993758"/>
                      <a:gd name="connsiteX30" fmla="*/ 865972 w 1761322"/>
                      <a:gd name="connsiteY30" fmla="*/ 1140318 h 1993758"/>
                      <a:gd name="connsiteX31" fmla="*/ 862162 w 1761322"/>
                      <a:gd name="connsiteY31" fmla="*/ 1060308 h 1993758"/>
                      <a:gd name="connsiteX32" fmla="*/ 869782 w 1761322"/>
                      <a:gd name="connsiteY32" fmla="*/ 1003158 h 1993758"/>
                      <a:gd name="connsiteX33" fmla="*/ 831682 w 1761322"/>
                      <a:gd name="connsiteY33" fmla="*/ 949818 h 1993758"/>
                      <a:gd name="connsiteX34" fmla="*/ 805012 w 1761322"/>
                      <a:gd name="connsiteY34" fmla="*/ 820278 h 1993758"/>
                      <a:gd name="connsiteX35" fmla="*/ 766912 w 1761322"/>
                      <a:gd name="connsiteY35" fmla="*/ 606918 h 1993758"/>
                      <a:gd name="connsiteX36" fmla="*/ 713572 w 1761322"/>
                      <a:gd name="connsiteY36" fmla="*/ 443088 h 1993758"/>
                      <a:gd name="connsiteX37" fmla="*/ 656422 w 1761322"/>
                      <a:gd name="connsiteY37" fmla="*/ 355458 h 1993758"/>
                      <a:gd name="connsiteX38" fmla="*/ 622132 w 1761322"/>
                      <a:gd name="connsiteY38" fmla="*/ 260208 h 1993758"/>
                      <a:gd name="connsiteX39" fmla="*/ 610702 w 1761322"/>
                      <a:gd name="connsiteY39" fmla="*/ 225918 h 1993758"/>
                      <a:gd name="connsiteX40" fmla="*/ 614512 w 1761322"/>
                      <a:gd name="connsiteY40" fmla="*/ 187818 h 1993758"/>
                      <a:gd name="connsiteX41" fmla="*/ 534502 w 1761322"/>
                      <a:gd name="connsiteY41" fmla="*/ 138288 h 1993758"/>
                      <a:gd name="connsiteX42" fmla="*/ 450682 w 1761322"/>
                      <a:gd name="connsiteY42" fmla="*/ 111618 h 1993758"/>
                      <a:gd name="connsiteX43" fmla="*/ 374482 w 1761322"/>
                      <a:gd name="connsiteY43" fmla="*/ 103998 h 1993758"/>
                      <a:gd name="connsiteX44" fmla="*/ 305902 w 1761322"/>
                      <a:gd name="connsiteY44" fmla="*/ 84948 h 1993758"/>
                      <a:gd name="connsiteX45" fmla="*/ 279232 w 1761322"/>
                      <a:gd name="connsiteY45" fmla="*/ 54468 h 1993758"/>
                      <a:gd name="connsiteX46" fmla="*/ 199222 w 1761322"/>
                      <a:gd name="connsiteY46" fmla="*/ 43038 h 1993758"/>
                      <a:gd name="connsiteX47" fmla="*/ 149692 w 1761322"/>
                      <a:gd name="connsiteY47" fmla="*/ 31608 h 1993758"/>
                      <a:gd name="connsiteX48" fmla="*/ 107782 w 1761322"/>
                      <a:gd name="connsiteY48" fmla="*/ 16368 h 1993758"/>
                      <a:gd name="connsiteX49" fmla="*/ 12532 w 1761322"/>
                      <a:gd name="connsiteY49" fmla="*/ 1128 h 1993758"/>
                      <a:gd name="connsiteX50" fmla="*/ 1102 w 1761322"/>
                      <a:gd name="connsiteY50" fmla="*/ 1128 h 1993758"/>
                      <a:gd name="connsiteX51" fmla="*/ 1102 w 1761322"/>
                      <a:gd name="connsiteY51" fmla="*/ 1128 h 19937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</a:cxnLst>
                    <a:rect l="l" t="t" r="r" b="b"/>
                    <a:pathLst>
                      <a:path w="1761322" h="1993758">
                        <a:moveTo>
                          <a:pt x="1761322" y="1993758"/>
                        </a:moveTo>
                        <a:cubicBezTo>
                          <a:pt x="1741002" y="1988043"/>
                          <a:pt x="1720682" y="1982328"/>
                          <a:pt x="1704172" y="1978518"/>
                        </a:cubicBezTo>
                        <a:cubicBezTo>
                          <a:pt x="1687662" y="1974708"/>
                          <a:pt x="1676232" y="1972803"/>
                          <a:pt x="1662262" y="1970898"/>
                        </a:cubicBezTo>
                        <a:cubicBezTo>
                          <a:pt x="1648292" y="1968993"/>
                          <a:pt x="1633052" y="1968993"/>
                          <a:pt x="1620352" y="1967088"/>
                        </a:cubicBezTo>
                        <a:cubicBezTo>
                          <a:pt x="1607652" y="1965183"/>
                          <a:pt x="1586062" y="1959468"/>
                          <a:pt x="1586062" y="1959468"/>
                        </a:cubicBezTo>
                        <a:cubicBezTo>
                          <a:pt x="1578442" y="1958833"/>
                          <a:pt x="1580347" y="1968358"/>
                          <a:pt x="1574632" y="1963278"/>
                        </a:cubicBezTo>
                        <a:cubicBezTo>
                          <a:pt x="1568917" y="1958198"/>
                          <a:pt x="1563202" y="1938513"/>
                          <a:pt x="1551772" y="1928988"/>
                        </a:cubicBezTo>
                        <a:cubicBezTo>
                          <a:pt x="1540342" y="1919463"/>
                          <a:pt x="1522562" y="1913748"/>
                          <a:pt x="1506052" y="1906128"/>
                        </a:cubicBezTo>
                        <a:cubicBezTo>
                          <a:pt x="1489542" y="1898508"/>
                          <a:pt x="1466682" y="1889618"/>
                          <a:pt x="1452712" y="1883268"/>
                        </a:cubicBezTo>
                        <a:cubicBezTo>
                          <a:pt x="1438742" y="1876918"/>
                          <a:pt x="1429852" y="1879458"/>
                          <a:pt x="1422232" y="1868028"/>
                        </a:cubicBezTo>
                        <a:cubicBezTo>
                          <a:pt x="1414612" y="1856598"/>
                          <a:pt x="1410167" y="1835008"/>
                          <a:pt x="1406992" y="1814688"/>
                        </a:cubicBezTo>
                        <a:cubicBezTo>
                          <a:pt x="1403817" y="1794368"/>
                          <a:pt x="1401277" y="1761348"/>
                          <a:pt x="1403182" y="1746108"/>
                        </a:cubicBezTo>
                        <a:cubicBezTo>
                          <a:pt x="1405087" y="1730868"/>
                          <a:pt x="1420327" y="1734043"/>
                          <a:pt x="1418422" y="1723248"/>
                        </a:cubicBezTo>
                        <a:cubicBezTo>
                          <a:pt x="1416517" y="1712453"/>
                          <a:pt x="1398102" y="1692768"/>
                          <a:pt x="1391752" y="1681338"/>
                        </a:cubicBezTo>
                        <a:cubicBezTo>
                          <a:pt x="1385402" y="1669908"/>
                          <a:pt x="1388577" y="1661653"/>
                          <a:pt x="1380322" y="1654668"/>
                        </a:cubicBezTo>
                        <a:cubicBezTo>
                          <a:pt x="1372067" y="1647683"/>
                          <a:pt x="1363177" y="1638158"/>
                          <a:pt x="1342222" y="1639428"/>
                        </a:cubicBezTo>
                        <a:cubicBezTo>
                          <a:pt x="1321267" y="1640698"/>
                          <a:pt x="1273642" y="1655938"/>
                          <a:pt x="1254592" y="1662288"/>
                        </a:cubicBezTo>
                        <a:cubicBezTo>
                          <a:pt x="1235542" y="1668638"/>
                          <a:pt x="1246972" y="1681338"/>
                          <a:pt x="1227922" y="1677528"/>
                        </a:cubicBezTo>
                        <a:cubicBezTo>
                          <a:pt x="1208872" y="1673718"/>
                          <a:pt x="1164422" y="1650858"/>
                          <a:pt x="1140292" y="1639428"/>
                        </a:cubicBezTo>
                        <a:cubicBezTo>
                          <a:pt x="1116162" y="1627998"/>
                          <a:pt x="1104097" y="1617203"/>
                          <a:pt x="1083142" y="1608948"/>
                        </a:cubicBezTo>
                        <a:cubicBezTo>
                          <a:pt x="1062187" y="1600693"/>
                          <a:pt x="1034247" y="1591803"/>
                          <a:pt x="1014562" y="1589898"/>
                        </a:cubicBezTo>
                        <a:cubicBezTo>
                          <a:pt x="994877" y="1587993"/>
                          <a:pt x="974557" y="1608313"/>
                          <a:pt x="965032" y="1597518"/>
                        </a:cubicBezTo>
                        <a:cubicBezTo>
                          <a:pt x="955507" y="1586723"/>
                          <a:pt x="963127" y="1549893"/>
                          <a:pt x="957412" y="1525128"/>
                        </a:cubicBezTo>
                        <a:cubicBezTo>
                          <a:pt x="951697" y="1500363"/>
                          <a:pt x="937092" y="1472423"/>
                          <a:pt x="930742" y="1448928"/>
                        </a:cubicBezTo>
                        <a:cubicBezTo>
                          <a:pt x="924392" y="1425433"/>
                          <a:pt x="922487" y="1398763"/>
                          <a:pt x="919312" y="1384158"/>
                        </a:cubicBezTo>
                        <a:cubicBezTo>
                          <a:pt x="916137" y="1369553"/>
                          <a:pt x="913597" y="1373363"/>
                          <a:pt x="911692" y="1361298"/>
                        </a:cubicBezTo>
                        <a:cubicBezTo>
                          <a:pt x="909787" y="1349233"/>
                          <a:pt x="912327" y="1327008"/>
                          <a:pt x="907882" y="1311768"/>
                        </a:cubicBezTo>
                        <a:cubicBezTo>
                          <a:pt x="903437" y="1296528"/>
                          <a:pt x="893277" y="1287638"/>
                          <a:pt x="885022" y="1269858"/>
                        </a:cubicBezTo>
                        <a:cubicBezTo>
                          <a:pt x="876767" y="1252078"/>
                          <a:pt x="864702" y="1222868"/>
                          <a:pt x="858352" y="1205088"/>
                        </a:cubicBezTo>
                        <a:cubicBezTo>
                          <a:pt x="852002" y="1187308"/>
                          <a:pt x="845652" y="1173973"/>
                          <a:pt x="846922" y="1163178"/>
                        </a:cubicBezTo>
                        <a:cubicBezTo>
                          <a:pt x="848192" y="1152383"/>
                          <a:pt x="863432" y="1157463"/>
                          <a:pt x="865972" y="1140318"/>
                        </a:cubicBezTo>
                        <a:cubicBezTo>
                          <a:pt x="868512" y="1123173"/>
                          <a:pt x="861527" y="1083168"/>
                          <a:pt x="862162" y="1060308"/>
                        </a:cubicBezTo>
                        <a:cubicBezTo>
                          <a:pt x="862797" y="1037448"/>
                          <a:pt x="874862" y="1021573"/>
                          <a:pt x="869782" y="1003158"/>
                        </a:cubicBezTo>
                        <a:cubicBezTo>
                          <a:pt x="864702" y="984743"/>
                          <a:pt x="842477" y="980298"/>
                          <a:pt x="831682" y="949818"/>
                        </a:cubicBezTo>
                        <a:cubicBezTo>
                          <a:pt x="820887" y="919338"/>
                          <a:pt x="815807" y="877428"/>
                          <a:pt x="805012" y="820278"/>
                        </a:cubicBezTo>
                        <a:cubicBezTo>
                          <a:pt x="794217" y="763128"/>
                          <a:pt x="782152" y="669783"/>
                          <a:pt x="766912" y="606918"/>
                        </a:cubicBezTo>
                        <a:cubicBezTo>
                          <a:pt x="751672" y="544053"/>
                          <a:pt x="731987" y="484998"/>
                          <a:pt x="713572" y="443088"/>
                        </a:cubicBezTo>
                        <a:cubicBezTo>
                          <a:pt x="695157" y="401178"/>
                          <a:pt x="671662" y="385938"/>
                          <a:pt x="656422" y="355458"/>
                        </a:cubicBezTo>
                        <a:cubicBezTo>
                          <a:pt x="641182" y="324978"/>
                          <a:pt x="629752" y="281798"/>
                          <a:pt x="622132" y="260208"/>
                        </a:cubicBezTo>
                        <a:cubicBezTo>
                          <a:pt x="614512" y="238618"/>
                          <a:pt x="611972" y="237983"/>
                          <a:pt x="610702" y="225918"/>
                        </a:cubicBezTo>
                        <a:cubicBezTo>
                          <a:pt x="609432" y="213853"/>
                          <a:pt x="627212" y="202423"/>
                          <a:pt x="614512" y="187818"/>
                        </a:cubicBezTo>
                        <a:cubicBezTo>
                          <a:pt x="601812" y="173213"/>
                          <a:pt x="561807" y="150988"/>
                          <a:pt x="534502" y="138288"/>
                        </a:cubicBezTo>
                        <a:cubicBezTo>
                          <a:pt x="507197" y="125588"/>
                          <a:pt x="477352" y="117333"/>
                          <a:pt x="450682" y="111618"/>
                        </a:cubicBezTo>
                        <a:cubicBezTo>
                          <a:pt x="424012" y="105903"/>
                          <a:pt x="398612" y="108443"/>
                          <a:pt x="374482" y="103998"/>
                        </a:cubicBezTo>
                        <a:cubicBezTo>
                          <a:pt x="350352" y="99553"/>
                          <a:pt x="321777" y="93203"/>
                          <a:pt x="305902" y="84948"/>
                        </a:cubicBezTo>
                        <a:cubicBezTo>
                          <a:pt x="290027" y="76693"/>
                          <a:pt x="297012" y="61453"/>
                          <a:pt x="279232" y="54468"/>
                        </a:cubicBezTo>
                        <a:cubicBezTo>
                          <a:pt x="261452" y="47483"/>
                          <a:pt x="220812" y="46848"/>
                          <a:pt x="199222" y="43038"/>
                        </a:cubicBezTo>
                        <a:cubicBezTo>
                          <a:pt x="177632" y="39228"/>
                          <a:pt x="164932" y="36053"/>
                          <a:pt x="149692" y="31608"/>
                        </a:cubicBezTo>
                        <a:cubicBezTo>
                          <a:pt x="134452" y="27163"/>
                          <a:pt x="130642" y="21448"/>
                          <a:pt x="107782" y="16368"/>
                        </a:cubicBezTo>
                        <a:cubicBezTo>
                          <a:pt x="84922" y="11288"/>
                          <a:pt x="30312" y="3668"/>
                          <a:pt x="12532" y="1128"/>
                        </a:cubicBezTo>
                        <a:cubicBezTo>
                          <a:pt x="-5248" y="-1412"/>
                          <a:pt x="1102" y="1128"/>
                          <a:pt x="1102" y="1128"/>
                        </a:cubicBezTo>
                        <a:lnTo>
                          <a:pt x="1102" y="1128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9" name="Полилиния 28"/>
                  <p:cNvSpPr/>
                  <p:nvPr/>
                </p:nvSpPr>
                <p:spPr>
                  <a:xfrm>
                    <a:off x="2364930" y="2485694"/>
                    <a:ext cx="190783" cy="200915"/>
                  </a:xfrm>
                  <a:custGeom>
                    <a:avLst/>
                    <a:gdLst>
                      <a:gd name="connsiteX0" fmla="*/ 184667 w 190783"/>
                      <a:gd name="connsiteY0" fmla="*/ 193602 h 193602"/>
                      <a:gd name="connsiteX1" fmla="*/ 181689 w 190783"/>
                      <a:gd name="connsiteY1" fmla="*/ 139989 h 193602"/>
                      <a:gd name="connsiteX2" fmla="*/ 190624 w 190783"/>
                      <a:gd name="connsiteY2" fmla="*/ 119140 h 193602"/>
                      <a:gd name="connsiteX3" fmla="*/ 172753 w 190783"/>
                      <a:gd name="connsiteY3" fmla="*/ 107226 h 193602"/>
                      <a:gd name="connsiteX4" fmla="*/ 134033 w 190783"/>
                      <a:gd name="connsiteY4" fmla="*/ 98290 h 193602"/>
                      <a:gd name="connsiteX5" fmla="*/ 98291 w 190783"/>
                      <a:gd name="connsiteY5" fmla="*/ 92333 h 193602"/>
                      <a:gd name="connsiteX6" fmla="*/ 89355 w 190783"/>
                      <a:gd name="connsiteY6" fmla="*/ 86376 h 193602"/>
                      <a:gd name="connsiteX7" fmla="*/ 68506 w 190783"/>
                      <a:gd name="connsiteY7" fmla="*/ 71484 h 193602"/>
                      <a:gd name="connsiteX8" fmla="*/ 53613 w 190783"/>
                      <a:gd name="connsiteY8" fmla="*/ 56591 h 193602"/>
                      <a:gd name="connsiteX9" fmla="*/ 47656 w 190783"/>
                      <a:gd name="connsiteY9" fmla="*/ 41699 h 193602"/>
                      <a:gd name="connsiteX10" fmla="*/ 38721 w 190783"/>
                      <a:gd name="connsiteY10" fmla="*/ 26806 h 193602"/>
                      <a:gd name="connsiteX11" fmla="*/ 26807 w 190783"/>
                      <a:gd name="connsiteY11" fmla="*/ 11914 h 193602"/>
                      <a:gd name="connsiteX12" fmla="*/ 0 w 190783"/>
                      <a:gd name="connsiteY12" fmla="*/ 0 h 1936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90783" h="193602">
                        <a:moveTo>
                          <a:pt x="184667" y="193602"/>
                        </a:moveTo>
                        <a:cubicBezTo>
                          <a:pt x="182681" y="173000"/>
                          <a:pt x="180696" y="152399"/>
                          <a:pt x="181689" y="139989"/>
                        </a:cubicBezTo>
                        <a:cubicBezTo>
                          <a:pt x="182682" y="127579"/>
                          <a:pt x="192113" y="124601"/>
                          <a:pt x="190624" y="119140"/>
                        </a:cubicBezTo>
                        <a:cubicBezTo>
                          <a:pt x="189135" y="113679"/>
                          <a:pt x="182185" y="110701"/>
                          <a:pt x="172753" y="107226"/>
                        </a:cubicBezTo>
                        <a:cubicBezTo>
                          <a:pt x="163321" y="103751"/>
                          <a:pt x="146443" y="100772"/>
                          <a:pt x="134033" y="98290"/>
                        </a:cubicBezTo>
                        <a:cubicBezTo>
                          <a:pt x="121623" y="95808"/>
                          <a:pt x="98291" y="92333"/>
                          <a:pt x="98291" y="92333"/>
                        </a:cubicBezTo>
                        <a:cubicBezTo>
                          <a:pt x="90845" y="90347"/>
                          <a:pt x="94319" y="89851"/>
                          <a:pt x="89355" y="86376"/>
                        </a:cubicBezTo>
                        <a:cubicBezTo>
                          <a:pt x="84391" y="82901"/>
                          <a:pt x="74463" y="76448"/>
                          <a:pt x="68506" y="71484"/>
                        </a:cubicBezTo>
                        <a:cubicBezTo>
                          <a:pt x="62549" y="66520"/>
                          <a:pt x="57088" y="61555"/>
                          <a:pt x="53613" y="56591"/>
                        </a:cubicBezTo>
                        <a:cubicBezTo>
                          <a:pt x="50138" y="51627"/>
                          <a:pt x="50138" y="46663"/>
                          <a:pt x="47656" y="41699"/>
                        </a:cubicBezTo>
                        <a:cubicBezTo>
                          <a:pt x="45174" y="36735"/>
                          <a:pt x="42196" y="31770"/>
                          <a:pt x="38721" y="26806"/>
                        </a:cubicBezTo>
                        <a:cubicBezTo>
                          <a:pt x="35246" y="21842"/>
                          <a:pt x="33260" y="16382"/>
                          <a:pt x="26807" y="11914"/>
                        </a:cubicBezTo>
                        <a:cubicBezTo>
                          <a:pt x="20354" y="7446"/>
                          <a:pt x="10177" y="3723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0" name="Полилиния 29"/>
                  <p:cNvSpPr/>
                  <p:nvPr/>
                </p:nvSpPr>
                <p:spPr>
                  <a:xfrm>
                    <a:off x="2368406" y="2487343"/>
                    <a:ext cx="187307" cy="201121"/>
                  </a:xfrm>
                  <a:custGeom>
                    <a:avLst/>
                    <a:gdLst>
                      <a:gd name="connsiteX0" fmla="*/ 184667 w 190783"/>
                      <a:gd name="connsiteY0" fmla="*/ 193602 h 193602"/>
                      <a:gd name="connsiteX1" fmla="*/ 181689 w 190783"/>
                      <a:gd name="connsiteY1" fmla="*/ 139989 h 193602"/>
                      <a:gd name="connsiteX2" fmla="*/ 190624 w 190783"/>
                      <a:gd name="connsiteY2" fmla="*/ 119140 h 193602"/>
                      <a:gd name="connsiteX3" fmla="*/ 172753 w 190783"/>
                      <a:gd name="connsiteY3" fmla="*/ 107226 h 193602"/>
                      <a:gd name="connsiteX4" fmla="*/ 134033 w 190783"/>
                      <a:gd name="connsiteY4" fmla="*/ 98290 h 193602"/>
                      <a:gd name="connsiteX5" fmla="*/ 98291 w 190783"/>
                      <a:gd name="connsiteY5" fmla="*/ 92333 h 193602"/>
                      <a:gd name="connsiteX6" fmla="*/ 89355 w 190783"/>
                      <a:gd name="connsiteY6" fmla="*/ 86376 h 193602"/>
                      <a:gd name="connsiteX7" fmla="*/ 68506 w 190783"/>
                      <a:gd name="connsiteY7" fmla="*/ 71484 h 193602"/>
                      <a:gd name="connsiteX8" fmla="*/ 53613 w 190783"/>
                      <a:gd name="connsiteY8" fmla="*/ 56591 h 193602"/>
                      <a:gd name="connsiteX9" fmla="*/ 47656 w 190783"/>
                      <a:gd name="connsiteY9" fmla="*/ 41699 h 193602"/>
                      <a:gd name="connsiteX10" fmla="*/ 38721 w 190783"/>
                      <a:gd name="connsiteY10" fmla="*/ 26806 h 193602"/>
                      <a:gd name="connsiteX11" fmla="*/ 26807 w 190783"/>
                      <a:gd name="connsiteY11" fmla="*/ 11914 h 193602"/>
                      <a:gd name="connsiteX12" fmla="*/ 0 w 190783"/>
                      <a:gd name="connsiteY12" fmla="*/ 0 h 1936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90783" h="193602">
                        <a:moveTo>
                          <a:pt x="184667" y="193602"/>
                        </a:moveTo>
                        <a:cubicBezTo>
                          <a:pt x="182681" y="173000"/>
                          <a:pt x="180696" y="152399"/>
                          <a:pt x="181689" y="139989"/>
                        </a:cubicBezTo>
                        <a:cubicBezTo>
                          <a:pt x="182682" y="127579"/>
                          <a:pt x="192113" y="124601"/>
                          <a:pt x="190624" y="119140"/>
                        </a:cubicBezTo>
                        <a:cubicBezTo>
                          <a:pt x="189135" y="113679"/>
                          <a:pt x="182185" y="110701"/>
                          <a:pt x="172753" y="107226"/>
                        </a:cubicBezTo>
                        <a:cubicBezTo>
                          <a:pt x="163321" y="103751"/>
                          <a:pt x="146443" y="100772"/>
                          <a:pt x="134033" y="98290"/>
                        </a:cubicBezTo>
                        <a:cubicBezTo>
                          <a:pt x="121623" y="95808"/>
                          <a:pt x="98291" y="92333"/>
                          <a:pt x="98291" y="92333"/>
                        </a:cubicBezTo>
                        <a:cubicBezTo>
                          <a:pt x="90845" y="90347"/>
                          <a:pt x="94319" y="89851"/>
                          <a:pt x="89355" y="86376"/>
                        </a:cubicBezTo>
                        <a:cubicBezTo>
                          <a:pt x="84391" y="82901"/>
                          <a:pt x="74463" y="76448"/>
                          <a:pt x="68506" y="71484"/>
                        </a:cubicBezTo>
                        <a:cubicBezTo>
                          <a:pt x="62549" y="66520"/>
                          <a:pt x="57088" y="61555"/>
                          <a:pt x="53613" y="56591"/>
                        </a:cubicBezTo>
                        <a:cubicBezTo>
                          <a:pt x="50138" y="51627"/>
                          <a:pt x="50138" y="46663"/>
                          <a:pt x="47656" y="41699"/>
                        </a:cubicBezTo>
                        <a:cubicBezTo>
                          <a:pt x="45174" y="36735"/>
                          <a:pt x="42196" y="31770"/>
                          <a:pt x="38721" y="26806"/>
                        </a:cubicBezTo>
                        <a:cubicBezTo>
                          <a:pt x="35246" y="21842"/>
                          <a:pt x="33260" y="16382"/>
                          <a:pt x="26807" y="11914"/>
                        </a:cubicBezTo>
                        <a:cubicBezTo>
                          <a:pt x="20354" y="7446"/>
                          <a:pt x="10177" y="3723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1" name="Полилиния 30"/>
                  <p:cNvSpPr/>
                  <p:nvPr/>
                </p:nvSpPr>
                <p:spPr>
                  <a:xfrm>
                    <a:off x="1337349" y="2001553"/>
                    <a:ext cx="1182465" cy="713521"/>
                  </a:xfrm>
                  <a:custGeom>
                    <a:avLst/>
                    <a:gdLst>
                      <a:gd name="connsiteX0" fmla="*/ 1182465 w 1182465"/>
                      <a:gd name="connsiteY0" fmla="*/ 711861 h 713521"/>
                      <a:gd name="connsiteX1" fmla="*/ 1116938 w 1182465"/>
                      <a:gd name="connsiteY1" fmla="*/ 708883 h 713521"/>
                      <a:gd name="connsiteX2" fmla="*/ 1054390 w 1182465"/>
                      <a:gd name="connsiteY2" fmla="*/ 711861 h 713521"/>
                      <a:gd name="connsiteX3" fmla="*/ 1015669 w 1182465"/>
                      <a:gd name="connsiteY3" fmla="*/ 711861 h 713521"/>
                      <a:gd name="connsiteX4" fmla="*/ 932271 w 1182465"/>
                      <a:gd name="connsiteY4" fmla="*/ 691012 h 713521"/>
                      <a:gd name="connsiteX5" fmla="*/ 884615 w 1182465"/>
                      <a:gd name="connsiteY5" fmla="*/ 702926 h 713521"/>
                      <a:gd name="connsiteX6" fmla="*/ 842916 w 1182465"/>
                      <a:gd name="connsiteY6" fmla="*/ 705904 h 713521"/>
                      <a:gd name="connsiteX7" fmla="*/ 753561 w 1182465"/>
                      <a:gd name="connsiteY7" fmla="*/ 685055 h 713521"/>
                      <a:gd name="connsiteX8" fmla="*/ 640378 w 1182465"/>
                      <a:gd name="connsiteY8" fmla="*/ 664205 h 713521"/>
                      <a:gd name="connsiteX9" fmla="*/ 577830 w 1182465"/>
                      <a:gd name="connsiteY9" fmla="*/ 661227 h 713521"/>
                      <a:gd name="connsiteX10" fmla="*/ 530174 w 1182465"/>
                      <a:gd name="connsiteY10" fmla="*/ 652291 h 713521"/>
                      <a:gd name="connsiteX11" fmla="*/ 467625 w 1182465"/>
                      <a:gd name="connsiteY11" fmla="*/ 628463 h 713521"/>
                      <a:gd name="connsiteX12" fmla="*/ 405076 w 1182465"/>
                      <a:gd name="connsiteY12" fmla="*/ 610592 h 713521"/>
                      <a:gd name="connsiteX13" fmla="*/ 327635 w 1182465"/>
                      <a:gd name="connsiteY13" fmla="*/ 577829 h 713521"/>
                      <a:gd name="connsiteX14" fmla="*/ 262108 w 1182465"/>
                      <a:gd name="connsiteY14" fmla="*/ 551022 h 713521"/>
                      <a:gd name="connsiteX15" fmla="*/ 232323 w 1182465"/>
                      <a:gd name="connsiteY15" fmla="*/ 542087 h 713521"/>
                      <a:gd name="connsiteX16" fmla="*/ 226366 w 1182465"/>
                      <a:gd name="connsiteY16" fmla="*/ 515280 h 713521"/>
                      <a:gd name="connsiteX17" fmla="*/ 217431 w 1182465"/>
                      <a:gd name="connsiteY17" fmla="*/ 491452 h 713521"/>
                      <a:gd name="connsiteX18" fmla="*/ 190624 w 1182465"/>
                      <a:gd name="connsiteY18" fmla="*/ 470603 h 713521"/>
                      <a:gd name="connsiteX19" fmla="*/ 187646 w 1182465"/>
                      <a:gd name="connsiteY19" fmla="*/ 437839 h 713521"/>
                      <a:gd name="connsiteX20" fmla="*/ 175732 w 1182465"/>
                      <a:gd name="connsiteY20" fmla="*/ 416990 h 713521"/>
                      <a:gd name="connsiteX21" fmla="*/ 145947 w 1182465"/>
                      <a:gd name="connsiteY21" fmla="*/ 387205 h 713521"/>
                      <a:gd name="connsiteX22" fmla="*/ 119140 w 1182465"/>
                      <a:gd name="connsiteY22" fmla="*/ 342527 h 713521"/>
                      <a:gd name="connsiteX23" fmla="*/ 104248 w 1182465"/>
                      <a:gd name="connsiteY23" fmla="*/ 297850 h 713521"/>
                      <a:gd name="connsiteX24" fmla="*/ 80420 w 1182465"/>
                      <a:gd name="connsiteY24" fmla="*/ 259129 h 713521"/>
                      <a:gd name="connsiteX25" fmla="*/ 56592 w 1182465"/>
                      <a:gd name="connsiteY25" fmla="*/ 193602 h 713521"/>
                      <a:gd name="connsiteX26" fmla="*/ 50635 w 1182465"/>
                      <a:gd name="connsiteY26" fmla="*/ 175731 h 713521"/>
                      <a:gd name="connsiteX27" fmla="*/ 56592 w 1182465"/>
                      <a:gd name="connsiteY27" fmla="*/ 148925 h 713521"/>
                      <a:gd name="connsiteX28" fmla="*/ 65527 w 1182465"/>
                      <a:gd name="connsiteY28" fmla="*/ 110204 h 713521"/>
                      <a:gd name="connsiteX29" fmla="*/ 35742 w 1182465"/>
                      <a:gd name="connsiteY29" fmla="*/ 74462 h 713521"/>
                      <a:gd name="connsiteX30" fmla="*/ 23828 w 1182465"/>
                      <a:gd name="connsiteY30" fmla="*/ 41699 h 713521"/>
                      <a:gd name="connsiteX31" fmla="*/ 5957 w 1182465"/>
                      <a:gd name="connsiteY31" fmla="*/ 11914 h 713521"/>
                      <a:gd name="connsiteX32" fmla="*/ 0 w 1182465"/>
                      <a:gd name="connsiteY32" fmla="*/ 0 h 7135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182465" h="713521">
                        <a:moveTo>
                          <a:pt x="1182465" y="711861"/>
                        </a:moveTo>
                        <a:cubicBezTo>
                          <a:pt x="1160374" y="710372"/>
                          <a:pt x="1138284" y="708883"/>
                          <a:pt x="1116938" y="708883"/>
                        </a:cubicBezTo>
                        <a:cubicBezTo>
                          <a:pt x="1095592" y="708883"/>
                          <a:pt x="1071268" y="711365"/>
                          <a:pt x="1054390" y="711861"/>
                        </a:cubicBezTo>
                        <a:cubicBezTo>
                          <a:pt x="1037512" y="712357"/>
                          <a:pt x="1036022" y="715336"/>
                          <a:pt x="1015669" y="711861"/>
                        </a:cubicBezTo>
                        <a:cubicBezTo>
                          <a:pt x="995316" y="708386"/>
                          <a:pt x="954113" y="692501"/>
                          <a:pt x="932271" y="691012"/>
                        </a:cubicBezTo>
                        <a:cubicBezTo>
                          <a:pt x="910429" y="689523"/>
                          <a:pt x="899507" y="700444"/>
                          <a:pt x="884615" y="702926"/>
                        </a:cubicBezTo>
                        <a:cubicBezTo>
                          <a:pt x="869723" y="705408"/>
                          <a:pt x="864758" y="708882"/>
                          <a:pt x="842916" y="705904"/>
                        </a:cubicBezTo>
                        <a:cubicBezTo>
                          <a:pt x="821074" y="702925"/>
                          <a:pt x="787317" y="692005"/>
                          <a:pt x="753561" y="685055"/>
                        </a:cubicBezTo>
                        <a:cubicBezTo>
                          <a:pt x="719805" y="678105"/>
                          <a:pt x="669667" y="668176"/>
                          <a:pt x="640378" y="664205"/>
                        </a:cubicBezTo>
                        <a:cubicBezTo>
                          <a:pt x="611089" y="660234"/>
                          <a:pt x="596197" y="663213"/>
                          <a:pt x="577830" y="661227"/>
                        </a:cubicBezTo>
                        <a:cubicBezTo>
                          <a:pt x="559463" y="659241"/>
                          <a:pt x="548542" y="657752"/>
                          <a:pt x="530174" y="652291"/>
                        </a:cubicBezTo>
                        <a:cubicBezTo>
                          <a:pt x="511806" y="646830"/>
                          <a:pt x="488475" y="635413"/>
                          <a:pt x="467625" y="628463"/>
                        </a:cubicBezTo>
                        <a:cubicBezTo>
                          <a:pt x="446775" y="621513"/>
                          <a:pt x="428408" y="619031"/>
                          <a:pt x="405076" y="610592"/>
                        </a:cubicBezTo>
                        <a:cubicBezTo>
                          <a:pt x="381744" y="602153"/>
                          <a:pt x="327635" y="577829"/>
                          <a:pt x="327635" y="577829"/>
                        </a:cubicBezTo>
                        <a:cubicBezTo>
                          <a:pt x="303807" y="567901"/>
                          <a:pt x="277993" y="556979"/>
                          <a:pt x="262108" y="551022"/>
                        </a:cubicBezTo>
                        <a:cubicBezTo>
                          <a:pt x="246223" y="545065"/>
                          <a:pt x="238280" y="548044"/>
                          <a:pt x="232323" y="542087"/>
                        </a:cubicBezTo>
                        <a:cubicBezTo>
                          <a:pt x="226366" y="536130"/>
                          <a:pt x="228848" y="523719"/>
                          <a:pt x="226366" y="515280"/>
                        </a:cubicBezTo>
                        <a:cubicBezTo>
                          <a:pt x="223884" y="506841"/>
                          <a:pt x="223388" y="498898"/>
                          <a:pt x="217431" y="491452"/>
                        </a:cubicBezTo>
                        <a:cubicBezTo>
                          <a:pt x="211474" y="484006"/>
                          <a:pt x="195588" y="479538"/>
                          <a:pt x="190624" y="470603"/>
                        </a:cubicBezTo>
                        <a:cubicBezTo>
                          <a:pt x="185660" y="461668"/>
                          <a:pt x="190128" y="446774"/>
                          <a:pt x="187646" y="437839"/>
                        </a:cubicBezTo>
                        <a:cubicBezTo>
                          <a:pt x="185164" y="428904"/>
                          <a:pt x="182682" y="425429"/>
                          <a:pt x="175732" y="416990"/>
                        </a:cubicBezTo>
                        <a:cubicBezTo>
                          <a:pt x="168782" y="408551"/>
                          <a:pt x="155379" y="399615"/>
                          <a:pt x="145947" y="387205"/>
                        </a:cubicBezTo>
                        <a:cubicBezTo>
                          <a:pt x="136515" y="374795"/>
                          <a:pt x="126090" y="357419"/>
                          <a:pt x="119140" y="342527"/>
                        </a:cubicBezTo>
                        <a:cubicBezTo>
                          <a:pt x="112190" y="327635"/>
                          <a:pt x="110701" y="311750"/>
                          <a:pt x="104248" y="297850"/>
                        </a:cubicBezTo>
                        <a:cubicBezTo>
                          <a:pt x="97795" y="283950"/>
                          <a:pt x="88363" y="276504"/>
                          <a:pt x="80420" y="259129"/>
                        </a:cubicBezTo>
                        <a:cubicBezTo>
                          <a:pt x="72477" y="241754"/>
                          <a:pt x="61556" y="207502"/>
                          <a:pt x="56592" y="193602"/>
                        </a:cubicBezTo>
                        <a:cubicBezTo>
                          <a:pt x="51628" y="179702"/>
                          <a:pt x="50635" y="183177"/>
                          <a:pt x="50635" y="175731"/>
                        </a:cubicBezTo>
                        <a:cubicBezTo>
                          <a:pt x="50635" y="168285"/>
                          <a:pt x="54110" y="159846"/>
                          <a:pt x="56592" y="148925"/>
                        </a:cubicBezTo>
                        <a:cubicBezTo>
                          <a:pt x="59074" y="138004"/>
                          <a:pt x="69002" y="122614"/>
                          <a:pt x="65527" y="110204"/>
                        </a:cubicBezTo>
                        <a:cubicBezTo>
                          <a:pt x="62052" y="97794"/>
                          <a:pt x="42692" y="85879"/>
                          <a:pt x="35742" y="74462"/>
                        </a:cubicBezTo>
                        <a:cubicBezTo>
                          <a:pt x="28792" y="63045"/>
                          <a:pt x="28792" y="52124"/>
                          <a:pt x="23828" y="41699"/>
                        </a:cubicBezTo>
                        <a:cubicBezTo>
                          <a:pt x="18864" y="31274"/>
                          <a:pt x="5957" y="11914"/>
                          <a:pt x="5957" y="11914"/>
                        </a:cubicBezTo>
                        <a:cubicBezTo>
                          <a:pt x="1986" y="4964"/>
                          <a:pt x="993" y="2482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2" name="Полилиния 31"/>
                  <p:cNvSpPr/>
                  <p:nvPr/>
                </p:nvSpPr>
                <p:spPr>
                  <a:xfrm>
                    <a:off x="1337641" y="2000027"/>
                    <a:ext cx="1196816" cy="713521"/>
                  </a:xfrm>
                  <a:custGeom>
                    <a:avLst/>
                    <a:gdLst>
                      <a:gd name="connsiteX0" fmla="*/ 1182465 w 1182465"/>
                      <a:gd name="connsiteY0" fmla="*/ 711861 h 713521"/>
                      <a:gd name="connsiteX1" fmla="*/ 1116938 w 1182465"/>
                      <a:gd name="connsiteY1" fmla="*/ 708883 h 713521"/>
                      <a:gd name="connsiteX2" fmla="*/ 1054390 w 1182465"/>
                      <a:gd name="connsiteY2" fmla="*/ 711861 h 713521"/>
                      <a:gd name="connsiteX3" fmla="*/ 1015669 w 1182465"/>
                      <a:gd name="connsiteY3" fmla="*/ 711861 h 713521"/>
                      <a:gd name="connsiteX4" fmla="*/ 932271 w 1182465"/>
                      <a:gd name="connsiteY4" fmla="*/ 691012 h 713521"/>
                      <a:gd name="connsiteX5" fmla="*/ 884615 w 1182465"/>
                      <a:gd name="connsiteY5" fmla="*/ 702926 h 713521"/>
                      <a:gd name="connsiteX6" fmla="*/ 842916 w 1182465"/>
                      <a:gd name="connsiteY6" fmla="*/ 705904 h 713521"/>
                      <a:gd name="connsiteX7" fmla="*/ 753561 w 1182465"/>
                      <a:gd name="connsiteY7" fmla="*/ 685055 h 713521"/>
                      <a:gd name="connsiteX8" fmla="*/ 640378 w 1182465"/>
                      <a:gd name="connsiteY8" fmla="*/ 664205 h 713521"/>
                      <a:gd name="connsiteX9" fmla="*/ 577830 w 1182465"/>
                      <a:gd name="connsiteY9" fmla="*/ 661227 h 713521"/>
                      <a:gd name="connsiteX10" fmla="*/ 530174 w 1182465"/>
                      <a:gd name="connsiteY10" fmla="*/ 652291 h 713521"/>
                      <a:gd name="connsiteX11" fmla="*/ 467625 w 1182465"/>
                      <a:gd name="connsiteY11" fmla="*/ 628463 h 713521"/>
                      <a:gd name="connsiteX12" fmla="*/ 405076 w 1182465"/>
                      <a:gd name="connsiteY12" fmla="*/ 610592 h 713521"/>
                      <a:gd name="connsiteX13" fmla="*/ 327635 w 1182465"/>
                      <a:gd name="connsiteY13" fmla="*/ 577829 h 713521"/>
                      <a:gd name="connsiteX14" fmla="*/ 262108 w 1182465"/>
                      <a:gd name="connsiteY14" fmla="*/ 551022 h 713521"/>
                      <a:gd name="connsiteX15" fmla="*/ 232323 w 1182465"/>
                      <a:gd name="connsiteY15" fmla="*/ 542087 h 713521"/>
                      <a:gd name="connsiteX16" fmla="*/ 226366 w 1182465"/>
                      <a:gd name="connsiteY16" fmla="*/ 515280 h 713521"/>
                      <a:gd name="connsiteX17" fmla="*/ 217431 w 1182465"/>
                      <a:gd name="connsiteY17" fmla="*/ 491452 h 713521"/>
                      <a:gd name="connsiteX18" fmla="*/ 190624 w 1182465"/>
                      <a:gd name="connsiteY18" fmla="*/ 470603 h 713521"/>
                      <a:gd name="connsiteX19" fmla="*/ 187646 w 1182465"/>
                      <a:gd name="connsiteY19" fmla="*/ 437839 h 713521"/>
                      <a:gd name="connsiteX20" fmla="*/ 175732 w 1182465"/>
                      <a:gd name="connsiteY20" fmla="*/ 416990 h 713521"/>
                      <a:gd name="connsiteX21" fmla="*/ 145947 w 1182465"/>
                      <a:gd name="connsiteY21" fmla="*/ 387205 h 713521"/>
                      <a:gd name="connsiteX22" fmla="*/ 119140 w 1182465"/>
                      <a:gd name="connsiteY22" fmla="*/ 342527 h 713521"/>
                      <a:gd name="connsiteX23" fmla="*/ 104248 w 1182465"/>
                      <a:gd name="connsiteY23" fmla="*/ 297850 h 713521"/>
                      <a:gd name="connsiteX24" fmla="*/ 80420 w 1182465"/>
                      <a:gd name="connsiteY24" fmla="*/ 259129 h 713521"/>
                      <a:gd name="connsiteX25" fmla="*/ 56592 w 1182465"/>
                      <a:gd name="connsiteY25" fmla="*/ 193602 h 713521"/>
                      <a:gd name="connsiteX26" fmla="*/ 50635 w 1182465"/>
                      <a:gd name="connsiteY26" fmla="*/ 175731 h 713521"/>
                      <a:gd name="connsiteX27" fmla="*/ 56592 w 1182465"/>
                      <a:gd name="connsiteY27" fmla="*/ 148925 h 713521"/>
                      <a:gd name="connsiteX28" fmla="*/ 65527 w 1182465"/>
                      <a:gd name="connsiteY28" fmla="*/ 110204 h 713521"/>
                      <a:gd name="connsiteX29" fmla="*/ 35742 w 1182465"/>
                      <a:gd name="connsiteY29" fmla="*/ 74462 h 713521"/>
                      <a:gd name="connsiteX30" fmla="*/ 23828 w 1182465"/>
                      <a:gd name="connsiteY30" fmla="*/ 41699 h 713521"/>
                      <a:gd name="connsiteX31" fmla="*/ 5957 w 1182465"/>
                      <a:gd name="connsiteY31" fmla="*/ 11914 h 713521"/>
                      <a:gd name="connsiteX32" fmla="*/ 0 w 1182465"/>
                      <a:gd name="connsiteY32" fmla="*/ 0 h 7135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1182465" h="713521">
                        <a:moveTo>
                          <a:pt x="1182465" y="711861"/>
                        </a:moveTo>
                        <a:cubicBezTo>
                          <a:pt x="1160374" y="710372"/>
                          <a:pt x="1138284" y="708883"/>
                          <a:pt x="1116938" y="708883"/>
                        </a:cubicBezTo>
                        <a:cubicBezTo>
                          <a:pt x="1095592" y="708883"/>
                          <a:pt x="1071268" y="711365"/>
                          <a:pt x="1054390" y="711861"/>
                        </a:cubicBezTo>
                        <a:cubicBezTo>
                          <a:pt x="1037512" y="712357"/>
                          <a:pt x="1036022" y="715336"/>
                          <a:pt x="1015669" y="711861"/>
                        </a:cubicBezTo>
                        <a:cubicBezTo>
                          <a:pt x="995316" y="708386"/>
                          <a:pt x="954113" y="692501"/>
                          <a:pt x="932271" y="691012"/>
                        </a:cubicBezTo>
                        <a:cubicBezTo>
                          <a:pt x="910429" y="689523"/>
                          <a:pt x="899507" y="700444"/>
                          <a:pt x="884615" y="702926"/>
                        </a:cubicBezTo>
                        <a:cubicBezTo>
                          <a:pt x="869723" y="705408"/>
                          <a:pt x="864758" y="708882"/>
                          <a:pt x="842916" y="705904"/>
                        </a:cubicBezTo>
                        <a:cubicBezTo>
                          <a:pt x="821074" y="702925"/>
                          <a:pt x="787317" y="692005"/>
                          <a:pt x="753561" y="685055"/>
                        </a:cubicBezTo>
                        <a:cubicBezTo>
                          <a:pt x="719805" y="678105"/>
                          <a:pt x="669667" y="668176"/>
                          <a:pt x="640378" y="664205"/>
                        </a:cubicBezTo>
                        <a:cubicBezTo>
                          <a:pt x="611089" y="660234"/>
                          <a:pt x="596197" y="663213"/>
                          <a:pt x="577830" y="661227"/>
                        </a:cubicBezTo>
                        <a:cubicBezTo>
                          <a:pt x="559463" y="659241"/>
                          <a:pt x="548542" y="657752"/>
                          <a:pt x="530174" y="652291"/>
                        </a:cubicBezTo>
                        <a:cubicBezTo>
                          <a:pt x="511806" y="646830"/>
                          <a:pt x="488475" y="635413"/>
                          <a:pt x="467625" y="628463"/>
                        </a:cubicBezTo>
                        <a:cubicBezTo>
                          <a:pt x="446775" y="621513"/>
                          <a:pt x="428408" y="619031"/>
                          <a:pt x="405076" y="610592"/>
                        </a:cubicBezTo>
                        <a:cubicBezTo>
                          <a:pt x="381744" y="602153"/>
                          <a:pt x="327635" y="577829"/>
                          <a:pt x="327635" y="577829"/>
                        </a:cubicBezTo>
                        <a:cubicBezTo>
                          <a:pt x="303807" y="567901"/>
                          <a:pt x="277993" y="556979"/>
                          <a:pt x="262108" y="551022"/>
                        </a:cubicBezTo>
                        <a:cubicBezTo>
                          <a:pt x="246223" y="545065"/>
                          <a:pt x="238280" y="548044"/>
                          <a:pt x="232323" y="542087"/>
                        </a:cubicBezTo>
                        <a:cubicBezTo>
                          <a:pt x="226366" y="536130"/>
                          <a:pt x="228848" y="523719"/>
                          <a:pt x="226366" y="515280"/>
                        </a:cubicBezTo>
                        <a:cubicBezTo>
                          <a:pt x="223884" y="506841"/>
                          <a:pt x="223388" y="498898"/>
                          <a:pt x="217431" y="491452"/>
                        </a:cubicBezTo>
                        <a:cubicBezTo>
                          <a:pt x="211474" y="484006"/>
                          <a:pt x="195588" y="479538"/>
                          <a:pt x="190624" y="470603"/>
                        </a:cubicBezTo>
                        <a:cubicBezTo>
                          <a:pt x="185660" y="461668"/>
                          <a:pt x="190128" y="446774"/>
                          <a:pt x="187646" y="437839"/>
                        </a:cubicBezTo>
                        <a:cubicBezTo>
                          <a:pt x="185164" y="428904"/>
                          <a:pt x="182682" y="425429"/>
                          <a:pt x="175732" y="416990"/>
                        </a:cubicBezTo>
                        <a:cubicBezTo>
                          <a:pt x="168782" y="408551"/>
                          <a:pt x="155379" y="399615"/>
                          <a:pt x="145947" y="387205"/>
                        </a:cubicBezTo>
                        <a:cubicBezTo>
                          <a:pt x="136515" y="374795"/>
                          <a:pt x="126090" y="357419"/>
                          <a:pt x="119140" y="342527"/>
                        </a:cubicBezTo>
                        <a:cubicBezTo>
                          <a:pt x="112190" y="327635"/>
                          <a:pt x="110701" y="311750"/>
                          <a:pt x="104248" y="297850"/>
                        </a:cubicBezTo>
                        <a:cubicBezTo>
                          <a:pt x="97795" y="283950"/>
                          <a:pt x="88363" y="276504"/>
                          <a:pt x="80420" y="259129"/>
                        </a:cubicBezTo>
                        <a:cubicBezTo>
                          <a:pt x="72477" y="241754"/>
                          <a:pt x="61556" y="207502"/>
                          <a:pt x="56592" y="193602"/>
                        </a:cubicBezTo>
                        <a:cubicBezTo>
                          <a:pt x="51628" y="179702"/>
                          <a:pt x="50635" y="183177"/>
                          <a:pt x="50635" y="175731"/>
                        </a:cubicBezTo>
                        <a:cubicBezTo>
                          <a:pt x="50635" y="168285"/>
                          <a:pt x="54110" y="159846"/>
                          <a:pt x="56592" y="148925"/>
                        </a:cubicBezTo>
                        <a:cubicBezTo>
                          <a:pt x="59074" y="138004"/>
                          <a:pt x="69002" y="122614"/>
                          <a:pt x="65527" y="110204"/>
                        </a:cubicBezTo>
                        <a:cubicBezTo>
                          <a:pt x="62052" y="97794"/>
                          <a:pt x="42692" y="85879"/>
                          <a:pt x="35742" y="74462"/>
                        </a:cubicBezTo>
                        <a:cubicBezTo>
                          <a:pt x="28792" y="63045"/>
                          <a:pt x="28792" y="52124"/>
                          <a:pt x="23828" y="41699"/>
                        </a:cubicBezTo>
                        <a:cubicBezTo>
                          <a:pt x="18864" y="31274"/>
                          <a:pt x="5957" y="11914"/>
                          <a:pt x="5957" y="11914"/>
                        </a:cubicBezTo>
                        <a:cubicBezTo>
                          <a:pt x="1986" y="4964"/>
                          <a:pt x="993" y="2482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3" name="Полилиния 32"/>
                  <p:cNvSpPr/>
                  <p:nvPr/>
                </p:nvSpPr>
                <p:spPr>
                  <a:xfrm>
                    <a:off x="735830" y="3450314"/>
                    <a:ext cx="1089317" cy="1267910"/>
                  </a:xfrm>
                  <a:custGeom>
                    <a:avLst/>
                    <a:gdLst>
                      <a:gd name="connsiteX0" fmla="*/ 471055 w 1089317"/>
                      <a:gd name="connsiteY0" fmla="*/ 60346 h 1267910"/>
                      <a:gd name="connsiteX1" fmla="*/ 523394 w 1089317"/>
                      <a:gd name="connsiteY1" fmla="*/ 54188 h 1267910"/>
                      <a:gd name="connsiteX2" fmla="*/ 560340 w 1089317"/>
                      <a:gd name="connsiteY2" fmla="*/ 35715 h 1267910"/>
                      <a:gd name="connsiteX3" fmla="*/ 581891 w 1089317"/>
                      <a:gd name="connsiteY3" fmla="*/ 26479 h 1267910"/>
                      <a:gd name="connsiteX4" fmla="*/ 621915 w 1089317"/>
                      <a:gd name="connsiteY4" fmla="*/ 11085 h 1267910"/>
                      <a:gd name="connsiteX5" fmla="*/ 655782 w 1089317"/>
                      <a:gd name="connsiteY5" fmla="*/ 17243 h 1267910"/>
                      <a:gd name="connsiteX6" fmla="*/ 677334 w 1089317"/>
                      <a:gd name="connsiteY6" fmla="*/ 20322 h 1267910"/>
                      <a:gd name="connsiteX7" fmla="*/ 717358 w 1089317"/>
                      <a:gd name="connsiteY7" fmla="*/ 8006 h 1267910"/>
                      <a:gd name="connsiteX8" fmla="*/ 757382 w 1089317"/>
                      <a:gd name="connsiteY8" fmla="*/ 1849 h 1267910"/>
                      <a:gd name="connsiteX9" fmla="*/ 794328 w 1089317"/>
                      <a:gd name="connsiteY9" fmla="*/ 1849 h 1267910"/>
                      <a:gd name="connsiteX10" fmla="*/ 828194 w 1089317"/>
                      <a:gd name="connsiteY10" fmla="*/ 23400 h 1267910"/>
                      <a:gd name="connsiteX11" fmla="*/ 852825 w 1089317"/>
                      <a:gd name="connsiteY11" fmla="*/ 32637 h 1267910"/>
                      <a:gd name="connsiteX12" fmla="*/ 877455 w 1089317"/>
                      <a:gd name="connsiteY12" fmla="*/ 51109 h 1267910"/>
                      <a:gd name="connsiteX13" fmla="*/ 899006 w 1089317"/>
                      <a:gd name="connsiteY13" fmla="*/ 84976 h 1267910"/>
                      <a:gd name="connsiteX14" fmla="*/ 917479 w 1089317"/>
                      <a:gd name="connsiteY14" fmla="*/ 121922 h 1267910"/>
                      <a:gd name="connsiteX15" fmla="*/ 929794 w 1089317"/>
                      <a:gd name="connsiteY15" fmla="*/ 177340 h 1267910"/>
                      <a:gd name="connsiteX16" fmla="*/ 929794 w 1089317"/>
                      <a:gd name="connsiteY16" fmla="*/ 189655 h 1267910"/>
                      <a:gd name="connsiteX17" fmla="*/ 923637 w 1089317"/>
                      <a:gd name="connsiteY17" fmla="*/ 217364 h 1267910"/>
                      <a:gd name="connsiteX18" fmla="*/ 935952 w 1089317"/>
                      <a:gd name="connsiteY18" fmla="*/ 245073 h 1267910"/>
                      <a:gd name="connsiteX19" fmla="*/ 935952 w 1089317"/>
                      <a:gd name="connsiteY19" fmla="*/ 291255 h 1267910"/>
                      <a:gd name="connsiteX20" fmla="*/ 942109 w 1089317"/>
                      <a:gd name="connsiteY20" fmla="*/ 328200 h 1267910"/>
                      <a:gd name="connsiteX21" fmla="*/ 957503 w 1089317"/>
                      <a:gd name="connsiteY21" fmla="*/ 386697 h 1267910"/>
                      <a:gd name="connsiteX22" fmla="*/ 985212 w 1089317"/>
                      <a:gd name="connsiteY22" fmla="*/ 497534 h 1267910"/>
                      <a:gd name="connsiteX23" fmla="*/ 969818 w 1089317"/>
                      <a:gd name="connsiteY23" fmla="*/ 519085 h 1267910"/>
                      <a:gd name="connsiteX24" fmla="*/ 966740 w 1089317"/>
                      <a:gd name="connsiteY24" fmla="*/ 537558 h 1267910"/>
                      <a:gd name="connsiteX25" fmla="*/ 979055 w 1089317"/>
                      <a:gd name="connsiteY25" fmla="*/ 571425 h 1267910"/>
                      <a:gd name="connsiteX26" fmla="*/ 994449 w 1089317"/>
                      <a:gd name="connsiteY26" fmla="*/ 626843 h 1267910"/>
                      <a:gd name="connsiteX27" fmla="*/ 1028315 w 1089317"/>
                      <a:gd name="connsiteY27" fmla="*/ 673025 h 1267910"/>
                      <a:gd name="connsiteX28" fmla="*/ 1052946 w 1089317"/>
                      <a:gd name="connsiteY28" fmla="*/ 725364 h 1267910"/>
                      <a:gd name="connsiteX29" fmla="*/ 1068340 w 1089317"/>
                      <a:gd name="connsiteY29" fmla="*/ 786940 h 1267910"/>
                      <a:gd name="connsiteX30" fmla="*/ 1086812 w 1089317"/>
                      <a:gd name="connsiteY30" fmla="*/ 836200 h 1267910"/>
                      <a:gd name="connsiteX31" fmla="*/ 1086812 w 1089317"/>
                      <a:gd name="connsiteY31" fmla="*/ 870067 h 1267910"/>
                      <a:gd name="connsiteX32" fmla="*/ 1065261 w 1089317"/>
                      <a:gd name="connsiteY32" fmla="*/ 897776 h 1267910"/>
                      <a:gd name="connsiteX33" fmla="*/ 1040631 w 1089317"/>
                      <a:gd name="connsiteY33" fmla="*/ 919328 h 1267910"/>
                      <a:gd name="connsiteX34" fmla="*/ 982134 w 1089317"/>
                      <a:gd name="connsiteY34" fmla="*/ 934722 h 1267910"/>
                      <a:gd name="connsiteX35" fmla="*/ 905164 w 1089317"/>
                      <a:gd name="connsiteY35" fmla="*/ 968588 h 1267910"/>
                      <a:gd name="connsiteX36" fmla="*/ 825115 w 1089317"/>
                      <a:gd name="connsiteY36" fmla="*/ 1008612 h 1267910"/>
                      <a:gd name="connsiteX37" fmla="*/ 735831 w 1089317"/>
                      <a:gd name="connsiteY37" fmla="*/ 1042479 h 1267910"/>
                      <a:gd name="connsiteX38" fmla="*/ 668097 w 1089317"/>
                      <a:gd name="connsiteY38" fmla="*/ 1076346 h 1267910"/>
                      <a:gd name="connsiteX39" fmla="*/ 538788 w 1089317"/>
                      <a:gd name="connsiteY39" fmla="*/ 1128685 h 1267910"/>
                      <a:gd name="connsiteX40" fmla="*/ 517237 w 1089317"/>
                      <a:gd name="connsiteY40" fmla="*/ 1128685 h 1267910"/>
                      <a:gd name="connsiteX41" fmla="*/ 452582 w 1089317"/>
                      <a:gd name="connsiteY41" fmla="*/ 1110212 h 1267910"/>
                      <a:gd name="connsiteX42" fmla="*/ 387928 w 1089317"/>
                      <a:gd name="connsiteY42" fmla="*/ 1085582 h 1267910"/>
                      <a:gd name="connsiteX43" fmla="*/ 338667 w 1089317"/>
                      <a:gd name="connsiteY43" fmla="*/ 1067109 h 1267910"/>
                      <a:gd name="connsiteX44" fmla="*/ 289406 w 1089317"/>
                      <a:gd name="connsiteY44" fmla="*/ 1057873 h 1267910"/>
                      <a:gd name="connsiteX45" fmla="*/ 270934 w 1089317"/>
                      <a:gd name="connsiteY45" fmla="*/ 1070188 h 1267910"/>
                      <a:gd name="connsiteX46" fmla="*/ 255540 w 1089317"/>
                      <a:gd name="connsiteY46" fmla="*/ 1122528 h 1267910"/>
                      <a:gd name="connsiteX47" fmla="*/ 237067 w 1089317"/>
                      <a:gd name="connsiteY47" fmla="*/ 1187182 h 1267910"/>
                      <a:gd name="connsiteX48" fmla="*/ 218594 w 1089317"/>
                      <a:gd name="connsiteY48" fmla="*/ 1264152 h 1267910"/>
                      <a:gd name="connsiteX49" fmla="*/ 193964 w 1089317"/>
                      <a:gd name="connsiteY49" fmla="*/ 1254915 h 1267910"/>
                      <a:gd name="connsiteX50" fmla="*/ 166255 w 1089317"/>
                      <a:gd name="connsiteY50" fmla="*/ 1245679 h 1267910"/>
                      <a:gd name="connsiteX51" fmla="*/ 150861 w 1089317"/>
                      <a:gd name="connsiteY51" fmla="*/ 1239522 h 1267910"/>
                      <a:gd name="connsiteX52" fmla="*/ 120073 w 1089317"/>
                      <a:gd name="connsiteY52" fmla="*/ 1230285 h 1267910"/>
                      <a:gd name="connsiteX53" fmla="*/ 95443 w 1089317"/>
                      <a:gd name="connsiteY53" fmla="*/ 1221049 h 1267910"/>
                      <a:gd name="connsiteX54" fmla="*/ 64655 w 1089317"/>
                      <a:gd name="connsiteY54" fmla="*/ 1208734 h 1267910"/>
                      <a:gd name="connsiteX55" fmla="*/ 43103 w 1089317"/>
                      <a:gd name="connsiteY55" fmla="*/ 1190261 h 1267910"/>
                      <a:gd name="connsiteX56" fmla="*/ 18473 w 1089317"/>
                      <a:gd name="connsiteY56" fmla="*/ 1177946 h 1267910"/>
                      <a:gd name="connsiteX57" fmla="*/ 0 w 1089317"/>
                      <a:gd name="connsiteY57" fmla="*/ 1171788 h 1267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1089317" h="1267910">
                        <a:moveTo>
                          <a:pt x="471055" y="60346"/>
                        </a:moveTo>
                        <a:cubicBezTo>
                          <a:pt x="489784" y="59319"/>
                          <a:pt x="508513" y="58293"/>
                          <a:pt x="523394" y="54188"/>
                        </a:cubicBezTo>
                        <a:cubicBezTo>
                          <a:pt x="538275" y="50083"/>
                          <a:pt x="550590" y="40333"/>
                          <a:pt x="560340" y="35715"/>
                        </a:cubicBezTo>
                        <a:cubicBezTo>
                          <a:pt x="570090" y="31097"/>
                          <a:pt x="571629" y="30584"/>
                          <a:pt x="581891" y="26479"/>
                        </a:cubicBezTo>
                        <a:cubicBezTo>
                          <a:pt x="592153" y="22374"/>
                          <a:pt x="609600" y="12624"/>
                          <a:pt x="621915" y="11085"/>
                        </a:cubicBezTo>
                        <a:cubicBezTo>
                          <a:pt x="634230" y="9546"/>
                          <a:pt x="646546" y="15703"/>
                          <a:pt x="655782" y="17243"/>
                        </a:cubicBezTo>
                        <a:cubicBezTo>
                          <a:pt x="665019" y="18782"/>
                          <a:pt x="667071" y="21861"/>
                          <a:pt x="677334" y="20322"/>
                        </a:cubicBezTo>
                        <a:cubicBezTo>
                          <a:pt x="687597" y="18783"/>
                          <a:pt x="704017" y="11085"/>
                          <a:pt x="717358" y="8006"/>
                        </a:cubicBezTo>
                        <a:cubicBezTo>
                          <a:pt x="730699" y="4927"/>
                          <a:pt x="744554" y="2875"/>
                          <a:pt x="757382" y="1849"/>
                        </a:cubicBezTo>
                        <a:cubicBezTo>
                          <a:pt x="770210" y="823"/>
                          <a:pt x="782526" y="-1743"/>
                          <a:pt x="794328" y="1849"/>
                        </a:cubicBezTo>
                        <a:cubicBezTo>
                          <a:pt x="806130" y="5441"/>
                          <a:pt x="818445" y="18269"/>
                          <a:pt x="828194" y="23400"/>
                        </a:cubicBezTo>
                        <a:cubicBezTo>
                          <a:pt x="837943" y="28531"/>
                          <a:pt x="844615" y="28019"/>
                          <a:pt x="852825" y="32637"/>
                        </a:cubicBezTo>
                        <a:cubicBezTo>
                          <a:pt x="861035" y="37255"/>
                          <a:pt x="869758" y="42386"/>
                          <a:pt x="877455" y="51109"/>
                        </a:cubicBezTo>
                        <a:cubicBezTo>
                          <a:pt x="885152" y="59832"/>
                          <a:pt x="892335" y="73174"/>
                          <a:pt x="899006" y="84976"/>
                        </a:cubicBezTo>
                        <a:cubicBezTo>
                          <a:pt x="905677" y="96778"/>
                          <a:pt x="912348" y="106528"/>
                          <a:pt x="917479" y="121922"/>
                        </a:cubicBezTo>
                        <a:cubicBezTo>
                          <a:pt x="922610" y="137316"/>
                          <a:pt x="927742" y="166051"/>
                          <a:pt x="929794" y="177340"/>
                        </a:cubicBezTo>
                        <a:cubicBezTo>
                          <a:pt x="931846" y="188629"/>
                          <a:pt x="930820" y="182984"/>
                          <a:pt x="929794" y="189655"/>
                        </a:cubicBezTo>
                        <a:cubicBezTo>
                          <a:pt x="928768" y="196326"/>
                          <a:pt x="922611" y="208128"/>
                          <a:pt x="923637" y="217364"/>
                        </a:cubicBezTo>
                        <a:cubicBezTo>
                          <a:pt x="924663" y="226600"/>
                          <a:pt x="933900" y="232758"/>
                          <a:pt x="935952" y="245073"/>
                        </a:cubicBezTo>
                        <a:cubicBezTo>
                          <a:pt x="938005" y="257388"/>
                          <a:pt x="934926" y="277401"/>
                          <a:pt x="935952" y="291255"/>
                        </a:cubicBezTo>
                        <a:cubicBezTo>
                          <a:pt x="936978" y="305109"/>
                          <a:pt x="938517" y="312293"/>
                          <a:pt x="942109" y="328200"/>
                        </a:cubicBezTo>
                        <a:cubicBezTo>
                          <a:pt x="945701" y="344107"/>
                          <a:pt x="950319" y="358475"/>
                          <a:pt x="957503" y="386697"/>
                        </a:cubicBezTo>
                        <a:cubicBezTo>
                          <a:pt x="964687" y="414919"/>
                          <a:pt x="983160" y="475469"/>
                          <a:pt x="985212" y="497534"/>
                        </a:cubicBezTo>
                        <a:cubicBezTo>
                          <a:pt x="987264" y="519599"/>
                          <a:pt x="969818" y="519085"/>
                          <a:pt x="969818" y="519085"/>
                        </a:cubicBezTo>
                        <a:cubicBezTo>
                          <a:pt x="966739" y="525756"/>
                          <a:pt x="965201" y="528835"/>
                          <a:pt x="966740" y="537558"/>
                        </a:cubicBezTo>
                        <a:cubicBezTo>
                          <a:pt x="968279" y="546281"/>
                          <a:pt x="974437" y="556544"/>
                          <a:pt x="979055" y="571425"/>
                        </a:cubicBezTo>
                        <a:cubicBezTo>
                          <a:pt x="983673" y="586306"/>
                          <a:pt x="986239" y="609910"/>
                          <a:pt x="994449" y="626843"/>
                        </a:cubicBezTo>
                        <a:cubicBezTo>
                          <a:pt x="1002659" y="643776"/>
                          <a:pt x="1018566" y="656605"/>
                          <a:pt x="1028315" y="673025"/>
                        </a:cubicBezTo>
                        <a:cubicBezTo>
                          <a:pt x="1038065" y="689445"/>
                          <a:pt x="1046275" y="706378"/>
                          <a:pt x="1052946" y="725364"/>
                        </a:cubicBezTo>
                        <a:cubicBezTo>
                          <a:pt x="1059617" y="744350"/>
                          <a:pt x="1062696" y="768467"/>
                          <a:pt x="1068340" y="786940"/>
                        </a:cubicBezTo>
                        <a:cubicBezTo>
                          <a:pt x="1073984" y="805413"/>
                          <a:pt x="1083733" y="822346"/>
                          <a:pt x="1086812" y="836200"/>
                        </a:cubicBezTo>
                        <a:cubicBezTo>
                          <a:pt x="1089891" y="850054"/>
                          <a:pt x="1090404" y="859804"/>
                          <a:pt x="1086812" y="870067"/>
                        </a:cubicBezTo>
                        <a:cubicBezTo>
                          <a:pt x="1083220" y="880330"/>
                          <a:pt x="1072958" y="889566"/>
                          <a:pt x="1065261" y="897776"/>
                        </a:cubicBezTo>
                        <a:cubicBezTo>
                          <a:pt x="1057564" y="905986"/>
                          <a:pt x="1054486" y="913170"/>
                          <a:pt x="1040631" y="919328"/>
                        </a:cubicBezTo>
                        <a:cubicBezTo>
                          <a:pt x="1026777" y="925486"/>
                          <a:pt x="1004712" y="926512"/>
                          <a:pt x="982134" y="934722"/>
                        </a:cubicBezTo>
                        <a:cubicBezTo>
                          <a:pt x="959556" y="942932"/>
                          <a:pt x="931334" y="956273"/>
                          <a:pt x="905164" y="968588"/>
                        </a:cubicBezTo>
                        <a:cubicBezTo>
                          <a:pt x="878994" y="980903"/>
                          <a:pt x="853337" y="996297"/>
                          <a:pt x="825115" y="1008612"/>
                        </a:cubicBezTo>
                        <a:cubicBezTo>
                          <a:pt x="796893" y="1020927"/>
                          <a:pt x="762001" y="1031190"/>
                          <a:pt x="735831" y="1042479"/>
                        </a:cubicBezTo>
                        <a:cubicBezTo>
                          <a:pt x="709661" y="1053768"/>
                          <a:pt x="700937" y="1061978"/>
                          <a:pt x="668097" y="1076346"/>
                        </a:cubicBezTo>
                        <a:cubicBezTo>
                          <a:pt x="635257" y="1090714"/>
                          <a:pt x="563931" y="1119962"/>
                          <a:pt x="538788" y="1128685"/>
                        </a:cubicBezTo>
                        <a:cubicBezTo>
                          <a:pt x="513645" y="1137408"/>
                          <a:pt x="531605" y="1131764"/>
                          <a:pt x="517237" y="1128685"/>
                        </a:cubicBezTo>
                        <a:cubicBezTo>
                          <a:pt x="502869" y="1125606"/>
                          <a:pt x="474134" y="1117396"/>
                          <a:pt x="452582" y="1110212"/>
                        </a:cubicBezTo>
                        <a:cubicBezTo>
                          <a:pt x="431030" y="1103028"/>
                          <a:pt x="387928" y="1085582"/>
                          <a:pt x="387928" y="1085582"/>
                        </a:cubicBezTo>
                        <a:cubicBezTo>
                          <a:pt x="368942" y="1078398"/>
                          <a:pt x="355087" y="1071727"/>
                          <a:pt x="338667" y="1067109"/>
                        </a:cubicBezTo>
                        <a:cubicBezTo>
                          <a:pt x="322247" y="1062491"/>
                          <a:pt x="300695" y="1057360"/>
                          <a:pt x="289406" y="1057873"/>
                        </a:cubicBezTo>
                        <a:cubicBezTo>
                          <a:pt x="278117" y="1058386"/>
                          <a:pt x="276578" y="1059412"/>
                          <a:pt x="270934" y="1070188"/>
                        </a:cubicBezTo>
                        <a:cubicBezTo>
                          <a:pt x="265290" y="1080964"/>
                          <a:pt x="261184" y="1103029"/>
                          <a:pt x="255540" y="1122528"/>
                        </a:cubicBezTo>
                        <a:cubicBezTo>
                          <a:pt x="249896" y="1142027"/>
                          <a:pt x="243225" y="1163578"/>
                          <a:pt x="237067" y="1187182"/>
                        </a:cubicBezTo>
                        <a:cubicBezTo>
                          <a:pt x="230909" y="1210786"/>
                          <a:pt x="225778" y="1252863"/>
                          <a:pt x="218594" y="1264152"/>
                        </a:cubicBezTo>
                        <a:cubicBezTo>
                          <a:pt x="211410" y="1275441"/>
                          <a:pt x="202687" y="1257994"/>
                          <a:pt x="193964" y="1254915"/>
                        </a:cubicBezTo>
                        <a:cubicBezTo>
                          <a:pt x="185241" y="1251836"/>
                          <a:pt x="173439" y="1248245"/>
                          <a:pt x="166255" y="1245679"/>
                        </a:cubicBezTo>
                        <a:cubicBezTo>
                          <a:pt x="159071" y="1243113"/>
                          <a:pt x="158558" y="1242088"/>
                          <a:pt x="150861" y="1239522"/>
                        </a:cubicBezTo>
                        <a:cubicBezTo>
                          <a:pt x="143164" y="1236956"/>
                          <a:pt x="129309" y="1233364"/>
                          <a:pt x="120073" y="1230285"/>
                        </a:cubicBezTo>
                        <a:cubicBezTo>
                          <a:pt x="110837" y="1227206"/>
                          <a:pt x="104679" y="1224641"/>
                          <a:pt x="95443" y="1221049"/>
                        </a:cubicBezTo>
                        <a:cubicBezTo>
                          <a:pt x="86207" y="1217457"/>
                          <a:pt x="73378" y="1213865"/>
                          <a:pt x="64655" y="1208734"/>
                        </a:cubicBezTo>
                        <a:cubicBezTo>
                          <a:pt x="55932" y="1203603"/>
                          <a:pt x="50800" y="1195392"/>
                          <a:pt x="43103" y="1190261"/>
                        </a:cubicBezTo>
                        <a:cubicBezTo>
                          <a:pt x="35406" y="1185130"/>
                          <a:pt x="25657" y="1181025"/>
                          <a:pt x="18473" y="1177946"/>
                        </a:cubicBezTo>
                        <a:cubicBezTo>
                          <a:pt x="11289" y="1174867"/>
                          <a:pt x="5644" y="1173327"/>
                          <a:pt x="0" y="117178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4" name="Полилиния 33"/>
                  <p:cNvSpPr/>
                  <p:nvPr/>
                </p:nvSpPr>
                <p:spPr>
                  <a:xfrm>
                    <a:off x="735830" y="3451338"/>
                    <a:ext cx="1089317" cy="1267910"/>
                  </a:xfrm>
                  <a:custGeom>
                    <a:avLst/>
                    <a:gdLst>
                      <a:gd name="connsiteX0" fmla="*/ 471055 w 1089317"/>
                      <a:gd name="connsiteY0" fmla="*/ 60346 h 1267910"/>
                      <a:gd name="connsiteX1" fmla="*/ 523394 w 1089317"/>
                      <a:gd name="connsiteY1" fmla="*/ 54188 h 1267910"/>
                      <a:gd name="connsiteX2" fmla="*/ 560340 w 1089317"/>
                      <a:gd name="connsiteY2" fmla="*/ 35715 h 1267910"/>
                      <a:gd name="connsiteX3" fmla="*/ 581891 w 1089317"/>
                      <a:gd name="connsiteY3" fmla="*/ 26479 h 1267910"/>
                      <a:gd name="connsiteX4" fmla="*/ 621915 w 1089317"/>
                      <a:gd name="connsiteY4" fmla="*/ 11085 h 1267910"/>
                      <a:gd name="connsiteX5" fmla="*/ 655782 w 1089317"/>
                      <a:gd name="connsiteY5" fmla="*/ 17243 h 1267910"/>
                      <a:gd name="connsiteX6" fmla="*/ 677334 w 1089317"/>
                      <a:gd name="connsiteY6" fmla="*/ 20322 h 1267910"/>
                      <a:gd name="connsiteX7" fmla="*/ 717358 w 1089317"/>
                      <a:gd name="connsiteY7" fmla="*/ 8006 h 1267910"/>
                      <a:gd name="connsiteX8" fmla="*/ 757382 w 1089317"/>
                      <a:gd name="connsiteY8" fmla="*/ 1849 h 1267910"/>
                      <a:gd name="connsiteX9" fmla="*/ 794328 w 1089317"/>
                      <a:gd name="connsiteY9" fmla="*/ 1849 h 1267910"/>
                      <a:gd name="connsiteX10" fmla="*/ 828194 w 1089317"/>
                      <a:gd name="connsiteY10" fmla="*/ 23400 h 1267910"/>
                      <a:gd name="connsiteX11" fmla="*/ 852825 w 1089317"/>
                      <a:gd name="connsiteY11" fmla="*/ 32637 h 1267910"/>
                      <a:gd name="connsiteX12" fmla="*/ 877455 w 1089317"/>
                      <a:gd name="connsiteY12" fmla="*/ 51109 h 1267910"/>
                      <a:gd name="connsiteX13" fmla="*/ 899006 w 1089317"/>
                      <a:gd name="connsiteY13" fmla="*/ 84976 h 1267910"/>
                      <a:gd name="connsiteX14" fmla="*/ 917479 w 1089317"/>
                      <a:gd name="connsiteY14" fmla="*/ 121922 h 1267910"/>
                      <a:gd name="connsiteX15" fmla="*/ 929794 w 1089317"/>
                      <a:gd name="connsiteY15" fmla="*/ 177340 h 1267910"/>
                      <a:gd name="connsiteX16" fmla="*/ 929794 w 1089317"/>
                      <a:gd name="connsiteY16" fmla="*/ 189655 h 1267910"/>
                      <a:gd name="connsiteX17" fmla="*/ 923637 w 1089317"/>
                      <a:gd name="connsiteY17" fmla="*/ 217364 h 1267910"/>
                      <a:gd name="connsiteX18" fmla="*/ 935952 w 1089317"/>
                      <a:gd name="connsiteY18" fmla="*/ 245073 h 1267910"/>
                      <a:gd name="connsiteX19" fmla="*/ 935952 w 1089317"/>
                      <a:gd name="connsiteY19" fmla="*/ 291255 h 1267910"/>
                      <a:gd name="connsiteX20" fmla="*/ 942109 w 1089317"/>
                      <a:gd name="connsiteY20" fmla="*/ 328200 h 1267910"/>
                      <a:gd name="connsiteX21" fmla="*/ 957503 w 1089317"/>
                      <a:gd name="connsiteY21" fmla="*/ 386697 h 1267910"/>
                      <a:gd name="connsiteX22" fmla="*/ 985212 w 1089317"/>
                      <a:gd name="connsiteY22" fmla="*/ 497534 h 1267910"/>
                      <a:gd name="connsiteX23" fmla="*/ 969818 w 1089317"/>
                      <a:gd name="connsiteY23" fmla="*/ 519085 h 1267910"/>
                      <a:gd name="connsiteX24" fmla="*/ 966740 w 1089317"/>
                      <a:gd name="connsiteY24" fmla="*/ 537558 h 1267910"/>
                      <a:gd name="connsiteX25" fmla="*/ 979055 w 1089317"/>
                      <a:gd name="connsiteY25" fmla="*/ 571425 h 1267910"/>
                      <a:gd name="connsiteX26" fmla="*/ 994449 w 1089317"/>
                      <a:gd name="connsiteY26" fmla="*/ 626843 h 1267910"/>
                      <a:gd name="connsiteX27" fmla="*/ 1028315 w 1089317"/>
                      <a:gd name="connsiteY27" fmla="*/ 673025 h 1267910"/>
                      <a:gd name="connsiteX28" fmla="*/ 1052946 w 1089317"/>
                      <a:gd name="connsiteY28" fmla="*/ 725364 h 1267910"/>
                      <a:gd name="connsiteX29" fmla="*/ 1068340 w 1089317"/>
                      <a:gd name="connsiteY29" fmla="*/ 786940 h 1267910"/>
                      <a:gd name="connsiteX30" fmla="*/ 1086812 w 1089317"/>
                      <a:gd name="connsiteY30" fmla="*/ 836200 h 1267910"/>
                      <a:gd name="connsiteX31" fmla="*/ 1086812 w 1089317"/>
                      <a:gd name="connsiteY31" fmla="*/ 870067 h 1267910"/>
                      <a:gd name="connsiteX32" fmla="*/ 1065261 w 1089317"/>
                      <a:gd name="connsiteY32" fmla="*/ 897776 h 1267910"/>
                      <a:gd name="connsiteX33" fmla="*/ 1040631 w 1089317"/>
                      <a:gd name="connsiteY33" fmla="*/ 919328 h 1267910"/>
                      <a:gd name="connsiteX34" fmla="*/ 982134 w 1089317"/>
                      <a:gd name="connsiteY34" fmla="*/ 934722 h 1267910"/>
                      <a:gd name="connsiteX35" fmla="*/ 905164 w 1089317"/>
                      <a:gd name="connsiteY35" fmla="*/ 968588 h 1267910"/>
                      <a:gd name="connsiteX36" fmla="*/ 825115 w 1089317"/>
                      <a:gd name="connsiteY36" fmla="*/ 1008612 h 1267910"/>
                      <a:gd name="connsiteX37" fmla="*/ 735831 w 1089317"/>
                      <a:gd name="connsiteY37" fmla="*/ 1042479 h 1267910"/>
                      <a:gd name="connsiteX38" fmla="*/ 668097 w 1089317"/>
                      <a:gd name="connsiteY38" fmla="*/ 1076346 h 1267910"/>
                      <a:gd name="connsiteX39" fmla="*/ 538788 w 1089317"/>
                      <a:gd name="connsiteY39" fmla="*/ 1128685 h 1267910"/>
                      <a:gd name="connsiteX40" fmla="*/ 517237 w 1089317"/>
                      <a:gd name="connsiteY40" fmla="*/ 1128685 h 1267910"/>
                      <a:gd name="connsiteX41" fmla="*/ 452582 w 1089317"/>
                      <a:gd name="connsiteY41" fmla="*/ 1110212 h 1267910"/>
                      <a:gd name="connsiteX42" fmla="*/ 387928 w 1089317"/>
                      <a:gd name="connsiteY42" fmla="*/ 1085582 h 1267910"/>
                      <a:gd name="connsiteX43" fmla="*/ 338667 w 1089317"/>
                      <a:gd name="connsiteY43" fmla="*/ 1067109 h 1267910"/>
                      <a:gd name="connsiteX44" fmla="*/ 289406 w 1089317"/>
                      <a:gd name="connsiteY44" fmla="*/ 1057873 h 1267910"/>
                      <a:gd name="connsiteX45" fmla="*/ 270934 w 1089317"/>
                      <a:gd name="connsiteY45" fmla="*/ 1070188 h 1267910"/>
                      <a:gd name="connsiteX46" fmla="*/ 255540 w 1089317"/>
                      <a:gd name="connsiteY46" fmla="*/ 1122528 h 1267910"/>
                      <a:gd name="connsiteX47" fmla="*/ 237067 w 1089317"/>
                      <a:gd name="connsiteY47" fmla="*/ 1187182 h 1267910"/>
                      <a:gd name="connsiteX48" fmla="*/ 218594 w 1089317"/>
                      <a:gd name="connsiteY48" fmla="*/ 1264152 h 1267910"/>
                      <a:gd name="connsiteX49" fmla="*/ 193964 w 1089317"/>
                      <a:gd name="connsiteY49" fmla="*/ 1254915 h 1267910"/>
                      <a:gd name="connsiteX50" fmla="*/ 166255 w 1089317"/>
                      <a:gd name="connsiteY50" fmla="*/ 1245679 h 1267910"/>
                      <a:gd name="connsiteX51" fmla="*/ 150861 w 1089317"/>
                      <a:gd name="connsiteY51" fmla="*/ 1239522 h 1267910"/>
                      <a:gd name="connsiteX52" fmla="*/ 120073 w 1089317"/>
                      <a:gd name="connsiteY52" fmla="*/ 1230285 h 1267910"/>
                      <a:gd name="connsiteX53" fmla="*/ 95443 w 1089317"/>
                      <a:gd name="connsiteY53" fmla="*/ 1221049 h 1267910"/>
                      <a:gd name="connsiteX54" fmla="*/ 64655 w 1089317"/>
                      <a:gd name="connsiteY54" fmla="*/ 1208734 h 1267910"/>
                      <a:gd name="connsiteX55" fmla="*/ 43103 w 1089317"/>
                      <a:gd name="connsiteY55" fmla="*/ 1190261 h 1267910"/>
                      <a:gd name="connsiteX56" fmla="*/ 18473 w 1089317"/>
                      <a:gd name="connsiteY56" fmla="*/ 1177946 h 1267910"/>
                      <a:gd name="connsiteX57" fmla="*/ 0 w 1089317"/>
                      <a:gd name="connsiteY57" fmla="*/ 1171788 h 1267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</a:cxnLst>
                    <a:rect l="l" t="t" r="r" b="b"/>
                    <a:pathLst>
                      <a:path w="1089317" h="1267910">
                        <a:moveTo>
                          <a:pt x="471055" y="60346"/>
                        </a:moveTo>
                        <a:cubicBezTo>
                          <a:pt x="489784" y="59319"/>
                          <a:pt x="508513" y="58293"/>
                          <a:pt x="523394" y="54188"/>
                        </a:cubicBezTo>
                        <a:cubicBezTo>
                          <a:pt x="538275" y="50083"/>
                          <a:pt x="550590" y="40333"/>
                          <a:pt x="560340" y="35715"/>
                        </a:cubicBezTo>
                        <a:cubicBezTo>
                          <a:pt x="570090" y="31097"/>
                          <a:pt x="571629" y="30584"/>
                          <a:pt x="581891" y="26479"/>
                        </a:cubicBezTo>
                        <a:cubicBezTo>
                          <a:pt x="592153" y="22374"/>
                          <a:pt x="609600" y="12624"/>
                          <a:pt x="621915" y="11085"/>
                        </a:cubicBezTo>
                        <a:cubicBezTo>
                          <a:pt x="634230" y="9546"/>
                          <a:pt x="646546" y="15703"/>
                          <a:pt x="655782" y="17243"/>
                        </a:cubicBezTo>
                        <a:cubicBezTo>
                          <a:pt x="665019" y="18782"/>
                          <a:pt x="667071" y="21861"/>
                          <a:pt x="677334" y="20322"/>
                        </a:cubicBezTo>
                        <a:cubicBezTo>
                          <a:pt x="687597" y="18783"/>
                          <a:pt x="704017" y="11085"/>
                          <a:pt x="717358" y="8006"/>
                        </a:cubicBezTo>
                        <a:cubicBezTo>
                          <a:pt x="730699" y="4927"/>
                          <a:pt x="744554" y="2875"/>
                          <a:pt x="757382" y="1849"/>
                        </a:cubicBezTo>
                        <a:cubicBezTo>
                          <a:pt x="770210" y="823"/>
                          <a:pt x="782526" y="-1743"/>
                          <a:pt x="794328" y="1849"/>
                        </a:cubicBezTo>
                        <a:cubicBezTo>
                          <a:pt x="806130" y="5441"/>
                          <a:pt x="818445" y="18269"/>
                          <a:pt x="828194" y="23400"/>
                        </a:cubicBezTo>
                        <a:cubicBezTo>
                          <a:pt x="837943" y="28531"/>
                          <a:pt x="844615" y="28019"/>
                          <a:pt x="852825" y="32637"/>
                        </a:cubicBezTo>
                        <a:cubicBezTo>
                          <a:pt x="861035" y="37255"/>
                          <a:pt x="869758" y="42386"/>
                          <a:pt x="877455" y="51109"/>
                        </a:cubicBezTo>
                        <a:cubicBezTo>
                          <a:pt x="885152" y="59832"/>
                          <a:pt x="892335" y="73174"/>
                          <a:pt x="899006" y="84976"/>
                        </a:cubicBezTo>
                        <a:cubicBezTo>
                          <a:pt x="905677" y="96778"/>
                          <a:pt x="912348" y="106528"/>
                          <a:pt x="917479" y="121922"/>
                        </a:cubicBezTo>
                        <a:cubicBezTo>
                          <a:pt x="922610" y="137316"/>
                          <a:pt x="927742" y="166051"/>
                          <a:pt x="929794" y="177340"/>
                        </a:cubicBezTo>
                        <a:cubicBezTo>
                          <a:pt x="931846" y="188629"/>
                          <a:pt x="930820" y="182984"/>
                          <a:pt x="929794" y="189655"/>
                        </a:cubicBezTo>
                        <a:cubicBezTo>
                          <a:pt x="928768" y="196326"/>
                          <a:pt x="922611" y="208128"/>
                          <a:pt x="923637" y="217364"/>
                        </a:cubicBezTo>
                        <a:cubicBezTo>
                          <a:pt x="924663" y="226600"/>
                          <a:pt x="933900" y="232758"/>
                          <a:pt x="935952" y="245073"/>
                        </a:cubicBezTo>
                        <a:cubicBezTo>
                          <a:pt x="938005" y="257388"/>
                          <a:pt x="934926" y="277401"/>
                          <a:pt x="935952" y="291255"/>
                        </a:cubicBezTo>
                        <a:cubicBezTo>
                          <a:pt x="936978" y="305109"/>
                          <a:pt x="938517" y="312293"/>
                          <a:pt x="942109" y="328200"/>
                        </a:cubicBezTo>
                        <a:cubicBezTo>
                          <a:pt x="945701" y="344107"/>
                          <a:pt x="950319" y="358475"/>
                          <a:pt x="957503" y="386697"/>
                        </a:cubicBezTo>
                        <a:cubicBezTo>
                          <a:pt x="964687" y="414919"/>
                          <a:pt x="983160" y="475469"/>
                          <a:pt x="985212" y="497534"/>
                        </a:cubicBezTo>
                        <a:cubicBezTo>
                          <a:pt x="987264" y="519599"/>
                          <a:pt x="969818" y="519085"/>
                          <a:pt x="969818" y="519085"/>
                        </a:cubicBezTo>
                        <a:cubicBezTo>
                          <a:pt x="966739" y="525756"/>
                          <a:pt x="965201" y="528835"/>
                          <a:pt x="966740" y="537558"/>
                        </a:cubicBezTo>
                        <a:cubicBezTo>
                          <a:pt x="968279" y="546281"/>
                          <a:pt x="974437" y="556544"/>
                          <a:pt x="979055" y="571425"/>
                        </a:cubicBezTo>
                        <a:cubicBezTo>
                          <a:pt x="983673" y="586306"/>
                          <a:pt x="986239" y="609910"/>
                          <a:pt x="994449" y="626843"/>
                        </a:cubicBezTo>
                        <a:cubicBezTo>
                          <a:pt x="1002659" y="643776"/>
                          <a:pt x="1018566" y="656605"/>
                          <a:pt x="1028315" y="673025"/>
                        </a:cubicBezTo>
                        <a:cubicBezTo>
                          <a:pt x="1038065" y="689445"/>
                          <a:pt x="1046275" y="706378"/>
                          <a:pt x="1052946" y="725364"/>
                        </a:cubicBezTo>
                        <a:cubicBezTo>
                          <a:pt x="1059617" y="744350"/>
                          <a:pt x="1062696" y="768467"/>
                          <a:pt x="1068340" y="786940"/>
                        </a:cubicBezTo>
                        <a:cubicBezTo>
                          <a:pt x="1073984" y="805413"/>
                          <a:pt x="1083733" y="822346"/>
                          <a:pt x="1086812" y="836200"/>
                        </a:cubicBezTo>
                        <a:cubicBezTo>
                          <a:pt x="1089891" y="850054"/>
                          <a:pt x="1090404" y="859804"/>
                          <a:pt x="1086812" y="870067"/>
                        </a:cubicBezTo>
                        <a:cubicBezTo>
                          <a:pt x="1083220" y="880330"/>
                          <a:pt x="1072958" y="889566"/>
                          <a:pt x="1065261" y="897776"/>
                        </a:cubicBezTo>
                        <a:cubicBezTo>
                          <a:pt x="1057564" y="905986"/>
                          <a:pt x="1054486" y="913170"/>
                          <a:pt x="1040631" y="919328"/>
                        </a:cubicBezTo>
                        <a:cubicBezTo>
                          <a:pt x="1026777" y="925486"/>
                          <a:pt x="1004712" y="926512"/>
                          <a:pt x="982134" y="934722"/>
                        </a:cubicBezTo>
                        <a:cubicBezTo>
                          <a:pt x="959556" y="942932"/>
                          <a:pt x="931334" y="956273"/>
                          <a:pt x="905164" y="968588"/>
                        </a:cubicBezTo>
                        <a:cubicBezTo>
                          <a:pt x="878994" y="980903"/>
                          <a:pt x="853337" y="996297"/>
                          <a:pt x="825115" y="1008612"/>
                        </a:cubicBezTo>
                        <a:cubicBezTo>
                          <a:pt x="796893" y="1020927"/>
                          <a:pt x="762001" y="1031190"/>
                          <a:pt x="735831" y="1042479"/>
                        </a:cubicBezTo>
                        <a:cubicBezTo>
                          <a:pt x="709661" y="1053768"/>
                          <a:pt x="700937" y="1061978"/>
                          <a:pt x="668097" y="1076346"/>
                        </a:cubicBezTo>
                        <a:cubicBezTo>
                          <a:pt x="635257" y="1090714"/>
                          <a:pt x="563931" y="1119962"/>
                          <a:pt x="538788" y="1128685"/>
                        </a:cubicBezTo>
                        <a:cubicBezTo>
                          <a:pt x="513645" y="1137408"/>
                          <a:pt x="531605" y="1131764"/>
                          <a:pt x="517237" y="1128685"/>
                        </a:cubicBezTo>
                        <a:cubicBezTo>
                          <a:pt x="502869" y="1125606"/>
                          <a:pt x="474134" y="1117396"/>
                          <a:pt x="452582" y="1110212"/>
                        </a:cubicBezTo>
                        <a:cubicBezTo>
                          <a:pt x="431030" y="1103028"/>
                          <a:pt x="387928" y="1085582"/>
                          <a:pt x="387928" y="1085582"/>
                        </a:cubicBezTo>
                        <a:cubicBezTo>
                          <a:pt x="368942" y="1078398"/>
                          <a:pt x="355087" y="1071727"/>
                          <a:pt x="338667" y="1067109"/>
                        </a:cubicBezTo>
                        <a:cubicBezTo>
                          <a:pt x="322247" y="1062491"/>
                          <a:pt x="300695" y="1057360"/>
                          <a:pt x="289406" y="1057873"/>
                        </a:cubicBezTo>
                        <a:cubicBezTo>
                          <a:pt x="278117" y="1058386"/>
                          <a:pt x="276578" y="1059412"/>
                          <a:pt x="270934" y="1070188"/>
                        </a:cubicBezTo>
                        <a:cubicBezTo>
                          <a:pt x="265290" y="1080964"/>
                          <a:pt x="261184" y="1103029"/>
                          <a:pt x="255540" y="1122528"/>
                        </a:cubicBezTo>
                        <a:cubicBezTo>
                          <a:pt x="249896" y="1142027"/>
                          <a:pt x="243225" y="1163578"/>
                          <a:pt x="237067" y="1187182"/>
                        </a:cubicBezTo>
                        <a:cubicBezTo>
                          <a:pt x="230909" y="1210786"/>
                          <a:pt x="225778" y="1252863"/>
                          <a:pt x="218594" y="1264152"/>
                        </a:cubicBezTo>
                        <a:cubicBezTo>
                          <a:pt x="211410" y="1275441"/>
                          <a:pt x="202687" y="1257994"/>
                          <a:pt x="193964" y="1254915"/>
                        </a:cubicBezTo>
                        <a:cubicBezTo>
                          <a:pt x="185241" y="1251836"/>
                          <a:pt x="173439" y="1248245"/>
                          <a:pt x="166255" y="1245679"/>
                        </a:cubicBezTo>
                        <a:cubicBezTo>
                          <a:pt x="159071" y="1243113"/>
                          <a:pt x="158558" y="1242088"/>
                          <a:pt x="150861" y="1239522"/>
                        </a:cubicBezTo>
                        <a:cubicBezTo>
                          <a:pt x="143164" y="1236956"/>
                          <a:pt x="129309" y="1233364"/>
                          <a:pt x="120073" y="1230285"/>
                        </a:cubicBezTo>
                        <a:cubicBezTo>
                          <a:pt x="110837" y="1227206"/>
                          <a:pt x="104679" y="1224641"/>
                          <a:pt x="95443" y="1221049"/>
                        </a:cubicBezTo>
                        <a:cubicBezTo>
                          <a:pt x="86207" y="1217457"/>
                          <a:pt x="73378" y="1213865"/>
                          <a:pt x="64655" y="1208734"/>
                        </a:cubicBezTo>
                        <a:cubicBezTo>
                          <a:pt x="55932" y="1203603"/>
                          <a:pt x="50800" y="1195392"/>
                          <a:pt x="43103" y="1190261"/>
                        </a:cubicBezTo>
                        <a:cubicBezTo>
                          <a:pt x="35406" y="1185130"/>
                          <a:pt x="25657" y="1181025"/>
                          <a:pt x="18473" y="1177946"/>
                        </a:cubicBezTo>
                        <a:cubicBezTo>
                          <a:pt x="11289" y="1174867"/>
                          <a:pt x="5644" y="1173327"/>
                          <a:pt x="0" y="1171788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5" name="Блок-схема: узел 34"/>
                  <p:cNvSpPr/>
                  <p:nvPr/>
                </p:nvSpPr>
                <p:spPr>
                  <a:xfrm>
                    <a:off x="691055" y="4579741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6" name="Полилиния 35"/>
                  <p:cNvSpPr/>
                  <p:nvPr/>
                </p:nvSpPr>
                <p:spPr>
                  <a:xfrm>
                    <a:off x="3146521" y="2090497"/>
                    <a:ext cx="474511" cy="775855"/>
                  </a:xfrm>
                  <a:custGeom>
                    <a:avLst/>
                    <a:gdLst>
                      <a:gd name="connsiteX0" fmla="*/ 418715 w 474511"/>
                      <a:gd name="connsiteY0" fmla="*/ 0 h 775855"/>
                      <a:gd name="connsiteX1" fmla="*/ 464897 w 474511"/>
                      <a:gd name="connsiteY1" fmla="*/ 49261 h 775855"/>
                      <a:gd name="connsiteX2" fmla="*/ 464897 w 474511"/>
                      <a:gd name="connsiteY2" fmla="*/ 86206 h 775855"/>
                      <a:gd name="connsiteX3" fmla="*/ 464897 w 474511"/>
                      <a:gd name="connsiteY3" fmla="*/ 113915 h 775855"/>
                      <a:gd name="connsiteX4" fmla="*/ 461818 w 474511"/>
                      <a:gd name="connsiteY4" fmla="*/ 132388 h 775855"/>
                      <a:gd name="connsiteX5" fmla="*/ 474134 w 474511"/>
                      <a:gd name="connsiteY5" fmla="*/ 157018 h 775855"/>
                      <a:gd name="connsiteX6" fmla="*/ 471055 w 474511"/>
                      <a:gd name="connsiteY6" fmla="*/ 190885 h 775855"/>
                      <a:gd name="connsiteX7" fmla="*/ 467976 w 474511"/>
                      <a:gd name="connsiteY7" fmla="*/ 221673 h 775855"/>
                      <a:gd name="connsiteX8" fmla="*/ 446424 w 474511"/>
                      <a:gd name="connsiteY8" fmla="*/ 255539 h 775855"/>
                      <a:gd name="connsiteX9" fmla="*/ 434109 w 474511"/>
                      <a:gd name="connsiteY9" fmla="*/ 286327 h 775855"/>
                      <a:gd name="connsiteX10" fmla="*/ 415637 w 474511"/>
                      <a:gd name="connsiteY10" fmla="*/ 295564 h 775855"/>
                      <a:gd name="connsiteX11" fmla="*/ 384849 w 474511"/>
                      <a:gd name="connsiteY11" fmla="*/ 301721 h 775855"/>
                      <a:gd name="connsiteX12" fmla="*/ 375612 w 474511"/>
                      <a:gd name="connsiteY12" fmla="*/ 323273 h 775855"/>
                      <a:gd name="connsiteX13" fmla="*/ 375612 w 474511"/>
                      <a:gd name="connsiteY13" fmla="*/ 347903 h 775855"/>
                      <a:gd name="connsiteX14" fmla="*/ 375612 w 474511"/>
                      <a:gd name="connsiteY14" fmla="*/ 440267 h 775855"/>
                      <a:gd name="connsiteX15" fmla="*/ 375612 w 474511"/>
                      <a:gd name="connsiteY15" fmla="*/ 474133 h 775855"/>
                      <a:gd name="connsiteX16" fmla="*/ 366376 w 474511"/>
                      <a:gd name="connsiteY16" fmla="*/ 508000 h 775855"/>
                      <a:gd name="connsiteX17" fmla="*/ 354061 w 474511"/>
                      <a:gd name="connsiteY17" fmla="*/ 535709 h 775855"/>
                      <a:gd name="connsiteX18" fmla="*/ 335588 w 474511"/>
                      <a:gd name="connsiteY18" fmla="*/ 551103 h 775855"/>
                      <a:gd name="connsiteX19" fmla="*/ 310958 w 474511"/>
                      <a:gd name="connsiteY19" fmla="*/ 581891 h 775855"/>
                      <a:gd name="connsiteX20" fmla="*/ 295564 w 474511"/>
                      <a:gd name="connsiteY20" fmla="*/ 597285 h 775855"/>
                      <a:gd name="connsiteX21" fmla="*/ 243224 w 474511"/>
                      <a:gd name="connsiteY21" fmla="*/ 609600 h 775855"/>
                      <a:gd name="connsiteX22" fmla="*/ 240146 w 474511"/>
                      <a:gd name="connsiteY22" fmla="*/ 603442 h 775855"/>
                      <a:gd name="connsiteX23" fmla="*/ 150861 w 474511"/>
                      <a:gd name="connsiteY23" fmla="*/ 655782 h 775855"/>
                      <a:gd name="connsiteX24" fmla="*/ 132388 w 474511"/>
                      <a:gd name="connsiteY24" fmla="*/ 655782 h 775855"/>
                      <a:gd name="connsiteX25" fmla="*/ 116994 w 474511"/>
                      <a:gd name="connsiteY25" fmla="*/ 658861 h 775855"/>
                      <a:gd name="connsiteX26" fmla="*/ 89285 w 474511"/>
                      <a:gd name="connsiteY26" fmla="*/ 665018 h 775855"/>
                      <a:gd name="connsiteX27" fmla="*/ 76970 w 474511"/>
                      <a:gd name="connsiteY27" fmla="*/ 658861 h 775855"/>
                      <a:gd name="connsiteX28" fmla="*/ 67734 w 474511"/>
                      <a:gd name="connsiteY28" fmla="*/ 652703 h 775855"/>
                      <a:gd name="connsiteX29" fmla="*/ 46182 w 474511"/>
                      <a:gd name="connsiteY29" fmla="*/ 649624 h 775855"/>
                      <a:gd name="connsiteX30" fmla="*/ 30788 w 474511"/>
                      <a:gd name="connsiteY30" fmla="*/ 649624 h 775855"/>
                      <a:gd name="connsiteX31" fmla="*/ 18473 w 474511"/>
                      <a:gd name="connsiteY31" fmla="*/ 668097 h 775855"/>
                      <a:gd name="connsiteX32" fmla="*/ 18473 w 474511"/>
                      <a:gd name="connsiteY32" fmla="*/ 692727 h 775855"/>
                      <a:gd name="connsiteX33" fmla="*/ 21552 w 474511"/>
                      <a:gd name="connsiteY33" fmla="*/ 708121 h 775855"/>
                      <a:gd name="connsiteX34" fmla="*/ 15394 w 474511"/>
                      <a:gd name="connsiteY34" fmla="*/ 720436 h 775855"/>
                      <a:gd name="connsiteX35" fmla="*/ 9237 w 474511"/>
                      <a:gd name="connsiteY35" fmla="*/ 732751 h 775855"/>
                      <a:gd name="connsiteX36" fmla="*/ 6158 w 474511"/>
                      <a:gd name="connsiteY36" fmla="*/ 748145 h 775855"/>
                      <a:gd name="connsiteX37" fmla="*/ 0 w 474511"/>
                      <a:gd name="connsiteY37" fmla="*/ 775855 h 7758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474511" h="775855">
                        <a:moveTo>
                          <a:pt x="418715" y="0"/>
                        </a:moveTo>
                        <a:cubicBezTo>
                          <a:pt x="437957" y="17446"/>
                          <a:pt x="457200" y="34893"/>
                          <a:pt x="464897" y="49261"/>
                        </a:cubicBezTo>
                        <a:cubicBezTo>
                          <a:pt x="472594" y="63629"/>
                          <a:pt x="464897" y="86206"/>
                          <a:pt x="464897" y="86206"/>
                        </a:cubicBezTo>
                        <a:cubicBezTo>
                          <a:pt x="464897" y="96982"/>
                          <a:pt x="465410" y="106218"/>
                          <a:pt x="464897" y="113915"/>
                        </a:cubicBezTo>
                        <a:cubicBezTo>
                          <a:pt x="464384" y="121612"/>
                          <a:pt x="460279" y="125204"/>
                          <a:pt x="461818" y="132388"/>
                        </a:cubicBezTo>
                        <a:cubicBezTo>
                          <a:pt x="463357" y="139572"/>
                          <a:pt x="472595" y="147269"/>
                          <a:pt x="474134" y="157018"/>
                        </a:cubicBezTo>
                        <a:cubicBezTo>
                          <a:pt x="475673" y="166767"/>
                          <a:pt x="472081" y="180109"/>
                          <a:pt x="471055" y="190885"/>
                        </a:cubicBezTo>
                        <a:cubicBezTo>
                          <a:pt x="470029" y="201661"/>
                          <a:pt x="472081" y="210897"/>
                          <a:pt x="467976" y="221673"/>
                        </a:cubicBezTo>
                        <a:cubicBezTo>
                          <a:pt x="463871" y="232449"/>
                          <a:pt x="452069" y="244763"/>
                          <a:pt x="446424" y="255539"/>
                        </a:cubicBezTo>
                        <a:cubicBezTo>
                          <a:pt x="440780" y="266315"/>
                          <a:pt x="439240" y="279656"/>
                          <a:pt x="434109" y="286327"/>
                        </a:cubicBezTo>
                        <a:cubicBezTo>
                          <a:pt x="428978" y="292998"/>
                          <a:pt x="423847" y="292998"/>
                          <a:pt x="415637" y="295564"/>
                        </a:cubicBezTo>
                        <a:cubicBezTo>
                          <a:pt x="407427" y="298130"/>
                          <a:pt x="391520" y="297103"/>
                          <a:pt x="384849" y="301721"/>
                        </a:cubicBezTo>
                        <a:cubicBezTo>
                          <a:pt x="378178" y="306339"/>
                          <a:pt x="377151" y="315576"/>
                          <a:pt x="375612" y="323273"/>
                        </a:cubicBezTo>
                        <a:cubicBezTo>
                          <a:pt x="374072" y="330970"/>
                          <a:pt x="375612" y="347903"/>
                          <a:pt x="375612" y="347903"/>
                        </a:cubicBezTo>
                        <a:lnTo>
                          <a:pt x="375612" y="440267"/>
                        </a:lnTo>
                        <a:cubicBezTo>
                          <a:pt x="375612" y="461305"/>
                          <a:pt x="377151" y="462844"/>
                          <a:pt x="375612" y="474133"/>
                        </a:cubicBezTo>
                        <a:cubicBezTo>
                          <a:pt x="374073" y="485422"/>
                          <a:pt x="369968" y="497737"/>
                          <a:pt x="366376" y="508000"/>
                        </a:cubicBezTo>
                        <a:cubicBezTo>
                          <a:pt x="362784" y="518263"/>
                          <a:pt x="359192" y="528525"/>
                          <a:pt x="354061" y="535709"/>
                        </a:cubicBezTo>
                        <a:cubicBezTo>
                          <a:pt x="348930" y="542893"/>
                          <a:pt x="342772" y="543406"/>
                          <a:pt x="335588" y="551103"/>
                        </a:cubicBezTo>
                        <a:cubicBezTo>
                          <a:pt x="328404" y="558800"/>
                          <a:pt x="317629" y="574194"/>
                          <a:pt x="310958" y="581891"/>
                        </a:cubicBezTo>
                        <a:cubicBezTo>
                          <a:pt x="304287" y="589588"/>
                          <a:pt x="306853" y="592667"/>
                          <a:pt x="295564" y="597285"/>
                        </a:cubicBezTo>
                        <a:cubicBezTo>
                          <a:pt x="284275" y="601903"/>
                          <a:pt x="252460" y="608574"/>
                          <a:pt x="243224" y="609600"/>
                        </a:cubicBezTo>
                        <a:cubicBezTo>
                          <a:pt x="233988" y="610626"/>
                          <a:pt x="255540" y="595745"/>
                          <a:pt x="240146" y="603442"/>
                        </a:cubicBezTo>
                        <a:cubicBezTo>
                          <a:pt x="224752" y="611139"/>
                          <a:pt x="168821" y="647059"/>
                          <a:pt x="150861" y="655782"/>
                        </a:cubicBezTo>
                        <a:cubicBezTo>
                          <a:pt x="132901" y="664505"/>
                          <a:pt x="138032" y="655269"/>
                          <a:pt x="132388" y="655782"/>
                        </a:cubicBezTo>
                        <a:cubicBezTo>
                          <a:pt x="126744" y="656295"/>
                          <a:pt x="116994" y="658861"/>
                          <a:pt x="116994" y="658861"/>
                        </a:cubicBezTo>
                        <a:lnTo>
                          <a:pt x="89285" y="665018"/>
                        </a:lnTo>
                        <a:cubicBezTo>
                          <a:pt x="82614" y="665018"/>
                          <a:pt x="76970" y="658861"/>
                          <a:pt x="76970" y="658861"/>
                        </a:cubicBezTo>
                        <a:cubicBezTo>
                          <a:pt x="73378" y="656809"/>
                          <a:pt x="72865" y="654242"/>
                          <a:pt x="67734" y="652703"/>
                        </a:cubicBezTo>
                        <a:cubicBezTo>
                          <a:pt x="62603" y="651164"/>
                          <a:pt x="52340" y="650137"/>
                          <a:pt x="46182" y="649624"/>
                        </a:cubicBezTo>
                        <a:cubicBezTo>
                          <a:pt x="40024" y="649111"/>
                          <a:pt x="35406" y="646545"/>
                          <a:pt x="30788" y="649624"/>
                        </a:cubicBezTo>
                        <a:cubicBezTo>
                          <a:pt x="26170" y="652703"/>
                          <a:pt x="20525" y="660913"/>
                          <a:pt x="18473" y="668097"/>
                        </a:cubicBezTo>
                        <a:cubicBezTo>
                          <a:pt x="16421" y="675281"/>
                          <a:pt x="17960" y="686056"/>
                          <a:pt x="18473" y="692727"/>
                        </a:cubicBezTo>
                        <a:cubicBezTo>
                          <a:pt x="18986" y="699398"/>
                          <a:pt x="21552" y="708121"/>
                          <a:pt x="21552" y="708121"/>
                        </a:cubicBezTo>
                        <a:cubicBezTo>
                          <a:pt x="21039" y="712739"/>
                          <a:pt x="15394" y="720436"/>
                          <a:pt x="15394" y="720436"/>
                        </a:cubicBezTo>
                        <a:cubicBezTo>
                          <a:pt x="13342" y="724541"/>
                          <a:pt x="10776" y="728133"/>
                          <a:pt x="9237" y="732751"/>
                        </a:cubicBezTo>
                        <a:cubicBezTo>
                          <a:pt x="7698" y="737369"/>
                          <a:pt x="7697" y="740961"/>
                          <a:pt x="6158" y="748145"/>
                        </a:cubicBezTo>
                        <a:cubicBezTo>
                          <a:pt x="4619" y="755329"/>
                          <a:pt x="2309" y="765592"/>
                          <a:pt x="0" y="775855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7" name="Полилиния 36"/>
                  <p:cNvSpPr/>
                  <p:nvPr/>
                </p:nvSpPr>
                <p:spPr>
                  <a:xfrm>
                    <a:off x="3145460" y="2089741"/>
                    <a:ext cx="474511" cy="775855"/>
                  </a:xfrm>
                  <a:custGeom>
                    <a:avLst/>
                    <a:gdLst>
                      <a:gd name="connsiteX0" fmla="*/ 418715 w 474511"/>
                      <a:gd name="connsiteY0" fmla="*/ 0 h 775855"/>
                      <a:gd name="connsiteX1" fmla="*/ 464897 w 474511"/>
                      <a:gd name="connsiteY1" fmla="*/ 49261 h 775855"/>
                      <a:gd name="connsiteX2" fmla="*/ 464897 w 474511"/>
                      <a:gd name="connsiteY2" fmla="*/ 86206 h 775855"/>
                      <a:gd name="connsiteX3" fmla="*/ 464897 w 474511"/>
                      <a:gd name="connsiteY3" fmla="*/ 113915 h 775855"/>
                      <a:gd name="connsiteX4" fmla="*/ 461818 w 474511"/>
                      <a:gd name="connsiteY4" fmla="*/ 132388 h 775855"/>
                      <a:gd name="connsiteX5" fmla="*/ 474134 w 474511"/>
                      <a:gd name="connsiteY5" fmla="*/ 157018 h 775855"/>
                      <a:gd name="connsiteX6" fmla="*/ 471055 w 474511"/>
                      <a:gd name="connsiteY6" fmla="*/ 190885 h 775855"/>
                      <a:gd name="connsiteX7" fmla="*/ 467976 w 474511"/>
                      <a:gd name="connsiteY7" fmla="*/ 221673 h 775855"/>
                      <a:gd name="connsiteX8" fmla="*/ 446424 w 474511"/>
                      <a:gd name="connsiteY8" fmla="*/ 255539 h 775855"/>
                      <a:gd name="connsiteX9" fmla="*/ 434109 w 474511"/>
                      <a:gd name="connsiteY9" fmla="*/ 286327 h 775855"/>
                      <a:gd name="connsiteX10" fmla="*/ 415637 w 474511"/>
                      <a:gd name="connsiteY10" fmla="*/ 295564 h 775855"/>
                      <a:gd name="connsiteX11" fmla="*/ 384849 w 474511"/>
                      <a:gd name="connsiteY11" fmla="*/ 301721 h 775855"/>
                      <a:gd name="connsiteX12" fmla="*/ 375612 w 474511"/>
                      <a:gd name="connsiteY12" fmla="*/ 323273 h 775855"/>
                      <a:gd name="connsiteX13" fmla="*/ 375612 w 474511"/>
                      <a:gd name="connsiteY13" fmla="*/ 347903 h 775855"/>
                      <a:gd name="connsiteX14" fmla="*/ 375612 w 474511"/>
                      <a:gd name="connsiteY14" fmla="*/ 440267 h 775855"/>
                      <a:gd name="connsiteX15" fmla="*/ 375612 w 474511"/>
                      <a:gd name="connsiteY15" fmla="*/ 474133 h 775855"/>
                      <a:gd name="connsiteX16" fmla="*/ 366376 w 474511"/>
                      <a:gd name="connsiteY16" fmla="*/ 508000 h 775855"/>
                      <a:gd name="connsiteX17" fmla="*/ 354061 w 474511"/>
                      <a:gd name="connsiteY17" fmla="*/ 535709 h 775855"/>
                      <a:gd name="connsiteX18" fmla="*/ 335588 w 474511"/>
                      <a:gd name="connsiteY18" fmla="*/ 551103 h 775855"/>
                      <a:gd name="connsiteX19" fmla="*/ 310958 w 474511"/>
                      <a:gd name="connsiteY19" fmla="*/ 581891 h 775855"/>
                      <a:gd name="connsiteX20" fmla="*/ 295564 w 474511"/>
                      <a:gd name="connsiteY20" fmla="*/ 597285 h 775855"/>
                      <a:gd name="connsiteX21" fmla="*/ 243224 w 474511"/>
                      <a:gd name="connsiteY21" fmla="*/ 609600 h 775855"/>
                      <a:gd name="connsiteX22" fmla="*/ 240146 w 474511"/>
                      <a:gd name="connsiteY22" fmla="*/ 603442 h 775855"/>
                      <a:gd name="connsiteX23" fmla="*/ 150861 w 474511"/>
                      <a:gd name="connsiteY23" fmla="*/ 655782 h 775855"/>
                      <a:gd name="connsiteX24" fmla="*/ 132388 w 474511"/>
                      <a:gd name="connsiteY24" fmla="*/ 655782 h 775855"/>
                      <a:gd name="connsiteX25" fmla="*/ 116994 w 474511"/>
                      <a:gd name="connsiteY25" fmla="*/ 658861 h 775855"/>
                      <a:gd name="connsiteX26" fmla="*/ 89285 w 474511"/>
                      <a:gd name="connsiteY26" fmla="*/ 665018 h 775855"/>
                      <a:gd name="connsiteX27" fmla="*/ 76970 w 474511"/>
                      <a:gd name="connsiteY27" fmla="*/ 658861 h 775855"/>
                      <a:gd name="connsiteX28" fmla="*/ 67734 w 474511"/>
                      <a:gd name="connsiteY28" fmla="*/ 652703 h 775855"/>
                      <a:gd name="connsiteX29" fmla="*/ 46182 w 474511"/>
                      <a:gd name="connsiteY29" fmla="*/ 649624 h 775855"/>
                      <a:gd name="connsiteX30" fmla="*/ 30788 w 474511"/>
                      <a:gd name="connsiteY30" fmla="*/ 649624 h 775855"/>
                      <a:gd name="connsiteX31" fmla="*/ 18473 w 474511"/>
                      <a:gd name="connsiteY31" fmla="*/ 668097 h 775855"/>
                      <a:gd name="connsiteX32" fmla="*/ 18473 w 474511"/>
                      <a:gd name="connsiteY32" fmla="*/ 692727 h 775855"/>
                      <a:gd name="connsiteX33" fmla="*/ 21552 w 474511"/>
                      <a:gd name="connsiteY33" fmla="*/ 708121 h 775855"/>
                      <a:gd name="connsiteX34" fmla="*/ 15394 w 474511"/>
                      <a:gd name="connsiteY34" fmla="*/ 720436 h 775855"/>
                      <a:gd name="connsiteX35" fmla="*/ 9237 w 474511"/>
                      <a:gd name="connsiteY35" fmla="*/ 732751 h 775855"/>
                      <a:gd name="connsiteX36" fmla="*/ 6158 w 474511"/>
                      <a:gd name="connsiteY36" fmla="*/ 748145 h 775855"/>
                      <a:gd name="connsiteX37" fmla="*/ 0 w 474511"/>
                      <a:gd name="connsiteY37" fmla="*/ 775855 h 7758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474511" h="775855">
                        <a:moveTo>
                          <a:pt x="418715" y="0"/>
                        </a:moveTo>
                        <a:cubicBezTo>
                          <a:pt x="437957" y="17446"/>
                          <a:pt x="457200" y="34893"/>
                          <a:pt x="464897" y="49261"/>
                        </a:cubicBezTo>
                        <a:cubicBezTo>
                          <a:pt x="472594" y="63629"/>
                          <a:pt x="464897" y="86206"/>
                          <a:pt x="464897" y="86206"/>
                        </a:cubicBezTo>
                        <a:cubicBezTo>
                          <a:pt x="464897" y="96982"/>
                          <a:pt x="465410" y="106218"/>
                          <a:pt x="464897" y="113915"/>
                        </a:cubicBezTo>
                        <a:cubicBezTo>
                          <a:pt x="464384" y="121612"/>
                          <a:pt x="460279" y="125204"/>
                          <a:pt x="461818" y="132388"/>
                        </a:cubicBezTo>
                        <a:cubicBezTo>
                          <a:pt x="463357" y="139572"/>
                          <a:pt x="472595" y="147269"/>
                          <a:pt x="474134" y="157018"/>
                        </a:cubicBezTo>
                        <a:cubicBezTo>
                          <a:pt x="475673" y="166767"/>
                          <a:pt x="472081" y="180109"/>
                          <a:pt x="471055" y="190885"/>
                        </a:cubicBezTo>
                        <a:cubicBezTo>
                          <a:pt x="470029" y="201661"/>
                          <a:pt x="472081" y="210897"/>
                          <a:pt x="467976" y="221673"/>
                        </a:cubicBezTo>
                        <a:cubicBezTo>
                          <a:pt x="463871" y="232449"/>
                          <a:pt x="452069" y="244763"/>
                          <a:pt x="446424" y="255539"/>
                        </a:cubicBezTo>
                        <a:cubicBezTo>
                          <a:pt x="440780" y="266315"/>
                          <a:pt x="439240" y="279656"/>
                          <a:pt x="434109" y="286327"/>
                        </a:cubicBezTo>
                        <a:cubicBezTo>
                          <a:pt x="428978" y="292998"/>
                          <a:pt x="423847" y="292998"/>
                          <a:pt x="415637" y="295564"/>
                        </a:cubicBezTo>
                        <a:cubicBezTo>
                          <a:pt x="407427" y="298130"/>
                          <a:pt x="391520" y="297103"/>
                          <a:pt x="384849" y="301721"/>
                        </a:cubicBezTo>
                        <a:cubicBezTo>
                          <a:pt x="378178" y="306339"/>
                          <a:pt x="377151" y="315576"/>
                          <a:pt x="375612" y="323273"/>
                        </a:cubicBezTo>
                        <a:cubicBezTo>
                          <a:pt x="374072" y="330970"/>
                          <a:pt x="375612" y="347903"/>
                          <a:pt x="375612" y="347903"/>
                        </a:cubicBezTo>
                        <a:lnTo>
                          <a:pt x="375612" y="440267"/>
                        </a:lnTo>
                        <a:cubicBezTo>
                          <a:pt x="375612" y="461305"/>
                          <a:pt x="377151" y="462844"/>
                          <a:pt x="375612" y="474133"/>
                        </a:cubicBezTo>
                        <a:cubicBezTo>
                          <a:pt x="374073" y="485422"/>
                          <a:pt x="369968" y="497737"/>
                          <a:pt x="366376" y="508000"/>
                        </a:cubicBezTo>
                        <a:cubicBezTo>
                          <a:pt x="362784" y="518263"/>
                          <a:pt x="359192" y="528525"/>
                          <a:pt x="354061" y="535709"/>
                        </a:cubicBezTo>
                        <a:cubicBezTo>
                          <a:pt x="348930" y="542893"/>
                          <a:pt x="342772" y="543406"/>
                          <a:pt x="335588" y="551103"/>
                        </a:cubicBezTo>
                        <a:cubicBezTo>
                          <a:pt x="328404" y="558800"/>
                          <a:pt x="317629" y="574194"/>
                          <a:pt x="310958" y="581891"/>
                        </a:cubicBezTo>
                        <a:cubicBezTo>
                          <a:pt x="304287" y="589588"/>
                          <a:pt x="306853" y="592667"/>
                          <a:pt x="295564" y="597285"/>
                        </a:cubicBezTo>
                        <a:cubicBezTo>
                          <a:pt x="284275" y="601903"/>
                          <a:pt x="252460" y="608574"/>
                          <a:pt x="243224" y="609600"/>
                        </a:cubicBezTo>
                        <a:cubicBezTo>
                          <a:pt x="233988" y="610626"/>
                          <a:pt x="255540" y="595745"/>
                          <a:pt x="240146" y="603442"/>
                        </a:cubicBezTo>
                        <a:cubicBezTo>
                          <a:pt x="224752" y="611139"/>
                          <a:pt x="168821" y="647059"/>
                          <a:pt x="150861" y="655782"/>
                        </a:cubicBezTo>
                        <a:cubicBezTo>
                          <a:pt x="132901" y="664505"/>
                          <a:pt x="138032" y="655269"/>
                          <a:pt x="132388" y="655782"/>
                        </a:cubicBezTo>
                        <a:cubicBezTo>
                          <a:pt x="126744" y="656295"/>
                          <a:pt x="116994" y="658861"/>
                          <a:pt x="116994" y="658861"/>
                        </a:cubicBezTo>
                        <a:lnTo>
                          <a:pt x="89285" y="665018"/>
                        </a:lnTo>
                        <a:cubicBezTo>
                          <a:pt x="82614" y="665018"/>
                          <a:pt x="76970" y="658861"/>
                          <a:pt x="76970" y="658861"/>
                        </a:cubicBezTo>
                        <a:cubicBezTo>
                          <a:pt x="73378" y="656809"/>
                          <a:pt x="72865" y="654242"/>
                          <a:pt x="67734" y="652703"/>
                        </a:cubicBezTo>
                        <a:cubicBezTo>
                          <a:pt x="62603" y="651164"/>
                          <a:pt x="52340" y="650137"/>
                          <a:pt x="46182" y="649624"/>
                        </a:cubicBezTo>
                        <a:cubicBezTo>
                          <a:pt x="40024" y="649111"/>
                          <a:pt x="35406" y="646545"/>
                          <a:pt x="30788" y="649624"/>
                        </a:cubicBezTo>
                        <a:cubicBezTo>
                          <a:pt x="26170" y="652703"/>
                          <a:pt x="20525" y="660913"/>
                          <a:pt x="18473" y="668097"/>
                        </a:cubicBezTo>
                        <a:cubicBezTo>
                          <a:pt x="16421" y="675281"/>
                          <a:pt x="17960" y="686056"/>
                          <a:pt x="18473" y="692727"/>
                        </a:cubicBezTo>
                        <a:cubicBezTo>
                          <a:pt x="18986" y="699398"/>
                          <a:pt x="21552" y="708121"/>
                          <a:pt x="21552" y="708121"/>
                        </a:cubicBezTo>
                        <a:cubicBezTo>
                          <a:pt x="21039" y="712739"/>
                          <a:pt x="15394" y="720436"/>
                          <a:pt x="15394" y="720436"/>
                        </a:cubicBezTo>
                        <a:cubicBezTo>
                          <a:pt x="13342" y="724541"/>
                          <a:pt x="10776" y="728133"/>
                          <a:pt x="9237" y="732751"/>
                        </a:cubicBezTo>
                        <a:cubicBezTo>
                          <a:pt x="7698" y="737369"/>
                          <a:pt x="7697" y="740961"/>
                          <a:pt x="6158" y="748145"/>
                        </a:cubicBezTo>
                        <a:cubicBezTo>
                          <a:pt x="4619" y="755329"/>
                          <a:pt x="2309" y="765592"/>
                          <a:pt x="0" y="77585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8" name="Полилиния 37"/>
                  <p:cNvSpPr/>
                  <p:nvPr/>
                </p:nvSpPr>
                <p:spPr>
                  <a:xfrm rot="485512">
                    <a:off x="6223953" y="1511460"/>
                    <a:ext cx="437783" cy="451906"/>
                  </a:xfrm>
                  <a:custGeom>
                    <a:avLst/>
                    <a:gdLst>
                      <a:gd name="connsiteX0" fmla="*/ 0 w 437783"/>
                      <a:gd name="connsiteY0" fmla="*/ 0 h 451905"/>
                      <a:gd name="connsiteX1" fmla="*/ 42366 w 437783"/>
                      <a:gd name="connsiteY1" fmla="*/ 52958 h 451905"/>
                      <a:gd name="connsiteX2" fmla="*/ 56488 w 437783"/>
                      <a:gd name="connsiteY2" fmla="*/ 70610 h 451905"/>
                      <a:gd name="connsiteX3" fmla="*/ 74141 w 437783"/>
                      <a:gd name="connsiteY3" fmla="*/ 77671 h 451905"/>
                      <a:gd name="connsiteX4" fmla="*/ 88263 w 437783"/>
                      <a:gd name="connsiteY4" fmla="*/ 81202 h 451905"/>
                      <a:gd name="connsiteX5" fmla="*/ 102385 w 437783"/>
                      <a:gd name="connsiteY5" fmla="*/ 102385 h 451905"/>
                      <a:gd name="connsiteX6" fmla="*/ 127098 w 437783"/>
                      <a:gd name="connsiteY6" fmla="*/ 127098 h 451905"/>
                      <a:gd name="connsiteX7" fmla="*/ 144751 w 437783"/>
                      <a:gd name="connsiteY7" fmla="*/ 151812 h 451905"/>
                      <a:gd name="connsiteX8" fmla="*/ 165934 w 437783"/>
                      <a:gd name="connsiteY8" fmla="*/ 172995 h 451905"/>
                      <a:gd name="connsiteX9" fmla="*/ 180056 w 437783"/>
                      <a:gd name="connsiteY9" fmla="*/ 190647 h 451905"/>
                      <a:gd name="connsiteX10" fmla="*/ 197709 w 437783"/>
                      <a:gd name="connsiteY10" fmla="*/ 197708 h 451905"/>
                      <a:gd name="connsiteX11" fmla="*/ 215361 w 437783"/>
                      <a:gd name="connsiteY11" fmla="*/ 208300 h 451905"/>
                      <a:gd name="connsiteX12" fmla="*/ 236544 w 437783"/>
                      <a:gd name="connsiteY12" fmla="*/ 211830 h 451905"/>
                      <a:gd name="connsiteX13" fmla="*/ 275380 w 437783"/>
                      <a:gd name="connsiteY13" fmla="*/ 218891 h 451905"/>
                      <a:gd name="connsiteX14" fmla="*/ 307154 w 437783"/>
                      <a:gd name="connsiteY14" fmla="*/ 236544 h 451905"/>
                      <a:gd name="connsiteX15" fmla="*/ 349520 w 437783"/>
                      <a:gd name="connsiteY15" fmla="*/ 264788 h 451905"/>
                      <a:gd name="connsiteX16" fmla="*/ 374234 w 437783"/>
                      <a:gd name="connsiteY16" fmla="*/ 307154 h 451905"/>
                      <a:gd name="connsiteX17" fmla="*/ 388356 w 437783"/>
                      <a:gd name="connsiteY17" fmla="*/ 335398 h 451905"/>
                      <a:gd name="connsiteX18" fmla="*/ 416600 w 437783"/>
                      <a:gd name="connsiteY18" fmla="*/ 370703 h 451905"/>
                      <a:gd name="connsiteX19" fmla="*/ 434252 w 437783"/>
                      <a:gd name="connsiteY19" fmla="*/ 427191 h 451905"/>
                      <a:gd name="connsiteX20" fmla="*/ 437783 w 437783"/>
                      <a:gd name="connsiteY20" fmla="*/ 451905 h 451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37783" h="451905">
                        <a:moveTo>
                          <a:pt x="0" y="0"/>
                        </a:moveTo>
                        <a:lnTo>
                          <a:pt x="42366" y="52958"/>
                        </a:lnTo>
                        <a:cubicBezTo>
                          <a:pt x="51781" y="64726"/>
                          <a:pt x="51192" y="66491"/>
                          <a:pt x="56488" y="70610"/>
                        </a:cubicBezTo>
                        <a:cubicBezTo>
                          <a:pt x="61784" y="74729"/>
                          <a:pt x="74141" y="77671"/>
                          <a:pt x="74141" y="77671"/>
                        </a:cubicBezTo>
                        <a:cubicBezTo>
                          <a:pt x="79437" y="79436"/>
                          <a:pt x="83556" y="77083"/>
                          <a:pt x="88263" y="81202"/>
                        </a:cubicBezTo>
                        <a:cubicBezTo>
                          <a:pt x="92970" y="85321"/>
                          <a:pt x="95913" y="94736"/>
                          <a:pt x="102385" y="102385"/>
                        </a:cubicBezTo>
                        <a:cubicBezTo>
                          <a:pt x="108857" y="110034"/>
                          <a:pt x="120037" y="118860"/>
                          <a:pt x="127098" y="127098"/>
                        </a:cubicBezTo>
                        <a:cubicBezTo>
                          <a:pt x="134159" y="135336"/>
                          <a:pt x="138278" y="144163"/>
                          <a:pt x="144751" y="151812"/>
                        </a:cubicBezTo>
                        <a:cubicBezTo>
                          <a:pt x="151224" y="159461"/>
                          <a:pt x="160050" y="166523"/>
                          <a:pt x="165934" y="172995"/>
                        </a:cubicBezTo>
                        <a:cubicBezTo>
                          <a:pt x="171818" y="179467"/>
                          <a:pt x="180056" y="190647"/>
                          <a:pt x="180056" y="190647"/>
                        </a:cubicBezTo>
                        <a:cubicBezTo>
                          <a:pt x="185352" y="194766"/>
                          <a:pt x="191825" y="194766"/>
                          <a:pt x="197709" y="197708"/>
                        </a:cubicBezTo>
                        <a:cubicBezTo>
                          <a:pt x="203593" y="200650"/>
                          <a:pt x="208889" y="205946"/>
                          <a:pt x="215361" y="208300"/>
                        </a:cubicBezTo>
                        <a:cubicBezTo>
                          <a:pt x="221833" y="210654"/>
                          <a:pt x="236544" y="211830"/>
                          <a:pt x="236544" y="211830"/>
                        </a:cubicBezTo>
                        <a:cubicBezTo>
                          <a:pt x="246547" y="213595"/>
                          <a:pt x="263612" y="214772"/>
                          <a:pt x="275380" y="218891"/>
                        </a:cubicBezTo>
                        <a:cubicBezTo>
                          <a:pt x="287148" y="223010"/>
                          <a:pt x="294797" y="228895"/>
                          <a:pt x="307154" y="236544"/>
                        </a:cubicBezTo>
                        <a:cubicBezTo>
                          <a:pt x="319511" y="244194"/>
                          <a:pt x="338340" y="253020"/>
                          <a:pt x="349520" y="264788"/>
                        </a:cubicBezTo>
                        <a:cubicBezTo>
                          <a:pt x="360700" y="276556"/>
                          <a:pt x="367761" y="295386"/>
                          <a:pt x="374234" y="307154"/>
                        </a:cubicBezTo>
                        <a:cubicBezTo>
                          <a:pt x="380707" y="318922"/>
                          <a:pt x="381295" y="324807"/>
                          <a:pt x="388356" y="335398"/>
                        </a:cubicBezTo>
                        <a:cubicBezTo>
                          <a:pt x="395417" y="345989"/>
                          <a:pt x="408951" y="355404"/>
                          <a:pt x="416600" y="370703"/>
                        </a:cubicBezTo>
                        <a:cubicBezTo>
                          <a:pt x="424249" y="386002"/>
                          <a:pt x="430722" y="413657"/>
                          <a:pt x="434252" y="427191"/>
                        </a:cubicBezTo>
                        <a:cubicBezTo>
                          <a:pt x="437782" y="440725"/>
                          <a:pt x="437782" y="446315"/>
                          <a:pt x="437783" y="451905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39" name="Полилиния 38"/>
                  <p:cNvSpPr/>
                  <p:nvPr/>
                </p:nvSpPr>
                <p:spPr>
                  <a:xfrm rot="508109">
                    <a:off x="6222747" y="1518381"/>
                    <a:ext cx="437783" cy="451906"/>
                  </a:xfrm>
                  <a:custGeom>
                    <a:avLst/>
                    <a:gdLst>
                      <a:gd name="connsiteX0" fmla="*/ 0 w 437783"/>
                      <a:gd name="connsiteY0" fmla="*/ 0 h 451905"/>
                      <a:gd name="connsiteX1" fmla="*/ 42366 w 437783"/>
                      <a:gd name="connsiteY1" fmla="*/ 52958 h 451905"/>
                      <a:gd name="connsiteX2" fmla="*/ 56488 w 437783"/>
                      <a:gd name="connsiteY2" fmla="*/ 70610 h 451905"/>
                      <a:gd name="connsiteX3" fmla="*/ 74141 w 437783"/>
                      <a:gd name="connsiteY3" fmla="*/ 77671 h 451905"/>
                      <a:gd name="connsiteX4" fmla="*/ 88263 w 437783"/>
                      <a:gd name="connsiteY4" fmla="*/ 81202 h 451905"/>
                      <a:gd name="connsiteX5" fmla="*/ 102385 w 437783"/>
                      <a:gd name="connsiteY5" fmla="*/ 102385 h 451905"/>
                      <a:gd name="connsiteX6" fmla="*/ 127098 w 437783"/>
                      <a:gd name="connsiteY6" fmla="*/ 127098 h 451905"/>
                      <a:gd name="connsiteX7" fmla="*/ 144751 w 437783"/>
                      <a:gd name="connsiteY7" fmla="*/ 151812 h 451905"/>
                      <a:gd name="connsiteX8" fmla="*/ 165934 w 437783"/>
                      <a:gd name="connsiteY8" fmla="*/ 172995 h 451905"/>
                      <a:gd name="connsiteX9" fmla="*/ 180056 w 437783"/>
                      <a:gd name="connsiteY9" fmla="*/ 190647 h 451905"/>
                      <a:gd name="connsiteX10" fmla="*/ 197709 w 437783"/>
                      <a:gd name="connsiteY10" fmla="*/ 197708 h 451905"/>
                      <a:gd name="connsiteX11" fmla="*/ 215361 w 437783"/>
                      <a:gd name="connsiteY11" fmla="*/ 208300 h 451905"/>
                      <a:gd name="connsiteX12" fmla="*/ 236544 w 437783"/>
                      <a:gd name="connsiteY12" fmla="*/ 211830 h 451905"/>
                      <a:gd name="connsiteX13" fmla="*/ 275380 w 437783"/>
                      <a:gd name="connsiteY13" fmla="*/ 218891 h 451905"/>
                      <a:gd name="connsiteX14" fmla="*/ 307154 w 437783"/>
                      <a:gd name="connsiteY14" fmla="*/ 236544 h 451905"/>
                      <a:gd name="connsiteX15" fmla="*/ 349520 w 437783"/>
                      <a:gd name="connsiteY15" fmla="*/ 264788 h 451905"/>
                      <a:gd name="connsiteX16" fmla="*/ 374234 w 437783"/>
                      <a:gd name="connsiteY16" fmla="*/ 307154 h 451905"/>
                      <a:gd name="connsiteX17" fmla="*/ 388356 w 437783"/>
                      <a:gd name="connsiteY17" fmla="*/ 335398 h 451905"/>
                      <a:gd name="connsiteX18" fmla="*/ 416600 w 437783"/>
                      <a:gd name="connsiteY18" fmla="*/ 370703 h 451905"/>
                      <a:gd name="connsiteX19" fmla="*/ 434252 w 437783"/>
                      <a:gd name="connsiteY19" fmla="*/ 427191 h 451905"/>
                      <a:gd name="connsiteX20" fmla="*/ 437783 w 437783"/>
                      <a:gd name="connsiteY20" fmla="*/ 451905 h 45190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437783" h="451905">
                        <a:moveTo>
                          <a:pt x="0" y="0"/>
                        </a:moveTo>
                        <a:lnTo>
                          <a:pt x="42366" y="52958"/>
                        </a:lnTo>
                        <a:cubicBezTo>
                          <a:pt x="51781" y="64726"/>
                          <a:pt x="51192" y="66491"/>
                          <a:pt x="56488" y="70610"/>
                        </a:cubicBezTo>
                        <a:cubicBezTo>
                          <a:pt x="61784" y="74729"/>
                          <a:pt x="74141" y="77671"/>
                          <a:pt x="74141" y="77671"/>
                        </a:cubicBezTo>
                        <a:cubicBezTo>
                          <a:pt x="79437" y="79436"/>
                          <a:pt x="83556" y="77083"/>
                          <a:pt x="88263" y="81202"/>
                        </a:cubicBezTo>
                        <a:cubicBezTo>
                          <a:pt x="92970" y="85321"/>
                          <a:pt x="95913" y="94736"/>
                          <a:pt x="102385" y="102385"/>
                        </a:cubicBezTo>
                        <a:cubicBezTo>
                          <a:pt x="108857" y="110034"/>
                          <a:pt x="120037" y="118860"/>
                          <a:pt x="127098" y="127098"/>
                        </a:cubicBezTo>
                        <a:cubicBezTo>
                          <a:pt x="134159" y="135336"/>
                          <a:pt x="138278" y="144163"/>
                          <a:pt x="144751" y="151812"/>
                        </a:cubicBezTo>
                        <a:cubicBezTo>
                          <a:pt x="151224" y="159461"/>
                          <a:pt x="160050" y="166523"/>
                          <a:pt x="165934" y="172995"/>
                        </a:cubicBezTo>
                        <a:cubicBezTo>
                          <a:pt x="171818" y="179467"/>
                          <a:pt x="180056" y="190647"/>
                          <a:pt x="180056" y="190647"/>
                        </a:cubicBezTo>
                        <a:cubicBezTo>
                          <a:pt x="185352" y="194766"/>
                          <a:pt x="191825" y="194766"/>
                          <a:pt x="197709" y="197708"/>
                        </a:cubicBezTo>
                        <a:cubicBezTo>
                          <a:pt x="203593" y="200650"/>
                          <a:pt x="208889" y="205946"/>
                          <a:pt x="215361" y="208300"/>
                        </a:cubicBezTo>
                        <a:cubicBezTo>
                          <a:pt x="221833" y="210654"/>
                          <a:pt x="236544" y="211830"/>
                          <a:pt x="236544" y="211830"/>
                        </a:cubicBezTo>
                        <a:cubicBezTo>
                          <a:pt x="246547" y="213595"/>
                          <a:pt x="263612" y="214772"/>
                          <a:pt x="275380" y="218891"/>
                        </a:cubicBezTo>
                        <a:cubicBezTo>
                          <a:pt x="287148" y="223010"/>
                          <a:pt x="294797" y="228895"/>
                          <a:pt x="307154" y="236544"/>
                        </a:cubicBezTo>
                        <a:cubicBezTo>
                          <a:pt x="319511" y="244194"/>
                          <a:pt x="338340" y="253020"/>
                          <a:pt x="349520" y="264788"/>
                        </a:cubicBezTo>
                        <a:cubicBezTo>
                          <a:pt x="360700" y="276556"/>
                          <a:pt x="367761" y="295386"/>
                          <a:pt x="374234" y="307154"/>
                        </a:cubicBezTo>
                        <a:cubicBezTo>
                          <a:pt x="380707" y="318922"/>
                          <a:pt x="381295" y="324807"/>
                          <a:pt x="388356" y="335398"/>
                        </a:cubicBezTo>
                        <a:cubicBezTo>
                          <a:pt x="395417" y="345989"/>
                          <a:pt x="408951" y="355404"/>
                          <a:pt x="416600" y="370703"/>
                        </a:cubicBezTo>
                        <a:cubicBezTo>
                          <a:pt x="424249" y="386002"/>
                          <a:pt x="430722" y="413657"/>
                          <a:pt x="434252" y="427191"/>
                        </a:cubicBezTo>
                        <a:cubicBezTo>
                          <a:pt x="437782" y="440725"/>
                          <a:pt x="437782" y="446315"/>
                          <a:pt x="437783" y="45190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0" name="Полилиния 39"/>
                  <p:cNvSpPr/>
                  <p:nvPr/>
                </p:nvSpPr>
                <p:spPr>
                  <a:xfrm>
                    <a:off x="5038026" y="1316877"/>
                    <a:ext cx="81202" cy="547228"/>
                  </a:xfrm>
                  <a:custGeom>
                    <a:avLst/>
                    <a:gdLst>
                      <a:gd name="connsiteX0" fmla="*/ 0 w 81202"/>
                      <a:gd name="connsiteY0" fmla="*/ 0 h 547228"/>
                      <a:gd name="connsiteX1" fmla="*/ 7061 w 81202"/>
                      <a:gd name="connsiteY1" fmla="*/ 84732 h 547228"/>
                      <a:gd name="connsiteX2" fmla="*/ 21183 w 81202"/>
                      <a:gd name="connsiteY2" fmla="*/ 112976 h 547228"/>
                      <a:gd name="connsiteX3" fmla="*/ 28244 w 81202"/>
                      <a:gd name="connsiteY3" fmla="*/ 134159 h 547228"/>
                      <a:gd name="connsiteX4" fmla="*/ 35305 w 81202"/>
                      <a:gd name="connsiteY4" fmla="*/ 155342 h 547228"/>
                      <a:gd name="connsiteX5" fmla="*/ 21183 w 81202"/>
                      <a:gd name="connsiteY5" fmla="*/ 194178 h 547228"/>
                      <a:gd name="connsiteX6" fmla="*/ 10592 w 81202"/>
                      <a:gd name="connsiteY6" fmla="*/ 233013 h 547228"/>
                      <a:gd name="connsiteX7" fmla="*/ 10592 w 81202"/>
                      <a:gd name="connsiteY7" fmla="*/ 275379 h 547228"/>
                      <a:gd name="connsiteX8" fmla="*/ 17653 w 81202"/>
                      <a:gd name="connsiteY8" fmla="*/ 307154 h 547228"/>
                      <a:gd name="connsiteX9" fmla="*/ 24714 w 81202"/>
                      <a:gd name="connsiteY9" fmla="*/ 321276 h 547228"/>
                      <a:gd name="connsiteX10" fmla="*/ 35305 w 81202"/>
                      <a:gd name="connsiteY10" fmla="*/ 335398 h 547228"/>
                      <a:gd name="connsiteX11" fmla="*/ 52958 w 81202"/>
                      <a:gd name="connsiteY11" fmla="*/ 356581 h 547228"/>
                      <a:gd name="connsiteX12" fmla="*/ 74141 w 81202"/>
                      <a:gd name="connsiteY12" fmla="*/ 391886 h 547228"/>
                      <a:gd name="connsiteX13" fmla="*/ 81202 w 81202"/>
                      <a:gd name="connsiteY13" fmla="*/ 444843 h 547228"/>
                      <a:gd name="connsiteX14" fmla="*/ 74141 w 81202"/>
                      <a:gd name="connsiteY14" fmla="*/ 480148 h 547228"/>
                      <a:gd name="connsiteX15" fmla="*/ 70610 w 81202"/>
                      <a:gd name="connsiteY15" fmla="*/ 529576 h 547228"/>
                      <a:gd name="connsiteX16" fmla="*/ 63549 w 81202"/>
                      <a:gd name="connsiteY16" fmla="*/ 547228 h 547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81202" h="547228">
                        <a:moveTo>
                          <a:pt x="0" y="0"/>
                        </a:moveTo>
                        <a:cubicBezTo>
                          <a:pt x="1765" y="32951"/>
                          <a:pt x="3531" y="65903"/>
                          <a:pt x="7061" y="84732"/>
                        </a:cubicBezTo>
                        <a:cubicBezTo>
                          <a:pt x="10591" y="103561"/>
                          <a:pt x="21183" y="112976"/>
                          <a:pt x="21183" y="112976"/>
                        </a:cubicBezTo>
                        <a:cubicBezTo>
                          <a:pt x="24713" y="121214"/>
                          <a:pt x="28244" y="134159"/>
                          <a:pt x="28244" y="134159"/>
                        </a:cubicBezTo>
                        <a:cubicBezTo>
                          <a:pt x="30598" y="141220"/>
                          <a:pt x="36482" y="145339"/>
                          <a:pt x="35305" y="155342"/>
                        </a:cubicBezTo>
                        <a:cubicBezTo>
                          <a:pt x="34128" y="165345"/>
                          <a:pt x="25302" y="181233"/>
                          <a:pt x="21183" y="194178"/>
                        </a:cubicBezTo>
                        <a:cubicBezTo>
                          <a:pt x="17064" y="207123"/>
                          <a:pt x="12357" y="219479"/>
                          <a:pt x="10592" y="233013"/>
                        </a:cubicBezTo>
                        <a:cubicBezTo>
                          <a:pt x="8827" y="246547"/>
                          <a:pt x="9415" y="263022"/>
                          <a:pt x="10592" y="275379"/>
                        </a:cubicBezTo>
                        <a:cubicBezTo>
                          <a:pt x="11769" y="287736"/>
                          <a:pt x="17653" y="307154"/>
                          <a:pt x="17653" y="307154"/>
                        </a:cubicBezTo>
                        <a:cubicBezTo>
                          <a:pt x="20007" y="314804"/>
                          <a:pt x="24714" y="321276"/>
                          <a:pt x="24714" y="321276"/>
                        </a:cubicBezTo>
                        <a:cubicBezTo>
                          <a:pt x="27656" y="325983"/>
                          <a:pt x="30598" y="329514"/>
                          <a:pt x="35305" y="335398"/>
                        </a:cubicBezTo>
                        <a:cubicBezTo>
                          <a:pt x="40012" y="341282"/>
                          <a:pt x="46485" y="347166"/>
                          <a:pt x="52958" y="356581"/>
                        </a:cubicBezTo>
                        <a:cubicBezTo>
                          <a:pt x="59431" y="365996"/>
                          <a:pt x="69434" y="377176"/>
                          <a:pt x="74141" y="391886"/>
                        </a:cubicBezTo>
                        <a:cubicBezTo>
                          <a:pt x="78848" y="406596"/>
                          <a:pt x="81202" y="430133"/>
                          <a:pt x="81202" y="444843"/>
                        </a:cubicBezTo>
                        <a:cubicBezTo>
                          <a:pt x="81202" y="459553"/>
                          <a:pt x="75906" y="466026"/>
                          <a:pt x="74141" y="480148"/>
                        </a:cubicBezTo>
                        <a:cubicBezTo>
                          <a:pt x="72376" y="494270"/>
                          <a:pt x="72375" y="518396"/>
                          <a:pt x="70610" y="529576"/>
                        </a:cubicBezTo>
                        <a:cubicBezTo>
                          <a:pt x="68845" y="540756"/>
                          <a:pt x="66197" y="543992"/>
                          <a:pt x="63549" y="54722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1" name="Полилиния 40"/>
                  <p:cNvSpPr/>
                  <p:nvPr/>
                </p:nvSpPr>
                <p:spPr>
                  <a:xfrm>
                    <a:off x="5035089" y="1306869"/>
                    <a:ext cx="81202" cy="547228"/>
                  </a:xfrm>
                  <a:custGeom>
                    <a:avLst/>
                    <a:gdLst>
                      <a:gd name="connsiteX0" fmla="*/ 0 w 81202"/>
                      <a:gd name="connsiteY0" fmla="*/ 0 h 547228"/>
                      <a:gd name="connsiteX1" fmla="*/ 7061 w 81202"/>
                      <a:gd name="connsiteY1" fmla="*/ 84732 h 547228"/>
                      <a:gd name="connsiteX2" fmla="*/ 21183 w 81202"/>
                      <a:gd name="connsiteY2" fmla="*/ 112976 h 547228"/>
                      <a:gd name="connsiteX3" fmla="*/ 28244 w 81202"/>
                      <a:gd name="connsiteY3" fmla="*/ 134159 h 547228"/>
                      <a:gd name="connsiteX4" fmla="*/ 35305 w 81202"/>
                      <a:gd name="connsiteY4" fmla="*/ 155342 h 547228"/>
                      <a:gd name="connsiteX5" fmla="*/ 21183 w 81202"/>
                      <a:gd name="connsiteY5" fmla="*/ 194178 h 547228"/>
                      <a:gd name="connsiteX6" fmla="*/ 10592 w 81202"/>
                      <a:gd name="connsiteY6" fmla="*/ 233013 h 547228"/>
                      <a:gd name="connsiteX7" fmla="*/ 10592 w 81202"/>
                      <a:gd name="connsiteY7" fmla="*/ 275379 h 547228"/>
                      <a:gd name="connsiteX8" fmla="*/ 17653 w 81202"/>
                      <a:gd name="connsiteY8" fmla="*/ 307154 h 547228"/>
                      <a:gd name="connsiteX9" fmla="*/ 24714 w 81202"/>
                      <a:gd name="connsiteY9" fmla="*/ 321276 h 547228"/>
                      <a:gd name="connsiteX10" fmla="*/ 35305 w 81202"/>
                      <a:gd name="connsiteY10" fmla="*/ 335398 h 547228"/>
                      <a:gd name="connsiteX11" fmla="*/ 52958 w 81202"/>
                      <a:gd name="connsiteY11" fmla="*/ 356581 h 547228"/>
                      <a:gd name="connsiteX12" fmla="*/ 74141 w 81202"/>
                      <a:gd name="connsiteY12" fmla="*/ 391886 h 547228"/>
                      <a:gd name="connsiteX13" fmla="*/ 81202 w 81202"/>
                      <a:gd name="connsiteY13" fmla="*/ 444843 h 547228"/>
                      <a:gd name="connsiteX14" fmla="*/ 74141 w 81202"/>
                      <a:gd name="connsiteY14" fmla="*/ 480148 h 547228"/>
                      <a:gd name="connsiteX15" fmla="*/ 70610 w 81202"/>
                      <a:gd name="connsiteY15" fmla="*/ 529576 h 547228"/>
                      <a:gd name="connsiteX16" fmla="*/ 63549 w 81202"/>
                      <a:gd name="connsiteY16" fmla="*/ 547228 h 5472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81202" h="547228">
                        <a:moveTo>
                          <a:pt x="0" y="0"/>
                        </a:moveTo>
                        <a:cubicBezTo>
                          <a:pt x="1765" y="32951"/>
                          <a:pt x="3531" y="65903"/>
                          <a:pt x="7061" y="84732"/>
                        </a:cubicBezTo>
                        <a:cubicBezTo>
                          <a:pt x="10591" y="103561"/>
                          <a:pt x="21183" y="112976"/>
                          <a:pt x="21183" y="112976"/>
                        </a:cubicBezTo>
                        <a:cubicBezTo>
                          <a:pt x="24713" y="121214"/>
                          <a:pt x="28244" y="134159"/>
                          <a:pt x="28244" y="134159"/>
                        </a:cubicBezTo>
                        <a:cubicBezTo>
                          <a:pt x="30598" y="141220"/>
                          <a:pt x="36482" y="145339"/>
                          <a:pt x="35305" y="155342"/>
                        </a:cubicBezTo>
                        <a:cubicBezTo>
                          <a:pt x="34128" y="165345"/>
                          <a:pt x="25302" y="181233"/>
                          <a:pt x="21183" y="194178"/>
                        </a:cubicBezTo>
                        <a:cubicBezTo>
                          <a:pt x="17064" y="207123"/>
                          <a:pt x="12357" y="219479"/>
                          <a:pt x="10592" y="233013"/>
                        </a:cubicBezTo>
                        <a:cubicBezTo>
                          <a:pt x="8827" y="246547"/>
                          <a:pt x="9415" y="263022"/>
                          <a:pt x="10592" y="275379"/>
                        </a:cubicBezTo>
                        <a:cubicBezTo>
                          <a:pt x="11769" y="287736"/>
                          <a:pt x="17653" y="307154"/>
                          <a:pt x="17653" y="307154"/>
                        </a:cubicBezTo>
                        <a:cubicBezTo>
                          <a:pt x="20007" y="314804"/>
                          <a:pt x="24714" y="321276"/>
                          <a:pt x="24714" y="321276"/>
                        </a:cubicBezTo>
                        <a:cubicBezTo>
                          <a:pt x="27656" y="325983"/>
                          <a:pt x="30598" y="329514"/>
                          <a:pt x="35305" y="335398"/>
                        </a:cubicBezTo>
                        <a:cubicBezTo>
                          <a:pt x="40012" y="341282"/>
                          <a:pt x="46485" y="347166"/>
                          <a:pt x="52958" y="356581"/>
                        </a:cubicBezTo>
                        <a:cubicBezTo>
                          <a:pt x="59431" y="365996"/>
                          <a:pt x="69434" y="377176"/>
                          <a:pt x="74141" y="391886"/>
                        </a:cubicBezTo>
                        <a:cubicBezTo>
                          <a:pt x="78848" y="406596"/>
                          <a:pt x="81202" y="430133"/>
                          <a:pt x="81202" y="444843"/>
                        </a:cubicBezTo>
                        <a:cubicBezTo>
                          <a:pt x="81202" y="459553"/>
                          <a:pt x="75906" y="466026"/>
                          <a:pt x="74141" y="480148"/>
                        </a:cubicBezTo>
                        <a:cubicBezTo>
                          <a:pt x="72376" y="494270"/>
                          <a:pt x="72375" y="518396"/>
                          <a:pt x="70610" y="529576"/>
                        </a:cubicBezTo>
                        <a:cubicBezTo>
                          <a:pt x="68845" y="540756"/>
                          <a:pt x="66197" y="543992"/>
                          <a:pt x="63549" y="547228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2" name="Полилиния 41"/>
                  <p:cNvSpPr/>
                  <p:nvPr/>
                </p:nvSpPr>
                <p:spPr>
                  <a:xfrm>
                    <a:off x="7098261" y="4575531"/>
                    <a:ext cx="803002" cy="473087"/>
                  </a:xfrm>
                  <a:custGeom>
                    <a:avLst/>
                    <a:gdLst>
                      <a:gd name="connsiteX0" fmla="*/ 803002 w 803002"/>
                      <a:gd name="connsiteY0" fmla="*/ 0 h 473087"/>
                      <a:gd name="connsiteX1" fmla="*/ 732392 w 803002"/>
                      <a:gd name="connsiteY1" fmla="*/ 31774 h 473087"/>
                      <a:gd name="connsiteX2" fmla="*/ 690026 w 803002"/>
                      <a:gd name="connsiteY2" fmla="*/ 56488 h 473087"/>
                      <a:gd name="connsiteX3" fmla="*/ 651191 w 803002"/>
                      <a:gd name="connsiteY3" fmla="*/ 88262 h 473087"/>
                      <a:gd name="connsiteX4" fmla="*/ 626477 w 803002"/>
                      <a:gd name="connsiteY4" fmla="*/ 130628 h 473087"/>
                      <a:gd name="connsiteX5" fmla="*/ 605294 w 803002"/>
                      <a:gd name="connsiteY5" fmla="*/ 169464 h 473087"/>
                      <a:gd name="connsiteX6" fmla="*/ 587642 w 803002"/>
                      <a:gd name="connsiteY6" fmla="*/ 208299 h 473087"/>
                      <a:gd name="connsiteX7" fmla="*/ 520562 w 803002"/>
                      <a:gd name="connsiteY7" fmla="*/ 229482 h 473087"/>
                      <a:gd name="connsiteX8" fmla="*/ 421708 w 803002"/>
                      <a:gd name="connsiteY8" fmla="*/ 264787 h 473087"/>
                      <a:gd name="connsiteX9" fmla="*/ 361690 w 803002"/>
                      <a:gd name="connsiteY9" fmla="*/ 293031 h 473087"/>
                      <a:gd name="connsiteX10" fmla="*/ 262836 w 803002"/>
                      <a:gd name="connsiteY10" fmla="*/ 328336 h 473087"/>
                      <a:gd name="connsiteX11" fmla="*/ 206347 w 803002"/>
                      <a:gd name="connsiteY11" fmla="*/ 345989 h 473087"/>
                      <a:gd name="connsiteX12" fmla="*/ 163981 w 803002"/>
                      <a:gd name="connsiteY12" fmla="*/ 360111 h 473087"/>
                      <a:gd name="connsiteX13" fmla="*/ 125146 w 803002"/>
                      <a:gd name="connsiteY13" fmla="*/ 388355 h 473087"/>
                      <a:gd name="connsiteX14" fmla="*/ 93371 w 803002"/>
                      <a:gd name="connsiteY14" fmla="*/ 398946 h 473087"/>
                      <a:gd name="connsiteX15" fmla="*/ 43944 w 803002"/>
                      <a:gd name="connsiteY15" fmla="*/ 430721 h 473087"/>
                      <a:gd name="connsiteX16" fmla="*/ 5109 w 803002"/>
                      <a:gd name="connsiteY16" fmla="*/ 466026 h 473087"/>
                      <a:gd name="connsiteX17" fmla="*/ 1578 w 803002"/>
                      <a:gd name="connsiteY17" fmla="*/ 473087 h 473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803002" h="473087">
                        <a:moveTo>
                          <a:pt x="803002" y="0"/>
                        </a:moveTo>
                        <a:cubicBezTo>
                          <a:pt x="777111" y="11179"/>
                          <a:pt x="751221" y="22359"/>
                          <a:pt x="732392" y="31774"/>
                        </a:cubicBezTo>
                        <a:cubicBezTo>
                          <a:pt x="713563" y="41189"/>
                          <a:pt x="703559" y="47073"/>
                          <a:pt x="690026" y="56488"/>
                        </a:cubicBezTo>
                        <a:cubicBezTo>
                          <a:pt x="676492" y="65903"/>
                          <a:pt x="661782" y="75905"/>
                          <a:pt x="651191" y="88262"/>
                        </a:cubicBezTo>
                        <a:cubicBezTo>
                          <a:pt x="640600" y="100619"/>
                          <a:pt x="634126" y="117094"/>
                          <a:pt x="626477" y="130628"/>
                        </a:cubicBezTo>
                        <a:cubicBezTo>
                          <a:pt x="618828" y="144162"/>
                          <a:pt x="611766" y="156519"/>
                          <a:pt x="605294" y="169464"/>
                        </a:cubicBezTo>
                        <a:cubicBezTo>
                          <a:pt x="598821" y="182409"/>
                          <a:pt x="601764" y="198296"/>
                          <a:pt x="587642" y="208299"/>
                        </a:cubicBezTo>
                        <a:cubicBezTo>
                          <a:pt x="573520" y="218302"/>
                          <a:pt x="548218" y="220067"/>
                          <a:pt x="520562" y="229482"/>
                        </a:cubicBezTo>
                        <a:cubicBezTo>
                          <a:pt x="492906" y="238897"/>
                          <a:pt x="448187" y="254196"/>
                          <a:pt x="421708" y="264787"/>
                        </a:cubicBezTo>
                        <a:cubicBezTo>
                          <a:pt x="395229" y="275378"/>
                          <a:pt x="388169" y="282440"/>
                          <a:pt x="361690" y="293031"/>
                        </a:cubicBezTo>
                        <a:cubicBezTo>
                          <a:pt x="335211" y="303622"/>
                          <a:pt x="288726" y="319510"/>
                          <a:pt x="262836" y="328336"/>
                        </a:cubicBezTo>
                        <a:cubicBezTo>
                          <a:pt x="236946" y="337162"/>
                          <a:pt x="222823" y="340693"/>
                          <a:pt x="206347" y="345989"/>
                        </a:cubicBezTo>
                        <a:cubicBezTo>
                          <a:pt x="189871" y="351285"/>
                          <a:pt x="177514" y="353050"/>
                          <a:pt x="163981" y="360111"/>
                        </a:cubicBezTo>
                        <a:cubicBezTo>
                          <a:pt x="150447" y="367172"/>
                          <a:pt x="136914" y="381883"/>
                          <a:pt x="125146" y="388355"/>
                        </a:cubicBezTo>
                        <a:cubicBezTo>
                          <a:pt x="113378" y="394827"/>
                          <a:pt x="106905" y="391885"/>
                          <a:pt x="93371" y="398946"/>
                        </a:cubicBezTo>
                        <a:cubicBezTo>
                          <a:pt x="79837" y="406007"/>
                          <a:pt x="58654" y="419541"/>
                          <a:pt x="43944" y="430721"/>
                        </a:cubicBezTo>
                        <a:cubicBezTo>
                          <a:pt x="29234" y="441901"/>
                          <a:pt x="5109" y="466026"/>
                          <a:pt x="5109" y="466026"/>
                        </a:cubicBezTo>
                        <a:cubicBezTo>
                          <a:pt x="-1952" y="473087"/>
                          <a:pt x="-187" y="473087"/>
                          <a:pt x="1578" y="473087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3" name="Полилиния 42"/>
                  <p:cNvSpPr/>
                  <p:nvPr/>
                </p:nvSpPr>
                <p:spPr>
                  <a:xfrm>
                    <a:off x="7080998" y="4556511"/>
                    <a:ext cx="803002" cy="473087"/>
                  </a:xfrm>
                  <a:custGeom>
                    <a:avLst/>
                    <a:gdLst>
                      <a:gd name="connsiteX0" fmla="*/ 803002 w 803002"/>
                      <a:gd name="connsiteY0" fmla="*/ 0 h 473087"/>
                      <a:gd name="connsiteX1" fmla="*/ 732392 w 803002"/>
                      <a:gd name="connsiteY1" fmla="*/ 31774 h 473087"/>
                      <a:gd name="connsiteX2" fmla="*/ 690026 w 803002"/>
                      <a:gd name="connsiteY2" fmla="*/ 56488 h 473087"/>
                      <a:gd name="connsiteX3" fmla="*/ 651191 w 803002"/>
                      <a:gd name="connsiteY3" fmla="*/ 88262 h 473087"/>
                      <a:gd name="connsiteX4" fmla="*/ 626477 w 803002"/>
                      <a:gd name="connsiteY4" fmla="*/ 130628 h 473087"/>
                      <a:gd name="connsiteX5" fmla="*/ 605294 w 803002"/>
                      <a:gd name="connsiteY5" fmla="*/ 169464 h 473087"/>
                      <a:gd name="connsiteX6" fmla="*/ 587642 w 803002"/>
                      <a:gd name="connsiteY6" fmla="*/ 208299 h 473087"/>
                      <a:gd name="connsiteX7" fmla="*/ 520562 w 803002"/>
                      <a:gd name="connsiteY7" fmla="*/ 229482 h 473087"/>
                      <a:gd name="connsiteX8" fmla="*/ 421708 w 803002"/>
                      <a:gd name="connsiteY8" fmla="*/ 264787 h 473087"/>
                      <a:gd name="connsiteX9" fmla="*/ 361690 w 803002"/>
                      <a:gd name="connsiteY9" fmla="*/ 293031 h 473087"/>
                      <a:gd name="connsiteX10" fmla="*/ 262836 w 803002"/>
                      <a:gd name="connsiteY10" fmla="*/ 328336 h 473087"/>
                      <a:gd name="connsiteX11" fmla="*/ 206347 w 803002"/>
                      <a:gd name="connsiteY11" fmla="*/ 345989 h 473087"/>
                      <a:gd name="connsiteX12" fmla="*/ 163981 w 803002"/>
                      <a:gd name="connsiteY12" fmla="*/ 360111 h 473087"/>
                      <a:gd name="connsiteX13" fmla="*/ 125146 w 803002"/>
                      <a:gd name="connsiteY13" fmla="*/ 388355 h 473087"/>
                      <a:gd name="connsiteX14" fmla="*/ 93371 w 803002"/>
                      <a:gd name="connsiteY14" fmla="*/ 398946 h 473087"/>
                      <a:gd name="connsiteX15" fmla="*/ 43944 w 803002"/>
                      <a:gd name="connsiteY15" fmla="*/ 430721 h 473087"/>
                      <a:gd name="connsiteX16" fmla="*/ 5109 w 803002"/>
                      <a:gd name="connsiteY16" fmla="*/ 466026 h 473087"/>
                      <a:gd name="connsiteX17" fmla="*/ 1578 w 803002"/>
                      <a:gd name="connsiteY17" fmla="*/ 473087 h 473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803002" h="473087">
                        <a:moveTo>
                          <a:pt x="803002" y="0"/>
                        </a:moveTo>
                        <a:cubicBezTo>
                          <a:pt x="777111" y="11179"/>
                          <a:pt x="751221" y="22359"/>
                          <a:pt x="732392" y="31774"/>
                        </a:cubicBezTo>
                        <a:cubicBezTo>
                          <a:pt x="713563" y="41189"/>
                          <a:pt x="703559" y="47073"/>
                          <a:pt x="690026" y="56488"/>
                        </a:cubicBezTo>
                        <a:cubicBezTo>
                          <a:pt x="676492" y="65903"/>
                          <a:pt x="661782" y="75905"/>
                          <a:pt x="651191" y="88262"/>
                        </a:cubicBezTo>
                        <a:cubicBezTo>
                          <a:pt x="640600" y="100619"/>
                          <a:pt x="634126" y="117094"/>
                          <a:pt x="626477" y="130628"/>
                        </a:cubicBezTo>
                        <a:cubicBezTo>
                          <a:pt x="618828" y="144162"/>
                          <a:pt x="611766" y="156519"/>
                          <a:pt x="605294" y="169464"/>
                        </a:cubicBezTo>
                        <a:cubicBezTo>
                          <a:pt x="598821" y="182409"/>
                          <a:pt x="601764" y="198296"/>
                          <a:pt x="587642" y="208299"/>
                        </a:cubicBezTo>
                        <a:cubicBezTo>
                          <a:pt x="573520" y="218302"/>
                          <a:pt x="548218" y="220067"/>
                          <a:pt x="520562" y="229482"/>
                        </a:cubicBezTo>
                        <a:cubicBezTo>
                          <a:pt x="492906" y="238897"/>
                          <a:pt x="448187" y="254196"/>
                          <a:pt x="421708" y="264787"/>
                        </a:cubicBezTo>
                        <a:cubicBezTo>
                          <a:pt x="395229" y="275378"/>
                          <a:pt x="388169" y="282440"/>
                          <a:pt x="361690" y="293031"/>
                        </a:cubicBezTo>
                        <a:cubicBezTo>
                          <a:pt x="335211" y="303622"/>
                          <a:pt x="288726" y="319510"/>
                          <a:pt x="262836" y="328336"/>
                        </a:cubicBezTo>
                        <a:cubicBezTo>
                          <a:pt x="236946" y="337162"/>
                          <a:pt x="222823" y="340693"/>
                          <a:pt x="206347" y="345989"/>
                        </a:cubicBezTo>
                        <a:cubicBezTo>
                          <a:pt x="189871" y="351285"/>
                          <a:pt x="177514" y="353050"/>
                          <a:pt x="163981" y="360111"/>
                        </a:cubicBezTo>
                        <a:cubicBezTo>
                          <a:pt x="150447" y="367172"/>
                          <a:pt x="136914" y="381883"/>
                          <a:pt x="125146" y="388355"/>
                        </a:cubicBezTo>
                        <a:cubicBezTo>
                          <a:pt x="113378" y="394827"/>
                          <a:pt x="106905" y="391885"/>
                          <a:pt x="93371" y="398946"/>
                        </a:cubicBezTo>
                        <a:cubicBezTo>
                          <a:pt x="79837" y="406007"/>
                          <a:pt x="58654" y="419541"/>
                          <a:pt x="43944" y="430721"/>
                        </a:cubicBezTo>
                        <a:cubicBezTo>
                          <a:pt x="29234" y="441901"/>
                          <a:pt x="5109" y="466026"/>
                          <a:pt x="5109" y="466026"/>
                        </a:cubicBezTo>
                        <a:cubicBezTo>
                          <a:pt x="-1952" y="473087"/>
                          <a:pt x="-187" y="473087"/>
                          <a:pt x="1578" y="473087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4" name="Полилиния 43"/>
                  <p:cNvSpPr/>
                  <p:nvPr/>
                </p:nvSpPr>
                <p:spPr>
                  <a:xfrm>
                    <a:off x="7118138" y="4589345"/>
                    <a:ext cx="803002" cy="473087"/>
                  </a:xfrm>
                  <a:custGeom>
                    <a:avLst/>
                    <a:gdLst>
                      <a:gd name="connsiteX0" fmla="*/ 803002 w 803002"/>
                      <a:gd name="connsiteY0" fmla="*/ 0 h 473087"/>
                      <a:gd name="connsiteX1" fmla="*/ 732392 w 803002"/>
                      <a:gd name="connsiteY1" fmla="*/ 31774 h 473087"/>
                      <a:gd name="connsiteX2" fmla="*/ 690026 w 803002"/>
                      <a:gd name="connsiteY2" fmla="*/ 56488 h 473087"/>
                      <a:gd name="connsiteX3" fmla="*/ 651191 w 803002"/>
                      <a:gd name="connsiteY3" fmla="*/ 88262 h 473087"/>
                      <a:gd name="connsiteX4" fmla="*/ 626477 w 803002"/>
                      <a:gd name="connsiteY4" fmla="*/ 130628 h 473087"/>
                      <a:gd name="connsiteX5" fmla="*/ 605294 w 803002"/>
                      <a:gd name="connsiteY5" fmla="*/ 169464 h 473087"/>
                      <a:gd name="connsiteX6" fmla="*/ 587642 w 803002"/>
                      <a:gd name="connsiteY6" fmla="*/ 208299 h 473087"/>
                      <a:gd name="connsiteX7" fmla="*/ 520562 w 803002"/>
                      <a:gd name="connsiteY7" fmla="*/ 229482 h 473087"/>
                      <a:gd name="connsiteX8" fmla="*/ 421708 w 803002"/>
                      <a:gd name="connsiteY8" fmla="*/ 264787 h 473087"/>
                      <a:gd name="connsiteX9" fmla="*/ 361690 w 803002"/>
                      <a:gd name="connsiteY9" fmla="*/ 293031 h 473087"/>
                      <a:gd name="connsiteX10" fmla="*/ 262836 w 803002"/>
                      <a:gd name="connsiteY10" fmla="*/ 328336 h 473087"/>
                      <a:gd name="connsiteX11" fmla="*/ 206347 w 803002"/>
                      <a:gd name="connsiteY11" fmla="*/ 345989 h 473087"/>
                      <a:gd name="connsiteX12" fmla="*/ 163981 w 803002"/>
                      <a:gd name="connsiteY12" fmla="*/ 360111 h 473087"/>
                      <a:gd name="connsiteX13" fmla="*/ 125146 w 803002"/>
                      <a:gd name="connsiteY13" fmla="*/ 388355 h 473087"/>
                      <a:gd name="connsiteX14" fmla="*/ 93371 w 803002"/>
                      <a:gd name="connsiteY14" fmla="*/ 398946 h 473087"/>
                      <a:gd name="connsiteX15" fmla="*/ 43944 w 803002"/>
                      <a:gd name="connsiteY15" fmla="*/ 430721 h 473087"/>
                      <a:gd name="connsiteX16" fmla="*/ 5109 w 803002"/>
                      <a:gd name="connsiteY16" fmla="*/ 466026 h 473087"/>
                      <a:gd name="connsiteX17" fmla="*/ 1578 w 803002"/>
                      <a:gd name="connsiteY17" fmla="*/ 473087 h 473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803002" h="473087">
                        <a:moveTo>
                          <a:pt x="803002" y="0"/>
                        </a:moveTo>
                        <a:cubicBezTo>
                          <a:pt x="777111" y="11179"/>
                          <a:pt x="751221" y="22359"/>
                          <a:pt x="732392" y="31774"/>
                        </a:cubicBezTo>
                        <a:cubicBezTo>
                          <a:pt x="713563" y="41189"/>
                          <a:pt x="703559" y="47073"/>
                          <a:pt x="690026" y="56488"/>
                        </a:cubicBezTo>
                        <a:cubicBezTo>
                          <a:pt x="676492" y="65903"/>
                          <a:pt x="661782" y="75905"/>
                          <a:pt x="651191" y="88262"/>
                        </a:cubicBezTo>
                        <a:cubicBezTo>
                          <a:pt x="640600" y="100619"/>
                          <a:pt x="634126" y="117094"/>
                          <a:pt x="626477" y="130628"/>
                        </a:cubicBezTo>
                        <a:cubicBezTo>
                          <a:pt x="618828" y="144162"/>
                          <a:pt x="611766" y="156519"/>
                          <a:pt x="605294" y="169464"/>
                        </a:cubicBezTo>
                        <a:cubicBezTo>
                          <a:pt x="598821" y="182409"/>
                          <a:pt x="601764" y="198296"/>
                          <a:pt x="587642" y="208299"/>
                        </a:cubicBezTo>
                        <a:cubicBezTo>
                          <a:pt x="573520" y="218302"/>
                          <a:pt x="548218" y="220067"/>
                          <a:pt x="520562" y="229482"/>
                        </a:cubicBezTo>
                        <a:cubicBezTo>
                          <a:pt x="492906" y="238897"/>
                          <a:pt x="448187" y="254196"/>
                          <a:pt x="421708" y="264787"/>
                        </a:cubicBezTo>
                        <a:cubicBezTo>
                          <a:pt x="395229" y="275378"/>
                          <a:pt x="388169" y="282440"/>
                          <a:pt x="361690" y="293031"/>
                        </a:cubicBezTo>
                        <a:cubicBezTo>
                          <a:pt x="335211" y="303622"/>
                          <a:pt x="288726" y="319510"/>
                          <a:pt x="262836" y="328336"/>
                        </a:cubicBezTo>
                        <a:cubicBezTo>
                          <a:pt x="236946" y="337162"/>
                          <a:pt x="222823" y="340693"/>
                          <a:pt x="206347" y="345989"/>
                        </a:cubicBezTo>
                        <a:cubicBezTo>
                          <a:pt x="189871" y="351285"/>
                          <a:pt x="177514" y="353050"/>
                          <a:pt x="163981" y="360111"/>
                        </a:cubicBezTo>
                        <a:cubicBezTo>
                          <a:pt x="150447" y="367172"/>
                          <a:pt x="136914" y="381883"/>
                          <a:pt x="125146" y="388355"/>
                        </a:cubicBezTo>
                        <a:cubicBezTo>
                          <a:pt x="113378" y="394827"/>
                          <a:pt x="106905" y="391885"/>
                          <a:pt x="93371" y="398946"/>
                        </a:cubicBezTo>
                        <a:cubicBezTo>
                          <a:pt x="79837" y="406007"/>
                          <a:pt x="58654" y="419541"/>
                          <a:pt x="43944" y="430721"/>
                        </a:cubicBezTo>
                        <a:cubicBezTo>
                          <a:pt x="29234" y="441901"/>
                          <a:pt x="5109" y="466026"/>
                          <a:pt x="5109" y="466026"/>
                        </a:cubicBezTo>
                        <a:cubicBezTo>
                          <a:pt x="-1952" y="473087"/>
                          <a:pt x="-187" y="473087"/>
                          <a:pt x="1578" y="473087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5" name="Полилиния 44"/>
                  <p:cNvSpPr/>
                  <p:nvPr/>
                </p:nvSpPr>
                <p:spPr>
                  <a:xfrm>
                    <a:off x="7098261" y="4571999"/>
                    <a:ext cx="803002" cy="473087"/>
                  </a:xfrm>
                  <a:custGeom>
                    <a:avLst/>
                    <a:gdLst>
                      <a:gd name="connsiteX0" fmla="*/ 803002 w 803002"/>
                      <a:gd name="connsiteY0" fmla="*/ 0 h 473087"/>
                      <a:gd name="connsiteX1" fmla="*/ 732392 w 803002"/>
                      <a:gd name="connsiteY1" fmla="*/ 31774 h 473087"/>
                      <a:gd name="connsiteX2" fmla="*/ 690026 w 803002"/>
                      <a:gd name="connsiteY2" fmla="*/ 56488 h 473087"/>
                      <a:gd name="connsiteX3" fmla="*/ 651191 w 803002"/>
                      <a:gd name="connsiteY3" fmla="*/ 88262 h 473087"/>
                      <a:gd name="connsiteX4" fmla="*/ 626477 w 803002"/>
                      <a:gd name="connsiteY4" fmla="*/ 130628 h 473087"/>
                      <a:gd name="connsiteX5" fmla="*/ 605294 w 803002"/>
                      <a:gd name="connsiteY5" fmla="*/ 169464 h 473087"/>
                      <a:gd name="connsiteX6" fmla="*/ 587642 w 803002"/>
                      <a:gd name="connsiteY6" fmla="*/ 208299 h 473087"/>
                      <a:gd name="connsiteX7" fmla="*/ 520562 w 803002"/>
                      <a:gd name="connsiteY7" fmla="*/ 229482 h 473087"/>
                      <a:gd name="connsiteX8" fmla="*/ 421708 w 803002"/>
                      <a:gd name="connsiteY8" fmla="*/ 264787 h 473087"/>
                      <a:gd name="connsiteX9" fmla="*/ 361690 w 803002"/>
                      <a:gd name="connsiteY9" fmla="*/ 293031 h 473087"/>
                      <a:gd name="connsiteX10" fmla="*/ 262836 w 803002"/>
                      <a:gd name="connsiteY10" fmla="*/ 328336 h 473087"/>
                      <a:gd name="connsiteX11" fmla="*/ 206347 w 803002"/>
                      <a:gd name="connsiteY11" fmla="*/ 345989 h 473087"/>
                      <a:gd name="connsiteX12" fmla="*/ 163981 w 803002"/>
                      <a:gd name="connsiteY12" fmla="*/ 360111 h 473087"/>
                      <a:gd name="connsiteX13" fmla="*/ 125146 w 803002"/>
                      <a:gd name="connsiteY13" fmla="*/ 388355 h 473087"/>
                      <a:gd name="connsiteX14" fmla="*/ 93371 w 803002"/>
                      <a:gd name="connsiteY14" fmla="*/ 398946 h 473087"/>
                      <a:gd name="connsiteX15" fmla="*/ 43944 w 803002"/>
                      <a:gd name="connsiteY15" fmla="*/ 430721 h 473087"/>
                      <a:gd name="connsiteX16" fmla="*/ 5109 w 803002"/>
                      <a:gd name="connsiteY16" fmla="*/ 466026 h 473087"/>
                      <a:gd name="connsiteX17" fmla="*/ 1578 w 803002"/>
                      <a:gd name="connsiteY17" fmla="*/ 473087 h 4730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803002" h="473087">
                        <a:moveTo>
                          <a:pt x="803002" y="0"/>
                        </a:moveTo>
                        <a:cubicBezTo>
                          <a:pt x="777111" y="11179"/>
                          <a:pt x="751221" y="22359"/>
                          <a:pt x="732392" y="31774"/>
                        </a:cubicBezTo>
                        <a:cubicBezTo>
                          <a:pt x="713563" y="41189"/>
                          <a:pt x="703559" y="47073"/>
                          <a:pt x="690026" y="56488"/>
                        </a:cubicBezTo>
                        <a:cubicBezTo>
                          <a:pt x="676492" y="65903"/>
                          <a:pt x="661782" y="75905"/>
                          <a:pt x="651191" y="88262"/>
                        </a:cubicBezTo>
                        <a:cubicBezTo>
                          <a:pt x="640600" y="100619"/>
                          <a:pt x="634126" y="117094"/>
                          <a:pt x="626477" y="130628"/>
                        </a:cubicBezTo>
                        <a:cubicBezTo>
                          <a:pt x="618828" y="144162"/>
                          <a:pt x="611766" y="156519"/>
                          <a:pt x="605294" y="169464"/>
                        </a:cubicBezTo>
                        <a:cubicBezTo>
                          <a:pt x="598821" y="182409"/>
                          <a:pt x="601764" y="198296"/>
                          <a:pt x="587642" y="208299"/>
                        </a:cubicBezTo>
                        <a:cubicBezTo>
                          <a:pt x="573520" y="218302"/>
                          <a:pt x="548218" y="220067"/>
                          <a:pt x="520562" y="229482"/>
                        </a:cubicBezTo>
                        <a:cubicBezTo>
                          <a:pt x="492906" y="238897"/>
                          <a:pt x="448187" y="254196"/>
                          <a:pt x="421708" y="264787"/>
                        </a:cubicBezTo>
                        <a:cubicBezTo>
                          <a:pt x="395229" y="275378"/>
                          <a:pt x="388169" y="282440"/>
                          <a:pt x="361690" y="293031"/>
                        </a:cubicBezTo>
                        <a:cubicBezTo>
                          <a:pt x="335211" y="303622"/>
                          <a:pt x="288726" y="319510"/>
                          <a:pt x="262836" y="328336"/>
                        </a:cubicBezTo>
                        <a:cubicBezTo>
                          <a:pt x="236946" y="337162"/>
                          <a:pt x="222823" y="340693"/>
                          <a:pt x="206347" y="345989"/>
                        </a:cubicBezTo>
                        <a:cubicBezTo>
                          <a:pt x="189871" y="351285"/>
                          <a:pt x="177514" y="353050"/>
                          <a:pt x="163981" y="360111"/>
                        </a:cubicBezTo>
                        <a:cubicBezTo>
                          <a:pt x="150447" y="367172"/>
                          <a:pt x="136914" y="381883"/>
                          <a:pt x="125146" y="388355"/>
                        </a:cubicBezTo>
                        <a:cubicBezTo>
                          <a:pt x="113378" y="394827"/>
                          <a:pt x="106905" y="391885"/>
                          <a:pt x="93371" y="398946"/>
                        </a:cubicBezTo>
                        <a:cubicBezTo>
                          <a:pt x="79837" y="406007"/>
                          <a:pt x="58654" y="419541"/>
                          <a:pt x="43944" y="430721"/>
                        </a:cubicBezTo>
                        <a:cubicBezTo>
                          <a:pt x="29234" y="441901"/>
                          <a:pt x="5109" y="466026"/>
                          <a:pt x="5109" y="466026"/>
                        </a:cubicBezTo>
                        <a:cubicBezTo>
                          <a:pt x="-1952" y="473087"/>
                          <a:pt x="-187" y="473087"/>
                          <a:pt x="1578" y="473087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6" name="Полилиния 45"/>
                  <p:cNvSpPr/>
                  <p:nvPr/>
                </p:nvSpPr>
                <p:spPr>
                  <a:xfrm>
                    <a:off x="972403" y="4735773"/>
                    <a:ext cx="160361" cy="92123"/>
                  </a:xfrm>
                  <a:custGeom>
                    <a:avLst/>
                    <a:gdLst>
                      <a:gd name="connsiteX0" fmla="*/ 0 w 160361"/>
                      <a:gd name="connsiteY0" fmla="*/ 0 h 92123"/>
                      <a:gd name="connsiteX1" fmla="*/ 61415 w 160361"/>
                      <a:gd name="connsiteY1" fmla="*/ 47767 h 92123"/>
                      <a:gd name="connsiteX2" fmla="*/ 102358 w 160361"/>
                      <a:gd name="connsiteY2" fmla="*/ 58003 h 92123"/>
                      <a:gd name="connsiteX3" fmla="*/ 129654 w 160361"/>
                      <a:gd name="connsiteY3" fmla="*/ 71651 h 92123"/>
                      <a:gd name="connsiteX4" fmla="*/ 153537 w 160361"/>
                      <a:gd name="connsiteY4" fmla="*/ 81887 h 92123"/>
                      <a:gd name="connsiteX5" fmla="*/ 160361 w 160361"/>
                      <a:gd name="connsiteY5" fmla="*/ 92123 h 92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0361" h="92123">
                        <a:moveTo>
                          <a:pt x="0" y="0"/>
                        </a:moveTo>
                        <a:cubicBezTo>
                          <a:pt x="22177" y="19050"/>
                          <a:pt x="44355" y="38100"/>
                          <a:pt x="61415" y="47767"/>
                        </a:cubicBezTo>
                        <a:cubicBezTo>
                          <a:pt x="78475" y="57434"/>
                          <a:pt x="90985" y="54022"/>
                          <a:pt x="102358" y="58003"/>
                        </a:cubicBezTo>
                        <a:cubicBezTo>
                          <a:pt x="113731" y="61984"/>
                          <a:pt x="121124" y="67670"/>
                          <a:pt x="129654" y="71651"/>
                        </a:cubicBezTo>
                        <a:cubicBezTo>
                          <a:pt x="138184" y="75632"/>
                          <a:pt x="153537" y="81887"/>
                          <a:pt x="153537" y="81887"/>
                        </a:cubicBezTo>
                        <a:cubicBezTo>
                          <a:pt x="158655" y="85299"/>
                          <a:pt x="159508" y="88711"/>
                          <a:pt x="160361" y="92123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7" name="Полилиния 46"/>
                  <p:cNvSpPr/>
                  <p:nvPr/>
                </p:nvSpPr>
                <p:spPr>
                  <a:xfrm>
                    <a:off x="971263" y="4734633"/>
                    <a:ext cx="160361" cy="92123"/>
                  </a:xfrm>
                  <a:custGeom>
                    <a:avLst/>
                    <a:gdLst>
                      <a:gd name="connsiteX0" fmla="*/ 0 w 160361"/>
                      <a:gd name="connsiteY0" fmla="*/ 0 h 92123"/>
                      <a:gd name="connsiteX1" fmla="*/ 61415 w 160361"/>
                      <a:gd name="connsiteY1" fmla="*/ 47767 h 92123"/>
                      <a:gd name="connsiteX2" fmla="*/ 102358 w 160361"/>
                      <a:gd name="connsiteY2" fmla="*/ 58003 h 92123"/>
                      <a:gd name="connsiteX3" fmla="*/ 129654 w 160361"/>
                      <a:gd name="connsiteY3" fmla="*/ 71651 h 92123"/>
                      <a:gd name="connsiteX4" fmla="*/ 153537 w 160361"/>
                      <a:gd name="connsiteY4" fmla="*/ 81887 h 92123"/>
                      <a:gd name="connsiteX5" fmla="*/ 160361 w 160361"/>
                      <a:gd name="connsiteY5" fmla="*/ 92123 h 92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60361" h="92123">
                        <a:moveTo>
                          <a:pt x="0" y="0"/>
                        </a:moveTo>
                        <a:cubicBezTo>
                          <a:pt x="22177" y="19050"/>
                          <a:pt x="44355" y="38100"/>
                          <a:pt x="61415" y="47767"/>
                        </a:cubicBezTo>
                        <a:cubicBezTo>
                          <a:pt x="78475" y="57434"/>
                          <a:pt x="90985" y="54022"/>
                          <a:pt x="102358" y="58003"/>
                        </a:cubicBezTo>
                        <a:cubicBezTo>
                          <a:pt x="113731" y="61984"/>
                          <a:pt x="121124" y="67670"/>
                          <a:pt x="129654" y="71651"/>
                        </a:cubicBezTo>
                        <a:cubicBezTo>
                          <a:pt x="138184" y="75632"/>
                          <a:pt x="153537" y="81887"/>
                          <a:pt x="153537" y="81887"/>
                        </a:cubicBezTo>
                        <a:cubicBezTo>
                          <a:pt x="158655" y="85299"/>
                          <a:pt x="159508" y="88711"/>
                          <a:pt x="160361" y="92123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8" name="Полилиния 47"/>
                  <p:cNvSpPr/>
                  <p:nvPr/>
                </p:nvSpPr>
                <p:spPr>
                  <a:xfrm>
                    <a:off x="3582537" y="1897039"/>
                    <a:ext cx="371902" cy="191068"/>
                  </a:xfrm>
                  <a:custGeom>
                    <a:avLst/>
                    <a:gdLst>
                      <a:gd name="connsiteX0" fmla="*/ 371902 w 371902"/>
                      <a:gd name="connsiteY0" fmla="*/ 0 h 191068"/>
                      <a:gd name="connsiteX1" fmla="*/ 300251 w 371902"/>
                      <a:gd name="connsiteY1" fmla="*/ 30707 h 191068"/>
                      <a:gd name="connsiteX2" fmla="*/ 255896 w 371902"/>
                      <a:gd name="connsiteY2" fmla="*/ 34119 h 191068"/>
                      <a:gd name="connsiteX3" fmla="*/ 232012 w 371902"/>
                      <a:gd name="connsiteY3" fmla="*/ 47767 h 191068"/>
                      <a:gd name="connsiteX4" fmla="*/ 191069 w 371902"/>
                      <a:gd name="connsiteY4" fmla="*/ 92122 h 191068"/>
                      <a:gd name="connsiteX5" fmla="*/ 163773 w 371902"/>
                      <a:gd name="connsiteY5" fmla="*/ 136477 h 191068"/>
                      <a:gd name="connsiteX6" fmla="*/ 133066 w 371902"/>
                      <a:gd name="connsiteY6" fmla="*/ 167185 h 191068"/>
                      <a:gd name="connsiteX7" fmla="*/ 98947 w 371902"/>
                      <a:gd name="connsiteY7" fmla="*/ 170597 h 191068"/>
                      <a:gd name="connsiteX8" fmla="*/ 58003 w 371902"/>
                      <a:gd name="connsiteY8" fmla="*/ 180833 h 191068"/>
                      <a:gd name="connsiteX9" fmla="*/ 10236 w 371902"/>
                      <a:gd name="connsiteY9" fmla="*/ 184245 h 191068"/>
                      <a:gd name="connsiteX10" fmla="*/ 0 w 371902"/>
                      <a:gd name="connsiteY10" fmla="*/ 191068 h 1910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71902" h="191068">
                        <a:moveTo>
                          <a:pt x="371902" y="0"/>
                        </a:moveTo>
                        <a:cubicBezTo>
                          <a:pt x="345743" y="12510"/>
                          <a:pt x="319585" y="25021"/>
                          <a:pt x="300251" y="30707"/>
                        </a:cubicBezTo>
                        <a:cubicBezTo>
                          <a:pt x="280917" y="36393"/>
                          <a:pt x="267269" y="31276"/>
                          <a:pt x="255896" y="34119"/>
                        </a:cubicBezTo>
                        <a:cubicBezTo>
                          <a:pt x="244523" y="36962"/>
                          <a:pt x="242816" y="38100"/>
                          <a:pt x="232012" y="47767"/>
                        </a:cubicBezTo>
                        <a:cubicBezTo>
                          <a:pt x="221208" y="57434"/>
                          <a:pt x="202442" y="77337"/>
                          <a:pt x="191069" y="92122"/>
                        </a:cubicBezTo>
                        <a:cubicBezTo>
                          <a:pt x="179696" y="106907"/>
                          <a:pt x="173440" y="123966"/>
                          <a:pt x="163773" y="136477"/>
                        </a:cubicBezTo>
                        <a:cubicBezTo>
                          <a:pt x="154106" y="148988"/>
                          <a:pt x="143870" y="161498"/>
                          <a:pt x="133066" y="167185"/>
                        </a:cubicBezTo>
                        <a:cubicBezTo>
                          <a:pt x="122262" y="172872"/>
                          <a:pt x="111457" y="168322"/>
                          <a:pt x="98947" y="170597"/>
                        </a:cubicBezTo>
                        <a:cubicBezTo>
                          <a:pt x="86436" y="172872"/>
                          <a:pt x="72788" y="178558"/>
                          <a:pt x="58003" y="180833"/>
                        </a:cubicBezTo>
                        <a:cubicBezTo>
                          <a:pt x="43218" y="183108"/>
                          <a:pt x="10236" y="184245"/>
                          <a:pt x="10236" y="184245"/>
                        </a:cubicBezTo>
                        <a:cubicBezTo>
                          <a:pt x="569" y="185951"/>
                          <a:pt x="284" y="188509"/>
                          <a:pt x="0" y="19106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49" name="Полилиния 48"/>
                  <p:cNvSpPr/>
                  <p:nvPr/>
                </p:nvSpPr>
                <p:spPr>
                  <a:xfrm>
                    <a:off x="3577985" y="1895899"/>
                    <a:ext cx="371902" cy="191068"/>
                  </a:xfrm>
                  <a:custGeom>
                    <a:avLst/>
                    <a:gdLst>
                      <a:gd name="connsiteX0" fmla="*/ 371902 w 371902"/>
                      <a:gd name="connsiteY0" fmla="*/ 0 h 191068"/>
                      <a:gd name="connsiteX1" fmla="*/ 300251 w 371902"/>
                      <a:gd name="connsiteY1" fmla="*/ 30707 h 191068"/>
                      <a:gd name="connsiteX2" fmla="*/ 255896 w 371902"/>
                      <a:gd name="connsiteY2" fmla="*/ 34119 h 191068"/>
                      <a:gd name="connsiteX3" fmla="*/ 232012 w 371902"/>
                      <a:gd name="connsiteY3" fmla="*/ 47767 h 191068"/>
                      <a:gd name="connsiteX4" fmla="*/ 191069 w 371902"/>
                      <a:gd name="connsiteY4" fmla="*/ 92122 h 191068"/>
                      <a:gd name="connsiteX5" fmla="*/ 163773 w 371902"/>
                      <a:gd name="connsiteY5" fmla="*/ 136477 h 191068"/>
                      <a:gd name="connsiteX6" fmla="*/ 133066 w 371902"/>
                      <a:gd name="connsiteY6" fmla="*/ 167185 h 191068"/>
                      <a:gd name="connsiteX7" fmla="*/ 98947 w 371902"/>
                      <a:gd name="connsiteY7" fmla="*/ 170597 h 191068"/>
                      <a:gd name="connsiteX8" fmla="*/ 58003 w 371902"/>
                      <a:gd name="connsiteY8" fmla="*/ 180833 h 191068"/>
                      <a:gd name="connsiteX9" fmla="*/ 10236 w 371902"/>
                      <a:gd name="connsiteY9" fmla="*/ 184245 h 191068"/>
                      <a:gd name="connsiteX10" fmla="*/ 0 w 371902"/>
                      <a:gd name="connsiteY10" fmla="*/ 191068 h 19106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71902" h="191068">
                        <a:moveTo>
                          <a:pt x="371902" y="0"/>
                        </a:moveTo>
                        <a:cubicBezTo>
                          <a:pt x="345743" y="12510"/>
                          <a:pt x="319585" y="25021"/>
                          <a:pt x="300251" y="30707"/>
                        </a:cubicBezTo>
                        <a:cubicBezTo>
                          <a:pt x="280917" y="36393"/>
                          <a:pt x="267269" y="31276"/>
                          <a:pt x="255896" y="34119"/>
                        </a:cubicBezTo>
                        <a:cubicBezTo>
                          <a:pt x="244523" y="36962"/>
                          <a:pt x="242816" y="38100"/>
                          <a:pt x="232012" y="47767"/>
                        </a:cubicBezTo>
                        <a:cubicBezTo>
                          <a:pt x="221208" y="57434"/>
                          <a:pt x="202442" y="77337"/>
                          <a:pt x="191069" y="92122"/>
                        </a:cubicBezTo>
                        <a:cubicBezTo>
                          <a:pt x="179696" y="106907"/>
                          <a:pt x="173440" y="123966"/>
                          <a:pt x="163773" y="136477"/>
                        </a:cubicBezTo>
                        <a:cubicBezTo>
                          <a:pt x="154106" y="148988"/>
                          <a:pt x="143870" y="161498"/>
                          <a:pt x="133066" y="167185"/>
                        </a:cubicBezTo>
                        <a:cubicBezTo>
                          <a:pt x="122262" y="172872"/>
                          <a:pt x="111457" y="168322"/>
                          <a:pt x="98947" y="170597"/>
                        </a:cubicBezTo>
                        <a:cubicBezTo>
                          <a:pt x="86436" y="172872"/>
                          <a:pt x="72788" y="178558"/>
                          <a:pt x="58003" y="180833"/>
                        </a:cubicBezTo>
                        <a:cubicBezTo>
                          <a:pt x="43218" y="183108"/>
                          <a:pt x="10236" y="184245"/>
                          <a:pt x="10236" y="184245"/>
                        </a:cubicBezTo>
                        <a:cubicBezTo>
                          <a:pt x="569" y="185951"/>
                          <a:pt x="284" y="188509"/>
                          <a:pt x="0" y="191068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0" name="Полилиния 49"/>
                  <p:cNvSpPr/>
                  <p:nvPr/>
                </p:nvSpPr>
                <p:spPr>
                  <a:xfrm>
                    <a:off x="7627583" y="2862144"/>
                    <a:ext cx="247266" cy="1081585"/>
                  </a:xfrm>
                  <a:custGeom>
                    <a:avLst/>
                    <a:gdLst>
                      <a:gd name="connsiteX0" fmla="*/ 192347 w 247266"/>
                      <a:gd name="connsiteY0" fmla="*/ 0 h 1081585"/>
                      <a:gd name="connsiteX1" fmla="*/ 117285 w 247266"/>
                      <a:gd name="connsiteY1" fmla="*/ 58003 h 1081585"/>
                      <a:gd name="connsiteX2" fmla="*/ 89989 w 247266"/>
                      <a:gd name="connsiteY2" fmla="*/ 85299 h 1081585"/>
                      <a:gd name="connsiteX3" fmla="*/ 72929 w 247266"/>
                      <a:gd name="connsiteY3" fmla="*/ 129654 h 1081585"/>
                      <a:gd name="connsiteX4" fmla="*/ 55870 w 247266"/>
                      <a:gd name="connsiteY4" fmla="*/ 146714 h 1081585"/>
                      <a:gd name="connsiteX5" fmla="*/ 42222 w 247266"/>
                      <a:gd name="connsiteY5" fmla="*/ 187657 h 1081585"/>
                      <a:gd name="connsiteX6" fmla="*/ 52458 w 247266"/>
                      <a:gd name="connsiteY6" fmla="*/ 232012 h 1081585"/>
                      <a:gd name="connsiteX7" fmla="*/ 55870 w 247266"/>
                      <a:gd name="connsiteY7" fmla="*/ 266132 h 1081585"/>
                      <a:gd name="connsiteX8" fmla="*/ 42222 w 247266"/>
                      <a:gd name="connsiteY8" fmla="*/ 290015 h 1081585"/>
                      <a:gd name="connsiteX9" fmla="*/ 21750 w 247266"/>
                      <a:gd name="connsiteY9" fmla="*/ 303663 h 1081585"/>
                      <a:gd name="connsiteX10" fmla="*/ 11514 w 247266"/>
                      <a:gd name="connsiteY10" fmla="*/ 348018 h 1081585"/>
                      <a:gd name="connsiteX11" fmla="*/ 1279 w 247266"/>
                      <a:gd name="connsiteY11" fmla="*/ 392373 h 1081585"/>
                      <a:gd name="connsiteX12" fmla="*/ 1279 w 247266"/>
                      <a:gd name="connsiteY12" fmla="*/ 423081 h 1081585"/>
                      <a:gd name="connsiteX13" fmla="*/ 11514 w 247266"/>
                      <a:gd name="connsiteY13" fmla="*/ 450376 h 1081585"/>
                      <a:gd name="connsiteX14" fmla="*/ 18338 w 247266"/>
                      <a:gd name="connsiteY14" fmla="*/ 474260 h 1081585"/>
                      <a:gd name="connsiteX15" fmla="*/ 18338 w 247266"/>
                      <a:gd name="connsiteY15" fmla="*/ 511791 h 1081585"/>
                      <a:gd name="connsiteX16" fmla="*/ 42222 w 247266"/>
                      <a:gd name="connsiteY16" fmla="*/ 549323 h 1081585"/>
                      <a:gd name="connsiteX17" fmla="*/ 79753 w 247266"/>
                      <a:gd name="connsiteY17" fmla="*/ 586854 h 1081585"/>
                      <a:gd name="connsiteX18" fmla="*/ 100225 w 247266"/>
                      <a:gd name="connsiteY18" fmla="*/ 603914 h 1081585"/>
                      <a:gd name="connsiteX19" fmla="*/ 107049 w 247266"/>
                      <a:gd name="connsiteY19" fmla="*/ 648269 h 1081585"/>
                      <a:gd name="connsiteX20" fmla="*/ 103637 w 247266"/>
                      <a:gd name="connsiteY20" fmla="*/ 689212 h 1081585"/>
                      <a:gd name="connsiteX21" fmla="*/ 124108 w 247266"/>
                      <a:gd name="connsiteY21" fmla="*/ 736979 h 1081585"/>
                      <a:gd name="connsiteX22" fmla="*/ 141168 w 247266"/>
                      <a:gd name="connsiteY22" fmla="*/ 747215 h 1081585"/>
                      <a:gd name="connsiteX23" fmla="*/ 141168 w 247266"/>
                      <a:gd name="connsiteY23" fmla="*/ 781335 h 1081585"/>
                      <a:gd name="connsiteX24" fmla="*/ 151404 w 247266"/>
                      <a:gd name="connsiteY24" fmla="*/ 815454 h 1081585"/>
                      <a:gd name="connsiteX25" fmla="*/ 154816 w 247266"/>
                      <a:gd name="connsiteY25" fmla="*/ 852985 h 1081585"/>
                      <a:gd name="connsiteX26" fmla="*/ 151404 w 247266"/>
                      <a:gd name="connsiteY26" fmla="*/ 887105 h 1081585"/>
                      <a:gd name="connsiteX27" fmla="*/ 151404 w 247266"/>
                      <a:gd name="connsiteY27" fmla="*/ 948520 h 1081585"/>
                      <a:gd name="connsiteX28" fmla="*/ 171876 w 247266"/>
                      <a:gd name="connsiteY28" fmla="*/ 986051 h 1081585"/>
                      <a:gd name="connsiteX29" fmla="*/ 226467 w 247266"/>
                      <a:gd name="connsiteY29" fmla="*/ 1023582 h 1081585"/>
                      <a:gd name="connsiteX30" fmla="*/ 243526 w 247266"/>
                      <a:gd name="connsiteY30" fmla="*/ 1037230 h 1081585"/>
                      <a:gd name="connsiteX31" fmla="*/ 246938 w 247266"/>
                      <a:gd name="connsiteY31" fmla="*/ 1061114 h 1081585"/>
                      <a:gd name="connsiteX32" fmla="*/ 246938 w 247266"/>
                      <a:gd name="connsiteY32" fmla="*/ 1081585 h 10815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247266" h="1081585">
                        <a:moveTo>
                          <a:pt x="192347" y="0"/>
                        </a:moveTo>
                        <a:cubicBezTo>
                          <a:pt x="163346" y="21893"/>
                          <a:pt x="134345" y="43787"/>
                          <a:pt x="117285" y="58003"/>
                        </a:cubicBezTo>
                        <a:cubicBezTo>
                          <a:pt x="100225" y="72219"/>
                          <a:pt x="97382" y="73357"/>
                          <a:pt x="89989" y="85299"/>
                        </a:cubicBezTo>
                        <a:cubicBezTo>
                          <a:pt x="82596" y="97241"/>
                          <a:pt x="78615" y="119418"/>
                          <a:pt x="72929" y="129654"/>
                        </a:cubicBezTo>
                        <a:cubicBezTo>
                          <a:pt x="67242" y="139890"/>
                          <a:pt x="60988" y="137047"/>
                          <a:pt x="55870" y="146714"/>
                        </a:cubicBezTo>
                        <a:cubicBezTo>
                          <a:pt x="50752" y="156381"/>
                          <a:pt x="42791" y="173441"/>
                          <a:pt x="42222" y="187657"/>
                        </a:cubicBezTo>
                        <a:cubicBezTo>
                          <a:pt x="41653" y="201873"/>
                          <a:pt x="50183" y="218933"/>
                          <a:pt x="52458" y="232012"/>
                        </a:cubicBezTo>
                        <a:cubicBezTo>
                          <a:pt x="54733" y="245091"/>
                          <a:pt x="57576" y="256465"/>
                          <a:pt x="55870" y="266132"/>
                        </a:cubicBezTo>
                        <a:cubicBezTo>
                          <a:pt x="54164" y="275799"/>
                          <a:pt x="47908" y="283760"/>
                          <a:pt x="42222" y="290015"/>
                        </a:cubicBezTo>
                        <a:cubicBezTo>
                          <a:pt x="36536" y="296270"/>
                          <a:pt x="26868" y="293996"/>
                          <a:pt x="21750" y="303663"/>
                        </a:cubicBezTo>
                        <a:cubicBezTo>
                          <a:pt x="16632" y="313330"/>
                          <a:pt x="11514" y="348018"/>
                          <a:pt x="11514" y="348018"/>
                        </a:cubicBezTo>
                        <a:cubicBezTo>
                          <a:pt x="8102" y="362803"/>
                          <a:pt x="2985" y="379863"/>
                          <a:pt x="1279" y="392373"/>
                        </a:cubicBezTo>
                        <a:cubicBezTo>
                          <a:pt x="-427" y="404884"/>
                          <a:pt x="-427" y="413414"/>
                          <a:pt x="1279" y="423081"/>
                        </a:cubicBezTo>
                        <a:cubicBezTo>
                          <a:pt x="2985" y="432748"/>
                          <a:pt x="8671" y="441846"/>
                          <a:pt x="11514" y="450376"/>
                        </a:cubicBezTo>
                        <a:cubicBezTo>
                          <a:pt x="14357" y="458906"/>
                          <a:pt x="17201" y="464024"/>
                          <a:pt x="18338" y="474260"/>
                        </a:cubicBezTo>
                        <a:cubicBezTo>
                          <a:pt x="19475" y="484496"/>
                          <a:pt x="14357" y="499281"/>
                          <a:pt x="18338" y="511791"/>
                        </a:cubicBezTo>
                        <a:cubicBezTo>
                          <a:pt x="22319" y="524301"/>
                          <a:pt x="31986" y="536812"/>
                          <a:pt x="42222" y="549323"/>
                        </a:cubicBezTo>
                        <a:cubicBezTo>
                          <a:pt x="52458" y="561834"/>
                          <a:pt x="70086" y="577756"/>
                          <a:pt x="79753" y="586854"/>
                        </a:cubicBezTo>
                        <a:cubicBezTo>
                          <a:pt x="89420" y="595952"/>
                          <a:pt x="95676" y="593678"/>
                          <a:pt x="100225" y="603914"/>
                        </a:cubicBezTo>
                        <a:cubicBezTo>
                          <a:pt x="104774" y="614150"/>
                          <a:pt x="106480" y="634053"/>
                          <a:pt x="107049" y="648269"/>
                        </a:cubicBezTo>
                        <a:cubicBezTo>
                          <a:pt x="107618" y="662485"/>
                          <a:pt x="100794" y="674427"/>
                          <a:pt x="103637" y="689212"/>
                        </a:cubicBezTo>
                        <a:cubicBezTo>
                          <a:pt x="106480" y="703997"/>
                          <a:pt x="117853" y="727312"/>
                          <a:pt x="124108" y="736979"/>
                        </a:cubicBezTo>
                        <a:cubicBezTo>
                          <a:pt x="130363" y="746646"/>
                          <a:pt x="138325" y="739822"/>
                          <a:pt x="141168" y="747215"/>
                        </a:cubicBezTo>
                        <a:cubicBezTo>
                          <a:pt x="144011" y="754608"/>
                          <a:pt x="139462" y="769962"/>
                          <a:pt x="141168" y="781335"/>
                        </a:cubicBezTo>
                        <a:cubicBezTo>
                          <a:pt x="142874" y="792708"/>
                          <a:pt x="149129" y="803512"/>
                          <a:pt x="151404" y="815454"/>
                        </a:cubicBezTo>
                        <a:cubicBezTo>
                          <a:pt x="153679" y="827396"/>
                          <a:pt x="154816" y="841043"/>
                          <a:pt x="154816" y="852985"/>
                        </a:cubicBezTo>
                        <a:cubicBezTo>
                          <a:pt x="154816" y="864927"/>
                          <a:pt x="151973" y="871183"/>
                          <a:pt x="151404" y="887105"/>
                        </a:cubicBezTo>
                        <a:cubicBezTo>
                          <a:pt x="150835" y="903027"/>
                          <a:pt x="147992" y="932029"/>
                          <a:pt x="151404" y="948520"/>
                        </a:cubicBezTo>
                        <a:cubicBezTo>
                          <a:pt x="154816" y="965011"/>
                          <a:pt x="159365" y="973541"/>
                          <a:pt x="171876" y="986051"/>
                        </a:cubicBezTo>
                        <a:cubicBezTo>
                          <a:pt x="184386" y="998561"/>
                          <a:pt x="214525" y="1015052"/>
                          <a:pt x="226467" y="1023582"/>
                        </a:cubicBezTo>
                        <a:cubicBezTo>
                          <a:pt x="238409" y="1032112"/>
                          <a:pt x="240114" y="1030975"/>
                          <a:pt x="243526" y="1037230"/>
                        </a:cubicBezTo>
                        <a:cubicBezTo>
                          <a:pt x="246938" y="1043485"/>
                          <a:pt x="246369" y="1053722"/>
                          <a:pt x="246938" y="1061114"/>
                        </a:cubicBezTo>
                        <a:cubicBezTo>
                          <a:pt x="247507" y="1068506"/>
                          <a:pt x="247222" y="1075045"/>
                          <a:pt x="246938" y="1081585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1" name="Полилиния 50"/>
                  <p:cNvSpPr/>
                  <p:nvPr/>
                </p:nvSpPr>
                <p:spPr>
                  <a:xfrm>
                    <a:off x="7626680" y="2858066"/>
                    <a:ext cx="247266" cy="1081585"/>
                  </a:xfrm>
                  <a:custGeom>
                    <a:avLst/>
                    <a:gdLst>
                      <a:gd name="connsiteX0" fmla="*/ 192347 w 247266"/>
                      <a:gd name="connsiteY0" fmla="*/ 0 h 1081585"/>
                      <a:gd name="connsiteX1" fmla="*/ 117285 w 247266"/>
                      <a:gd name="connsiteY1" fmla="*/ 58003 h 1081585"/>
                      <a:gd name="connsiteX2" fmla="*/ 89989 w 247266"/>
                      <a:gd name="connsiteY2" fmla="*/ 85299 h 1081585"/>
                      <a:gd name="connsiteX3" fmla="*/ 72929 w 247266"/>
                      <a:gd name="connsiteY3" fmla="*/ 129654 h 1081585"/>
                      <a:gd name="connsiteX4" fmla="*/ 55870 w 247266"/>
                      <a:gd name="connsiteY4" fmla="*/ 146714 h 1081585"/>
                      <a:gd name="connsiteX5" fmla="*/ 42222 w 247266"/>
                      <a:gd name="connsiteY5" fmla="*/ 187657 h 1081585"/>
                      <a:gd name="connsiteX6" fmla="*/ 52458 w 247266"/>
                      <a:gd name="connsiteY6" fmla="*/ 232012 h 1081585"/>
                      <a:gd name="connsiteX7" fmla="*/ 55870 w 247266"/>
                      <a:gd name="connsiteY7" fmla="*/ 266132 h 1081585"/>
                      <a:gd name="connsiteX8" fmla="*/ 42222 w 247266"/>
                      <a:gd name="connsiteY8" fmla="*/ 290015 h 1081585"/>
                      <a:gd name="connsiteX9" fmla="*/ 21750 w 247266"/>
                      <a:gd name="connsiteY9" fmla="*/ 303663 h 1081585"/>
                      <a:gd name="connsiteX10" fmla="*/ 11514 w 247266"/>
                      <a:gd name="connsiteY10" fmla="*/ 348018 h 1081585"/>
                      <a:gd name="connsiteX11" fmla="*/ 1279 w 247266"/>
                      <a:gd name="connsiteY11" fmla="*/ 392373 h 1081585"/>
                      <a:gd name="connsiteX12" fmla="*/ 1279 w 247266"/>
                      <a:gd name="connsiteY12" fmla="*/ 423081 h 1081585"/>
                      <a:gd name="connsiteX13" fmla="*/ 11514 w 247266"/>
                      <a:gd name="connsiteY13" fmla="*/ 450376 h 1081585"/>
                      <a:gd name="connsiteX14" fmla="*/ 18338 w 247266"/>
                      <a:gd name="connsiteY14" fmla="*/ 474260 h 1081585"/>
                      <a:gd name="connsiteX15" fmla="*/ 18338 w 247266"/>
                      <a:gd name="connsiteY15" fmla="*/ 511791 h 1081585"/>
                      <a:gd name="connsiteX16" fmla="*/ 42222 w 247266"/>
                      <a:gd name="connsiteY16" fmla="*/ 549323 h 1081585"/>
                      <a:gd name="connsiteX17" fmla="*/ 79753 w 247266"/>
                      <a:gd name="connsiteY17" fmla="*/ 586854 h 1081585"/>
                      <a:gd name="connsiteX18" fmla="*/ 100225 w 247266"/>
                      <a:gd name="connsiteY18" fmla="*/ 603914 h 1081585"/>
                      <a:gd name="connsiteX19" fmla="*/ 107049 w 247266"/>
                      <a:gd name="connsiteY19" fmla="*/ 648269 h 1081585"/>
                      <a:gd name="connsiteX20" fmla="*/ 103637 w 247266"/>
                      <a:gd name="connsiteY20" fmla="*/ 689212 h 1081585"/>
                      <a:gd name="connsiteX21" fmla="*/ 124108 w 247266"/>
                      <a:gd name="connsiteY21" fmla="*/ 736979 h 1081585"/>
                      <a:gd name="connsiteX22" fmla="*/ 141168 w 247266"/>
                      <a:gd name="connsiteY22" fmla="*/ 747215 h 1081585"/>
                      <a:gd name="connsiteX23" fmla="*/ 141168 w 247266"/>
                      <a:gd name="connsiteY23" fmla="*/ 781335 h 1081585"/>
                      <a:gd name="connsiteX24" fmla="*/ 151404 w 247266"/>
                      <a:gd name="connsiteY24" fmla="*/ 815454 h 1081585"/>
                      <a:gd name="connsiteX25" fmla="*/ 154816 w 247266"/>
                      <a:gd name="connsiteY25" fmla="*/ 852985 h 1081585"/>
                      <a:gd name="connsiteX26" fmla="*/ 151404 w 247266"/>
                      <a:gd name="connsiteY26" fmla="*/ 887105 h 1081585"/>
                      <a:gd name="connsiteX27" fmla="*/ 151404 w 247266"/>
                      <a:gd name="connsiteY27" fmla="*/ 948520 h 1081585"/>
                      <a:gd name="connsiteX28" fmla="*/ 171876 w 247266"/>
                      <a:gd name="connsiteY28" fmla="*/ 986051 h 1081585"/>
                      <a:gd name="connsiteX29" fmla="*/ 226467 w 247266"/>
                      <a:gd name="connsiteY29" fmla="*/ 1023582 h 1081585"/>
                      <a:gd name="connsiteX30" fmla="*/ 243526 w 247266"/>
                      <a:gd name="connsiteY30" fmla="*/ 1037230 h 1081585"/>
                      <a:gd name="connsiteX31" fmla="*/ 246938 w 247266"/>
                      <a:gd name="connsiteY31" fmla="*/ 1061114 h 1081585"/>
                      <a:gd name="connsiteX32" fmla="*/ 246938 w 247266"/>
                      <a:gd name="connsiteY32" fmla="*/ 1081585 h 10815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247266" h="1081585">
                        <a:moveTo>
                          <a:pt x="192347" y="0"/>
                        </a:moveTo>
                        <a:cubicBezTo>
                          <a:pt x="163346" y="21893"/>
                          <a:pt x="134345" y="43787"/>
                          <a:pt x="117285" y="58003"/>
                        </a:cubicBezTo>
                        <a:cubicBezTo>
                          <a:pt x="100225" y="72219"/>
                          <a:pt x="97382" y="73357"/>
                          <a:pt x="89989" y="85299"/>
                        </a:cubicBezTo>
                        <a:cubicBezTo>
                          <a:pt x="82596" y="97241"/>
                          <a:pt x="78615" y="119418"/>
                          <a:pt x="72929" y="129654"/>
                        </a:cubicBezTo>
                        <a:cubicBezTo>
                          <a:pt x="67242" y="139890"/>
                          <a:pt x="60988" y="137047"/>
                          <a:pt x="55870" y="146714"/>
                        </a:cubicBezTo>
                        <a:cubicBezTo>
                          <a:pt x="50752" y="156381"/>
                          <a:pt x="42791" y="173441"/>
                          <a:pt x="42222" y="187657"/>
                        </a:cubicBezTo>
                        <a:cubicBezTo>
                          <a:pt x="41653" y="201873"/>
                          <a:pt x="50183" y="218933"/>
                          <a:pt x="52458" y="232012"/>
                        </a:cubicBezTo>
                        <a:cubicBezTo>
                          <a:pt x="54733" y="245091"/>
                          <a:pt x="57576" y="256465"/>
                          <a:pt x="55870" y="266132"/>
                        </a:cubicBezTo>
                        <a:cubicBezTo>
                          <a:pt x="54164" y="275799"/>
                          <a:pt x="47908" y="283760"/>
                          <a:pt x="42222" y="290015"/>
                        </a:cubicBezTo>
                        <a:cubicBezTo>
                          <a:pt x="36536" y="296270"/>
                          <a:pt x="26868" y="293996"/>
                          <a:pt x="21750" y="303663"/>
                        </a:cubicBezTo>
                        <a:cubicBezTo>
                          <a:pt x="16632" y="313330"/>
                          <a:pt x="11514" y="348018"/>
                          <a:pt x="11514" y="348018"/>
                        </a:cubicBezTo>
                        <a:cubicBezTo>
                          <a:pt x="8102" y="362803"/>
                          <a:pt x="2985" y="379863"/>
                          <a:pt x="1279" y="392373"/>
                        </a:cubicBezTo>
                        <a:cubicBezTo>
                          <a:pt x="-427" y="404884"/>
                          <a:pt x="-427" y="413414"/>
                          <a:pt x="1279" y="423081"/>
                        </a:cubicBezTo>
                        <a:cubicBezTo>
                          <a:pt x="2985" y="432748"/>
                          <a:pt x="8671" y="441846"/>
                          <a:pt x="11514" y="450376"/>
                        </a:cubicBezTo>
                        <a:cubicBezTo>
                          <a:pt x="14357" y="458906"/>
                          <a:pt x="17201" y="464024"/>
                          <a:pt x="18338" y="474260"/>
                        </a:cubicBezTo>
                        <a:cubicBezTo>
                          <a:pt x="19475" y="484496"/>
                          <a:pt x="14357" y="499281"/>
                          <a:pt x="18338" y="511791"/>
                        </a:cubicBezTo>
                        <a:cubicBezTo>
                          <a:pt x="22319" y="524301"/>
                          <a:pt x="31986" y="536812"/>
                          <a:pt x="42222" y="549323"/>
                        </a:cubicBezTo>
                        <a:cubicBezTo>
                          <a:pt x="52458" y="561834"/>
                          <a:pt x="70086" y="577756"/>
                          <a:pt x="79753" y="586854"/>
                        </a:cubicBezTo>
                        <a:cubicBezTo>
                          <a:pt x="89420" y="595952"/>
                          <a:pt x="95676" y="593678"/>
                          <a:pt x="100225" y="603914"/>
                        </a:cubicBezTo>
                        <a:cubicBezTo>
                          <a:pt x="104774" y="614150"/>
                          <a:pt x="106480" y="634053"/>
                          <a:pt x="107049" y="648269"/>
                        </a:cubicBezTo>
                        <a:cubicBezTo>
                          <a:pt x="107618" y="662485"/>
                          <a:pt x="100794" y="674427"/>
                          <a:pt x="103637" y="689212"/>
                        </a:cubicBezTo>
                        <a:cubicBezTo>
                          <a:pt x="106480" y="703997"/>
                          <a:pt x="117853" y="727312"/>
                          <a:pt x="124108" y="736979"/>
                        </a:cubicBezTo>
                        <a:cubicBezTo>
                          <a:pt x="130363" y="746646"/>
                          <a:pt x="138325" y="739822"/>
                          <a:pt x="141168" y="747215"/>
                        </a:cubicBezTo>
                        <a:cubicBezTo>
                          <a:pt x="144011" y="754608"/>
                          <a:pt x="139462" y="769962"/>
                          <a:pt x="141168" y="781335"/>
                        </a:cubicBezTo>
                        <a:cubicBezTo>
                          <a:pt x="142874" y="792708"/>
                          <a:pt x="149129" y="803512"/>
                          <a:pt x="151404" y="815454"/>
                        </a:cubicBezTo>
                        <a:cubicBezTo>
                          <a:pt x="153679" y="827396"/>
                          <a:pt x="154816" y="841043"/>
                          <a:pt x="154816" y="852985"/>
                        </a:cubicBezTo>
                        <a:cubicBezTo>
                          <a:pt x="154816" y="864927"/>
                          <a:pt x="151973" y="871183"/>
                          <a:pt x="151404" y="887105"/>
                        </a:cubicBezTo>
                        <a:cubicBezTo>
                          <a:pt x="150835" y="903027"/>
                          <a:pt x="147992" y="932029"/>
                          <a:pt x="151404" y="948520"/>
                        </a:cubicBezTo>
                        <a:cubicBezTo>
                          <a:pt x="154816" y="965011"/>
                          <a:pt x="159365" y="973541"/>
                          <a:pt x="171876" y="986051"/>
                        </a:cubicBezTo>
                        <a:cubicBezTo>
                          <a:pt x="184386" y="998561"/>
                          <a:pt x="214525" y="1015052"/>
                          <a:pt x="226467" y="1023582"/>
                        </a:cubicBezTo>
                        <a:cubicBezTo>
                          <a:pt x="238409" y="1032112"/>
                          <a:pt x="240114" y="1030975"/>
                          <a:pt x="243526" y="1037230"/>
                        </a:cubicBezTo>
                        <a:cubicBezTo>
                          <a:pt x="246938" y="1043485"/>
                          <a:pt x="246369" y="1053722"/>
                          <a:pt x="246938" y="1061114"/>
                        </a:cubicBezTo>
                        <a:cubicBezTo>
                          <a:pt x="247507" y="1068506"/>
                          <a:pt x="247222" y="1075045"/>
                          <a:pt x="246938" y="108158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3" name="Полилиния 52"/>
                  <p:cNvSpPr/>
                  <p:nvPr/>
                </p:nvSpPr>
                <p:spPr>
                  <a:xfrm>
                    <a:off x="7919113" y="2933890"/>
                    <a:ext cx="931460" cy="355337"/>
                  </a:xfrm>
                  <a:custGeom>
                    <a:avLst/>
                    <a:gdLst>
                      <a:gd name="connsiteX0" fmla="*/ 931460 w 931460"/>
                      <a:gd name="connsiteY0" fmla="*/ 314277 h 355337"/>
                      <a:gd name="connsiteX1" fmla="*/ 866633 w 931460"/>
                      <a:gd name="connsiteY1" fmla="*/ 293806 h 355337"/>
                      <a:gd name="connsiteX2" fmla="*/ 839338 w 931460"/>
                      <a:gd name="connsiteY2" fmla="*/ 280158 h 355337"/>
                      <a:gd name="connsiteX3" fmla="*/ 812042 w 931460"/>
                      <a:gd name="connsiteY3" fmla="*/ 280158 h 355337"/>
                      <a:gd name="connsiteX4" fmla="*/ 788159 w 931460"/>
                      <a:gd name="connsiteY4" fmla="*/ 314277 h 355337"/>
                      <a:gd name="connsiteX5" fmla="*/ 781335 w 931460"/>
                      <a:gd name="connsiteY5" fmla="*/ 338161 h 355337"/>
                      <a:gd name="connsiteX6" fmla="*/ 767687 w 931460"/>
                      <a:gd name="connsiteY6" fmla="*/ 355220 h 355337"/>
                      <a:gd name="connsiteX7" fmla="*/ 730156 w 931460"/>
                      <a:gd name="connsiteY7" fmla="*/ 344985 h 355337"/>
                      <a:gd name="connsiteX8" fmla="*/ 696036 w 931460"/>
                      <a:gd name="connsiteY8" fmla="*/ 331337 h 355337"/>
                      <a:gd name="connsiteX9" fmla="*/ 634621 w 931460"/>
                      <a:gd name="connsiteY9" fmla="*/ 321101 h 355337"/>
                      <a:gd name="connsiteX10" fmla="*/ 586854 w 931460"/>
                      <a:gd name="connsiteY10" fmla="*/ 331337 h 355337"/>
                      <a:gd name="connsiteX11" fmla="*/ 484496 w 931460"/>
                      <a:gd name="connsiteY11" fmla="*/ 300629 h 355337"/>
                      <a:gd name="connsiteX12" fmla="*/ 446965 w 931460"/>
                      <a:gd name="connsiteY12" fmla="*/ 314277 h 355337"/>
                      <a:gd name="connsiteX13" fmla="*/ 395786 w 931460"/>
                      <a:gd name="connsiteY13" fmla="*/ 307453 h 355337"/>
                      <a:gd name="connsiteX14" fmla="*/ 375314 w 931460"/>
                      <a:gd name="connsiteY14" fmla="*/ 290394 h 355337"/>
                      <a:gd name="connsiteX15" fmla="*/ 341194 w 931460"/>
                      <a:gd name="connsiteY15" fmla="*/ 269922 h 355337"/>
                      <a:gd name="connsiteX16" fmla="*/ 286603 w 931460"/>
                      <a:gd name="connsiteY16" fmla="*/ 249450 h 355337"/>
                      <a:gd name="connsiteX17" fmla="*/ 269544 w 931460"/>
                      <a:gd name="connsiteY17" fmla="*/ 228979 h 355337"/>
                      <a:gd name="connsiteX18" fmla="*/ 235424 w 931460"/>
                      <a:gd name="connsiteY18" fmla="*/ 205095 h 355337"/>
                      <a:gd name="connsiteX19" fmla="*/ 218365 w 931460"/>
                      <a:gd name="connsiteY19" fmla="*/ 184623 h 355337"/>
                      <a:gd name="connsiteX20" fmla="*/ 211541 w 931460"/>
                      <a:gd name="connsiteY20" fmla="*/ 160740 h 355337"/>
                      <a:gd name="connsiteX21" fmla="*/ 170597 w 931460"/>
                      <a:gd name="connsiteY21" fmla="*/ 123209 h 355337"/>
                      <a:gd name="connsiteX22" fmla="*/ 156950 w 931460"/>
                      <a:gd name="connsiteY22" fmla="*/ 112973 h 355337"/>
                      <a:gd name="connsiteX23" fmla="*/ 136478 w 931460"/>
                      <a:gd name="connsiteY23" fmla="*/ 99325 h 355337"/>
                      <a:gd name="connsiteX24" fmla="*/ 105771 w 931460"/>
                      <a:gd name="connsiteY24" fmla="*/ 75441 h 355337"/>
                      <a:gd name="connsiteX25" fmla="*/ 75063 w 931460"/>
                      <a:gd name="connsiteY25" fmla="*/ 54970 h 355337"/>
                      <a:gd name="connsiteX26" fmla="*/ 20472 w 931460"/>
                      <a:gd name="connsiteY26" fmla="*/ 27674 h 355337"/>
                      <a:gd name="connsiteX27" fmla="*/ 6824 w 931460"/>
                      <a:gd name="connsiteY27" fmla="*/ 3791 h 355337"/>
                      <a:gd name="connsiteX28" fmla="*/ 0 w 931460"/>
                      <a:gd name="connsiteY28" fmla="*/ 379 h 3553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931460" h="355337">
                        <a:moveTo>
                          <a:pt x="931460" y="314277"/>
                        </a:moveTo>
                        <a:cubicBezTo>
                          <a:pt x="906723" y="306884"/>
                          <a:pt x="881987" y="299492"/>
                          <a:pt x="866633" y="293806"/>
                        </a:cubicBezTo>
                        <a:cubicBezTo>
                          <a:pt x="851279" y="288119"/>
                          <a:pt x="848437" y="282433"/>
                          <a:pt x="839338" y="280158"/>
                        </a:cubicBezTo>
                        <a:cubicBezTo>
                          <a:pt x="830239" y="277883"/>
                          <a:pt x="820572" y="274472"/>
                          <a:pt x="812042" y="280158"/>
                        </a:cubicBezTo>
                        <a:cubicBezTo>
                          <a:pt x="803512" y="285844"/>
                          <a:pt x="793277" y="304610"/>
                          <a:pt x="788159" y="314277"/>
                        </a:cubicBezTo>
                        <a:cubicBezTo>
                          <a:pt x="783041" y="323944"/>
                          <a:pt x="784747" y="331337"/>
                          <a:pt x="781335" y="338161"/>
                        </a:cubicBezTo>
                        <a:cubicBezTo>
                          <a:pt x="777923" y="344985"/>
                          <a:pt x="776217" y="354083"/>
                          <a:pt x="767687" y="355220"/>
                        </a:cubicBezTo>
                        <a:cubicBezTo>
                          <a:pt x="759157" y="356357"/>
                          <a:pt x="742098" y="348965"/>
                          <a:pt x="730156" y="344985"/>
                        </a:cubicBezTo>
                        <a:cubicBezTo>
                          <a:pt x="718214" y="341005"/>
                          <a:pt x="711958" y="335318"/>
                          <a:pt x="696036" y="331337"/>
                        </a:cubicBezTo>
                        <a:cubicBezTo>
                          <a:pt x="680114" y="327356"/>
                          <a:pt x="652818" y="321101"/>
                          <a:pt x="634621" y="321101"/>
                        </a:cubicBezTo>
                        <a:cubicBezTo>
                          <a:pt x="616424" y="321101"/>
                          <a:pt x="611875" y="334749"/>
                          <a:pt x="586854" y="331337"/>
                        </a:cubicBezTo>
                        <a:cubicBezTo>
                          <a:pt x="561833" y="327925"/>
                          <a:pt x="507811" y="303472"/>
                          <a:pt x="484496" y="300629"/>
                        </a:cubicBezTo>
                        <a:cubicBezTo>
                          <a:pt x="461181" y="297786"/>
                          <a:pt x="461750" y="313140"/>
                          <a:pt x="446965" y="314277"/>
                        </a:cubicBezTo>
                        <a:cubicBezTo>
                          <a:pt x="432180" y="315414"/>
                          <a:pt x="407728" y="311433"/>
                          <a:pt x="395786" y="307453"/>
                        </a:cubicBezTo>
                        <a:cubicBezTo>
                          <a:pt x="383844" y="303473"/>
                          <a:pt x="384413" y="296649"/>
                          <a:pt x="375314" y="290394"/>
                        </a:cubicBezTo>
                        <a:cubicBezTo>
                          <a:pt x="366215" y="284139"/>
                          <a:pt x="355979" y="276746"/>
                          <a:pt x="341194" y="269922"/>
                        </a:cubicBezTo>
                        <a:cubicBezTo>
                          <a:pt x="326409" y="263098"/>
                          <a:pt x="298545" y="256274"/>
                          <a:pt x="286603" y="249450"/>
                        </a:cubicBezTo>
                        <a:cubicBezTo>
                          <a:pt x="274661" y="242626"/>
                          <a:pt x="278074" y="236371"/>
                          <a:pt x="269544" y="228979"/>
                        </a:cubicBezTo>
                        <a:cubicBezTo>
                          <a:pt x="261014" y="221586"/>
                          <a:pt x="235424" y="205095"/>
                          <a:pt x="235424" y="205095"/>
                        </a:cubicBezTo>
                        <a:cubicBezTo>
                          <a:pt x="226894" y="197702"/>
                          <a:pt x="222346" y="192016"/>
                          <a:pt x="218365" y="184623"/>
                        </a:cubicBezTo>
                        <a:cubicBezTo>
                          <a:pt x="214384" y="177230"/>
                          <a:pt x="219502" y="170975"/>
                          <a:pt x="211541" y="160740"/>
                        </a:cubicBezTo>
                        <a:cubicBezTo>
                          <a:pt x="203580" y="150505"/>
                          <a:pt x="170597" y="123209"/>
                          <a:pt x="170597" y="123209"/>
                        </a:cubicBezTo>
                        <a:cubicBezTo>
                          <a:pt x="161498" y="115248"/>
                          <a:pt x="162637" y="116954"/>
                          <a:pt x="156950" y="112973"/>
                        </a:cubicBezTo>
                        <a:cubicBezTo>
                          <a:pt x="151263" y="108992"/>
                          <a:pt x="145008" y="105580"/>
                          <a:pt x="136478" y="99325"/>
                        </a:cubicBezTo>
                        <a:cubicBezTo>
                          <a:pt x="127948" y="93070"/>
                          <a:pt x="116007" y="82833"/>
                          <a:pt x="105771" y="75441"/>
                        </a:cubicBezTo>
                        <a:cubicBezTo>
                          <a:pt x="95535" y="68048"/>
                          <a:pt x="89280" y="62931"/>
                          <a:pt x="75063" y="54970"/>
                        </a:cubicBezTo>
                        <a:cubicBezTo>
                          <a:pt x="60846" y="47009"/>
                          <a:pt x="31845" y="36204"/>
                          <a:pt x="20472" y="27674"/>
                        </a:cubicBezTo>
                        <a:cubicBezTo>
                          <a:pt x="9099" y="19144"/>
                          <a:pt x="6824" y="3791"/>
                          <a:pt x="6824" y="3791"/>
                        </a:cubicBezTo>
                        <a:cubicBezTo>
                          <a:pt x="3412" y="-758"/>
                          <a:pt x="1706" y="-190"/>
                          <a:pt x="0" y="379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4" name="Полилиния 53"/>
                  <p:cNvSpPr/>
                  <p:nvPr/>
                </p:nvSpPr>
                <p:spPr>
                  <a:xfrm>
                    <a:off x="7917973" y="2932750"/>
                    <a:ext cx="931460" cy="355337"/>
                  </a:xfrm>
                  <a:custGeom>
                    <a:avLst/>
                    <a:gdLst>
                      <a:gd name="connsiteX0" fmla="*/ 931460 w 931460"/>
                      <a:gd name="connsiteY0" fmla="*/ 314277 h 355337"/>
                      <a:gd name="connsiteX1" fmla="*/ 866633 w 931460"/>
                      <a:gd name="connsiteY1" fmla="*/ 293806 h 355337"/>
                      <a:gd name="connsiteX2" fmla="*/ 839338 w 931460"/>
                      <a:gd name="connsiteY2" fmla="*/ 280158 h 355337"/>
                      <a:gd name="connsiteX3" fmla="*/ 812042 w 931460"/>
                      <a:gd name="connsiteY3" fmla="*/ 280158 h 355337"/>
                      <a:gd name="connsiteX4" fmla="*/ 788159 w 931460"/>
                      <a:gd name="connsiteY4" fmla="*/ 314277 h 355337"/>
                      <a:gd name="connsiteX5" fmla="*/ 781335 w 931460"/>
                      <a:gd name="connsiteY5" fmla="*/ 338161 h 355337"/>
                      <a:gd name="connsiteX6" fmla="*/ 767687 w 931460"/>
                      <a:gd name="connsiteY6" fmla="*/ 355220 h 355337"/>
                      <a:gd name="connsiteX7" fmla="*/ 730156 w 931460"/>
                      <a:gd name="connsiteY7" fmla="*/ 344985 h 355337"/>
                      <a:gd name="connsiteX8" fmla="*/ 696036 w 931460"/>
                      <a:gd name="connsiteY8" fmla="*/ 331337 h 355337"/>
                      <a:gd name="connsiteX9" fmla="*/ 634621 w 931460"/>
                      <a:gd name="connsiteY9" fmla="*/ 321101 h 355337"/>
                      <a:gd name="connsiteX10" fmla="*/ 586854 w 931460"/>
                      <a:gd name="connsiteY10" fmla="*/ 331337 h 355337"/>
                      <a:gd name="connsiteX11" fmla="*/ 484496 w 931460"/>
                      <a:gd name="connsiteY11" fmla="*/ 300629 h 355337"/>
                      <a:gd name="connsiteX12" fmla="*/ 446965 w 931460"/>
                      <a:gd name="connsiteY12" fmla="*/ 314277 h 355337"/>
                      <a:gd name="connsiteX13" fmla="*/ 395786 w 931460"/>
                      <a:gd name="connsiteY13" fmla="*/ 307453 h 355337"/>
                      <a:gd name="connsiteX14" fmla="*/ 375314 w 931460"/>
                      <a:gd name="connsiteY14" fmla="*/ 290394 h 355337"/>
                      <a:gd name="connsiteX15" fmla="*/ 341194 w 931460"/>
                      <a:gd name="connsiteY15" fmla="*/ 269922 h 355337"/>
                      <a:gd name="connsiteX16" fmla="*/ 286603 w 931460"/>
                      <a:gd name="connsiteY16" fmla="*/ 249450 h 355337"/>
                      <a:gd name="connsiteX17" fmla="*/ 269544 w 931460"/>
                      <a:gd name="connsiteY17" fmla="*/ 228979 h 355337"/>
                      <a:gd name="connsiteX18" fmla="*/ 235424 w 931460"/>
                      <a:gd name="connsiteY18" fmla="*/ 205095 h 355337"/>
                      <a:gd name="connsiteX19" fmla="*/ 218365 w 931460"/>
                      <a:gd name="connsiteY19" fmla="*/ 184623 h 355337"/>
                      <a:gd name="connsiteX20" fmla="*/ 211541 w 931460"/>
                      <a:gd name="connsiteY20" fmla="*/ 160740 h 355337"/>
                      <a:gd name="connsiteX21" fmla="*/ 170597 w 931460"/>
                      <a:gd name="connsiteY21" fmla="*/ 123209 h 355337"/>
                      <a:gd name="connsiteX22" fmla="*/ 156950 w 931460"/>
                      <a:gd name="connsiteY22" fmla="*/ 112973 h 355337"/>
                      <a:gd name="connsiteX23" fmla="*/ 136478 w 931460"/>
                      <a:gd name="connsiteY23" fmla="*/ 99325 h 355337"/>
                      <a:gd name="connsiteX24" fmla="*/ 105771 w 931460"/>
                      <a:gd name="connsiteY24" fmla="*/ 75441 h 355337"/>
                      <a:gd name="connsiteX25" fmla="*/ 75063 w 931460"/>
                      <a:gd name="connsiteY25" fmla="*/ 54970 h 355337"/>
                      <a:gd name="connsiteX26" fmla="*/ 20472 w 931460"/>
                      <a:gd name="connsiteY26" fmla="*/ 27674 h 355337"/>
                      <a:gd name="connsiteX27" fmla="*/ 6824 w 931460"/>
                      <a:gd name="connsiteY27" fmla="*/ 3791 h 355337"/>
                      <a:gd name="connsiteX28" fmla="*/ 0 w 931460"/>
                      <a:gd name="connsiteY28" fmla="*/ 379 h 3553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</a:cxnLst>
                    <a:rect l="l" t="t" r="r" b="b"/>
                    <a:pathLst>
                      <a:path w="931460" h="355337">
                        <a:moveTo>
                          <a:pt x="931460" y="314277"/>
                        </a:moveTo>
                        <a:cubicBezTo>
                          <a:pt x="906723" y="306884"/>
                          <a:pt x="881987" y="299492"/>
                          <a:pt x="866633" y="293806"/>
                        </a:cubicBezTo>
                        <a:cubicBezTo>
                          <a:pt x="851279" y="288119"/>
                          <a:pt x="848437" y="282433"/>
                          <a:pt x="839338" y="280158"/>
                        </a:cubicBezTo>
                        <a:cubicBezTo>
                          <a:pt x="830239" y="277883"/>
                          <a:pt x="820572" y="274472"/>
                          <a:pt x="812042" y="280158"/>
                        </a:cubicBezTo>
                        <a:cubicBezTo>
                          <a:pt x="803512" y="285844"/>
                          <a:pt x="793277" y="304610"/>
                          <a:pt x="788159" y="314277"/>
                        </a:cubicBezTo>
                        <a:cubicBezTo>
                          <a:pt x="783041" y="323944"/>
                          <a:pt x="784747" y="331337"/>
                          <a:pt x="781335" y="338161"/>
                        </a:cubicBezTo>
                        <a:cubicBezTo>
                          <a:pt x="777923" y="344985"/>
                          <a:pt x="776217" y="354083"/>
                          <a:pt x="767687" y="355220"/>
                        </a:cubicBezTo>
                        <a:cubicBezTo>
                          <a:pt x="759157" y="356357"/>
                          <a:pt x="742098" y="348965"/>
                          <a:pt x="730156" y="344985"/>
                        </a:cubicBezTo>
                        <a:cubicBezTo>
                          <a:pt x="718214" y="341005"/>
                          <a:pt x="711958" y="335318"/>
                          <a:pt x="696036" y="331337"/>
                        </a:cubicBezTo>
                        <a:cubicBezTo>
                          <a:pt x="680114" y="327356"/>
                          <a:pt x="652818" y="321101"/>
                          <a:pt x="634621" y="321101"/>
                        </a:cubicBezTo>
                        <a:cubicBezTo>
                          <a:pt x="616424" y="321101"/>
                          <a:pt x="611875" y="334749"/>
                          <a:pt x="586854" y="331337"/>
                        </a:cubicBezTo>
                        <a:cubicBezTo>
                          <a:pt x="561833" y="327925"/>
                          <a:pt x="507811" y="303472"/>
                          <a:pt x="484496" y="300629"/>
                        </a:cubicBezTo>
                        <a:cubicBezTo>
                          <a:pt x="461181" y="297786"/>
                          <a:pt x="461750" y="313140"/>
                          <a:pt x="446965" y="314277"/>
                        </a:cubicBezTo>
                        <a:cubicBezTo>
                          <a:pt x="432180" y="315414"/>
                          <a:pt x="407728" y="311433"/>
                          <a:pt x="395786" y="307453"/>
                        </a:cubicBezTo>
                        <a:cubicBezTo>
                          <a:pt x="383844" y="303473"/>
                          <a:pt x="384413" y="296649"/>
                          <a:pt x="375314" y="290394"/>
                        </a:cubicBezTo>
                        <a:cubicBezTo>
                          <a:pt x="366215" y="284139"/>
                          <a:pt x="355979" y="276746"/>
                          <a:pt x="341194" y="269922"/>
                        </a:cubicBezTo>
                        <a:cubicBezTo>
                          <a:pt x="326409" y="263098"/>
                          <a:pt x="298545" y="256274"/>
                          <a:pt x="286603" y="249450"/>
                        </a:cubicBezTo>
                        <a:cubicBezTo>
                          <a:pt x="274661" y="242626"/>
                          <a:pt x="278074" y="236371"/>
                          <a:pt x="269544" y="228979"/>
                        </a:cubicBezTo>
                        <a:cubicBezTo>
                          <a:pt x="261014" y="221586"/>
                          <a:pt x="235424" y="205095"/>
                          <a:pt x="235424" y="205095"/>
                        </a:cubicBezTo>
                        <a:cubicBezTo>
                          <a:pt x="226894" y="197702"/>
                          <a:pt x="222346" y="192016"/>
                          <a:pt x="218365" y="184623"/>
                        </a:cubicBezTo>
                        <a:cubicBezTo>
                          <a:pt x="214384" y="177230"/>
                          <a:pt x="219502" y="170975"/>
                          <a:pt x="211541" y="160740"/>
                        </a:cubicBezTo>
                        <a:cubicBezTo>
                          <a:pt x="203580" y="150505"/>
                          <a:pt x="170597" y="123209"/>
                          <a:pt x="170597" y="123209"/>
                        </a:cubicBezTo>
                        <a:cubicBezTo>
                          <a:pt x="161498" y="115248"/>
                          <a:pt x="162637" y="116954"/>
                          <a:pt x="156950" y="112973"/>
                        </a:cubicBezTo>
                        <a:cubicBezTo>
                          <a:pt x="151263" y="108992"/>
                          <a:pt x="145008" y="105580"/>
                          <a:pt x="136478" y="99325"/>
                        </a:cubicBezTo>
                        <a:cubicBezTo>
                          <a:pt x="127948" y="93070"/>
                          <a:pt x="116007" y="82833"/>
                          <a:pt x="105771" y="75441"/>
                        </a:cubicBezTo>
                        <a:cubicBezTo>
                          <a:pt x="95535" y="68048"/>
                          <a:pt x="89280" y="62931"/>
                          <a:pt x="75063" y="54970"/>
                        </a:cubicBezTo>
                        <a:cubicBezTo>
                          <a:pt x="60846" y="47009"/>
                          <a:pt x="31845" y="36204"/>
                          <a:pt x="20472" y="27674"/>
                        </a:cubicBezTo>
                        <a:cubicBezTo>
                          <a:pt x="9099" y="19144"/>
                          <a:pt x="6824" y="3791"/>
                          <a:pt x="6824" y="3791"/>
                        </a:cubicBezTo>
                        <a:cubicBezTo>
                          <a:pt x="3412" y="-758"/>
                          <a:pt x="1706" y="-190"/>
                          <a:pt x="0" y="379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7" name="Полилиния 56"/>
                  <p:cNvSpPr/>
                  <p:nvPr/>
                </p:nvSpPr>
                <p:spPr>
                  <a:xfrm>
                    <a:off x="7847226" y="2866030"/>
                    <a:ext cx="85298" cy="85298"/>
                  </a:xfrm>
                  <a:custGeom>
                    <a:avLst/>
                    <a:gdLst>
                      <a:gd name="connsiteX0" fmla="*/ 0 w 85298"/>
                      <a:gd name="connsiteY0" fmla="*/ 0 h 85298"/>
                      <a:gd name="connsiteX1" fmla="*/ 61415 w 85298"/>
                      <a:gd name="connsiteY1" fmla="*/ 10236 h 85298"/>
                      <a:gd name="connsiteX2" fmla="*/ 64827 w 85298"/>
                      <a:gd name="connsiteY2" fmla="*/ 23883 h 85298"/>
                      <a:gd name="connsiteX3" fmla="*/ 61415 w 85298"/>
                      <a:gd name="connsiteY3" fmla="*/ 44355 h 85298"/>
                      <a:gd name="connsiteX4" fmla="*/ 61415 w 85298"/>
                      <a:gd name="connsiteY4" fmla="*/ 58003 h 85298"/>
                      <a:gd name="connsiteX5" fmla="*/ 78474 w 85298"/>
                      <a:gd name="connsiteY5" fmla="*/ 71651 h 85298"/>
                      <a:gd name="connsiteX6" fmla="*/ 81886 w 85298"/>
                      <a:gd name="connsiteY6" fmla="*/ 78475 h 85298"/>
                      <a:gd name="connsiteX7" fmla="*/ 85298 w 85298"/>
                      <a:gd name="connsiteY7" fmla="*/ 85298 h 852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5298" h="85298">
                        <a:moveTo>
                          <a:pt x="0" y="0"/>
                        </a:moveTo>
                        <a:lnTo>
                          <a:pt x="61415" y="10236"/>
                        </a:lnTo>
                        <a:cubicBezTo>
                          <a:pt x="72220" y="14217"/>
                          <a:pt x="64827" y="18197"/>
                          <a:pt x="64827" y="23883"/>
                        </a:cubicBezTo>
                        <a:cubicBezTo>
                          <a:pt x="64827" y="29569"/>
                          <a:pt x="61984" y="38668"/>
                          <a:pt x="61415" y="44355"/>
                        </a:cubicBezTo>
                        <a:cubicBezTo>
                          <a:pt x="60846" y="50042"/>
                          <a:pt x="58572" y="53454"/>
                          <a:pt x="61415" y="58003"/>
                        </a:cubicBezTo>
                        <a:cubicBezTo>
                          <a:pt x="64258" y="62552"/>
                          <a:pt x="78474" y="71651"/>
                          <a:pt x="78474" y="71651"/>
                        </a:cubicBezTo>
                        <a:cubicBezTo>
                          <a:pt x="81886" y="75063"/>
                          <a:pt x="81886" y="78475"/>
                          <a:pt x="81886" y="78475"/>
                        </a:cubicBezTo>
                        <a:lnTo>
                          <a:pt x="85298" y="85298"/>
                        </a:ln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8" name="Полилиния 57"/>
                  <p:cNvSpPr/>
                  <p:nvPr/>
                </p:nvSpPr>
                <p:spPr>
                  <a:xfrm>
                    <a:off x="7849737" y="2871714"/>
                    <a:ext cx="85298" cy="85298"/>
                  </a:xfrm>
                  <a:custGeom>
                    <a:avLst/>
                    <a:gdLst>
                      <a:gd name="connsiteX0" fmla="*/ 0 w 85298"/>
                      <a:gd name="connsiteY0" fmla="*/ 0 h 85298"/>
                      <a:gd name="connsiteX1" fmla="*/ 61415 w 85298"/>
                      <a:gd name="connsiteY1" fmla="*/ 10236 h 85298"/>
                      <a:gd name="connsiteX2" fmla="*/ 64827 w 85298"/>
                      <a:gd name="connsiteY2" fmla="*/ 23883 h 85298"/>
                      <a:gd name="connsiteX3" fmla="*/ 61415 w 85298"/>
                      <a:gd name="connsiteY3" fmla="*/ 44355 h 85298"/>
                      <a:gd name="connsiteX4" fmla="*/ 61415 w 85298"/>
                      <a:gd name="connsiteY4" fmla="*/ 58003 h 85298"/>
                      <a:gd name="connsiteX5" fmla="*/ 78474 w 85298"/>
                      <a:gd name="connsiteY5" fmla="*/ 71651 h 85298"/>
                      <a:gd name="connsiteX6" fmla="*/ 81886 w 85298"/>
                      <a:gd name="connsiteY6" fmla="*/ 78475 h 85298"/>
                      <a:gd name="connsiteX7" fmla="*/ 85298 w 85298"/>
                      <a:gd name="connsiteY7" fmla="*/ 85298 h 8529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85298" h="85298">
                        <a:moveTo>
                          <a:pt x="0" y="0"/>
                        </a:moveTo>
                        <a:lnTo>
                          <a:pt x="61415" y="10236"/>
                        </a:lnTo>
                        <a:cubicBezTo>
                          <a:pt x="72220" y="14217"/>
                          <a:pt x="64827" y="18197"/>
                          <a:pt x="64827" y="23883"/>
                        </a:cubicBezTo>
                        <a:cubicBezTo>
                          <a:pt x="64827" y="29569"/>
                          <a:pt x="61984" y="38668"/>
                          <a:pt x="61415" y="44355"/>
                        </a:cubicBezTo>
                        <a:cubicBezTo>
                          <a:pt x="60846" y="50042"/>
                          <a:pt x="58572" y="53454"/>
                          <a:pt x="61415" y="58003"/>
                        </a:cubicBezTo>
                        <a:cubicBezTo>
                          <a:pt x="64258" y="62552"/>
                          <a:pt x="78474" y="71651"/>
                          <a:pt x="78474" y="71651"/>
                        </a:cubicBezTo>
                        <a:cubicBezTo>
                          <a:pt x="81886" y="75063"/>
                          <a:pt x="81886" y="78475"/>
                          <a:pt x="81886" y="78475"/>
                        </a:cubicBezTo>
                        <a:lnTo>
                          <a:pt x="85298" y="85298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59" name="Полилиния 58"/>
                  <p:cNvSpPr/>
                  <p:nvPr/>
                </p:nvSpPr>
                <p:spPr>
                  <a:xfrm>
                    <a:off x="7820167" y="2589663"/>
                    <a:ext cx="170597" cy="266131"/>
                  </a:xfrm>
                  <a:custGeom>
                    <a:avLst/>
                    <a:gdLst>
                      <a:gd name="connsiteX0" fmla="*/ 170597 w 170597"/>
                      <a:gd name="connsiteY0" fmla="*/ 0 h 266131"/>
                      <a:gd name="connsiteX1" fmla="*/ 116006 w 170597"/>
                      <a:gd name="connsiteY1" fmla="*/ 81886 h 266131"/>
                      <a:gd name="connsiteX2" fmla="*/ 71651 w 170597"/>
                      <a:gd name="connsiteY2" fmla="*/ 126241 h 266131"/>
                      <a:gd name="connsiteX3" fmla="*/ 51179 w 170597"/>
                      <a:gd name="connsiteY3" fmla="*/ 153537 h 266131"/>
                      <a:gd name="connsiteX4" fmla="*/ 47767 w 170597"/>
                      <a:gd name="connsiteY4" fmla="*/ 201304 h 266131"/>
                      <a:gd name="connsiteX5" fmla="*/ 40944 w 170597"/>
                      <a:gd name="connsiteY5" fmla="*/ 228600 h 266131"/>
                      <a:gd name="connsiteX6" fmla="*/ 13648 w 170597"/>
                      <a:gd name="connsiteY6" fmla="*/ 259307 h 266131"/>
                      <a:gd name="connsiteX7" fmla="*/ 0 w 170597"/>
                      <a:gd name="connsiteY7" fmla="*/ 266131 h 2661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70597" h="266131">
                        <a:moveTo>
                          <a:pt x="170597" y="0"/>
                        </a:moveTo>
                        <a:cubicBezTo>
                          <a:pt x="151547" y="30423"/>
                          <a:pt x="132497" y="60846"/>
                          <a:pt x="116006" y="81886"/>
                        </a:cubicBezTo>
                        <a:cubicBezTo>
                          <a:pt x="99515" y="102926"/>
                          <a:pt x="82455" y="114299"/>
                          <a:pt x="71651" y="126241"/>
                        </a:cubicBezTo>
                        <a:cubicBezTo>
                          <a:pt x="60846" y="138183"/>
                          <a:pt x="55160" y="141027"/>
                          <a:pt x="51179" y="153537"/>
                        </a:cubicBezTo>
                        <a:cubicBezTo>
                          <a:pt x="47198" y="166047"/>
                          <a:pt x="49473" y="188794"/>
                          <a:pt x="47767" y="201304"/>
                        </a:cubicBezTo>
                        <a:cubicBezTo>
                          <a:pt x="46061" y="213815"/>
                          <a:pt x="46630" y="218933"/>
                          <a:pt x="40944" y="228600"/>
                        </a:cubicBezTo>
                        <a:cubicBezTo>
                          <a:pt x="35258" y="238267"/>
                          <a:pt x="20472" y="253052"/>
                          <a:pt x="13648" y="259307"/>
                        </a:cubicBezTo>
                        <a:cubicBezTo>
                          <a:pt x="6824" y="265562"/>
                          <a:pt x="3412" y="265846"/>
                          <a:pt x="0" y="266131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0" name="Полилиния 59"/>
                  <p:cNvSpPr/>
                  <p:nvPr/>
                </p:nvSpPr>
                <p:spPr>
                  <a:xfrm>
                    <a:off x="7819027" y="2588523"/>
                    <a:ext cx="170597" cy="266131"/>
                  </a:xfrm>
                  <a:custGeom>
                    <a:avLst/>
                    <a:gdLst>
                      <a:gd name="connsiteX0" fmla="*/ 170597 w 170597"/>
                      <a:gd name="connsiteY0" fmla="*/ 0 h 266131"/>
                      <a:gd name="connsiteX1" fmla="*/ 116006 w 170597"/>
                      <a:gd name="connsiteY1" fmla="*/ 81886 h 266131"/>
                      <a:gd name="connsiteX2" fmla="*/ 71651 w 170597"/>
                      <a:gd name="connsiteY2" fmla="*/ 126241 h 266131"/>
                      <a:gd name="connsiteX3" fmla="*/ 51179 w 170597"/>
                      <a:gd name="connsiteY3" fmla="*/ 153537 h 266131"/>
                      <a:gd name="connsiteX4" fmla="*/ 47767 w 170597"/>
                      <a:gd name="connsiteY4" fmla="*/ 201304 h 266131"/>
                      <a:gd name="connsiteX5" fmla="*/ 40944 w 170597"/>
                      <a:gd name="connsiteY5" fmla="*/ 228600 h 266131"/>
                      <a:gd name="connsiteX6" fmla="*/ 13648 w 170597"/>
                      <a:gd name="connsiteY6" fmla="*/ 259307 h 266131"/>
                      <a:gd name="connsiteX7" fmla="*/ 0 w 170597"/>
                      <a:gd name="connsiteY7" fmla="*/ 266131 h 2661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70597" h="266131">
                        <a:moveTo>
                          <a:pt x="170597" y="0"/>
                        </a:moveTo>
                        <a:cubicBezTo>
                          <a:pt x="151547" y="30423"/>
                          <a:pt x="132497" y="60846"/>
                          <a:pt x="116006" y="81886"/>
                        </a:cubicBezTo>
                        <a:cubicBezTo>
                          <a:pt x="99515" y="102926"/>
                          <a:pt x="82455" y="114299"/>
                          <a:pt x="71651" y="126241"/>
                        </a:cubicBezTo>
                        <a:cubicBezTo>
                          <a:pt x="60846" y="138183"/>
                          <a:pt x="55160" y="141027"/>
                          <a:pt x="51179" y="153537"/>
                        </a:cubicBezTo>
                        <a:cubicBezTo>
                          <a:pt x="47198" y="166047"/>
                          <a:pt x="49473" y="188794"/>
                          <a:pt x="47767" y="201304"/>
                        </a:cubicBezTo>
                        <a:cubicBezTo>
                          <a:pt x="46061" y="213815"/>
                          <a:pt x="46630" y="218933"/>
                          <a:pt x="40944" y="228600"/>
                        </a:cubicBezTo>
                        <a:cubicBezTo>
                          <a:pt x="35258" y="238267"/>
                          <a:pt x="20472" y="253052"/>
                          <a:pt x="13648" y="259307"/>
                        </a:cubicBezTo>
                        <a:cubicBezTo>
                          <a:pt x="6824" y="265562"/>
                          <a:pt x="3412" y="265846"/>
                          <a:pt x="0" y="266131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1" name="Полилиния 60"/>
                  <p:cNvSpPr/>
                  <p:nvPr/>
                </p:nvSpPr>
                <p:spPr>
                  <a:xfrm>
                    <a:off x="7886700" y="3594100"/>
                    <a:ext cx="403225" cy="83388"/>
                  </a:xfrm>
                  <a:custGeom>
                    <a:avLst/>
                    <a:gdLst>
                      <a:gd name="connsiteX0" fmla="*/ 0 w 403225"/>
                      <a:gd name="connsiteY0" fmla="*/ 0 h 83388"/>
                      <a:gd name="connsiteX1" fmla="*/ 53975 w 403225"/>
                      <a:gd name="connsiteY1" fmla="*/ 19050 h 83388"/>
                      <a:gd name="connsiteX2" fmla="*/ 79375 w 403225"/>
                      <a:gd name="connsiteY2" fmla="*/ 15875 h 83388"/>
                      <a:gd name="connsiteX3" fmla="*/ 104775 w 403225"/>
                      <a:gd name="connsiteY3" fmla="*/ 3175 h 83388"/>
                      <a:gd name="connsiteX4" fmla="*/ 139700 w 403225"/>
                      <a:gd name="connsiteY4" fmla="*/ 19050 h 83388"/>
                      <a:gd name="connsiteX5" fmla="*/ 152400 w 403225"/>
                      <a:gd name="connsiteY5" fmla="*/ 34925 h 83388"/>
                      <a:gd name="connsiteX6" fmla="*/ 165100 w 403225"/>
                      <a:gd name="connsiteY6" fmla="*/ 47625 h 83388"/>
                      <a:gd name="connsiteX7" fmla="*/ 187325 w 403225"/>
                      <a:gd name="connsiteY7" fmla="*/ 66675 h 83388"/>
                      <a:gd name="connsiteX8" fmla="*/ 215900 w 403225"/>
                      <a:gd name="connsiteY8" fmla="*/ 79375 h 83388"/>
                      <a:gd name="connsiteX9" fmla="*/ 234950 w 403225"/>
                      <a:gd name="connsiteY9" fmla="*/ 79375 h 83388"/>
                      <a:gd name="connsiteX10" fmla="*/ 263525 w 403225"/>
                      <a:gd name="connsiteY10" fmla="*/ 82550 h 83388"/>
                      <a:gd name="connsiteX11" fmla="*/ 292100 w 403225"/>
                      <a:gd name="connsiteY11" fmla="*/ 82550 h 83388"/>
                      <a:gd name="connsiteX12" fmla="*/ 314325 w 403225"/>
                      <a:gd name="connsiteY12" fmla="*/ 73025 h 83388"/>
                      <a:gd name="connsiteX13" fmla="*/ 336550 w 403225"/>
                      <a:gd name="connsiteY13" fmla="*/ 66675 h 83388"/>
                      <a:gd name="connsiteX14" fmla="*/ 358775 w 403225"/>
                      <a:gd name="connsiteY14" fmla="*/ 73025 h 83388"/>
                      <a:gd name="connsiteX15" fmla="*/ 384175 w 403225"/>
                      <a:gd name="connsiteY15" fmla="*/ 73025 h 83388"/>
                      <a:gd name="connsiteX16" fmla="*/ 403225 w 403225"/>
                      <a:gd name="connsiteY16" fmla="*/ 73025 h 833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03225" h="83388">
                        <a:moveTo>
                          <a:pt x="0" y="0"/>
                        </a:moveTo>
                        <a:cubicBezTo>
                          <a:pt x="20373" y="8202"/>
                          <a:pt x="40746" y="16404"/>
                          <a:pt x="53975" y="19050"/>
                        </a:cubicBezTo>
                        <a:cubicBezTo>
                          <a:pt x="67204" y="21696"/>
                          <a:pt x="70908" y="18521"/>
                          <a:pt x="79375" y="15875"/>
                        </a:cubicBezTo>
                        <a:cubicBezTo>
                          <a:pt x="87842" y="13229"/>
                          <a:pt x="94721" y="2646"/>
                          <a:pt x="104775" y="3175"/>
                        </a:cubicBezTo>
                        <a:cubicBezTo>
                          <a:pt x="114829" y="3704"/>
                          <a:pt x="131763" y="13758"/>
                          <a:pt x="139700" y="19050"/>
                        </a:cubicBezTo>
                        <a:cubicBezTo>
                          <a:pt x="147637" y="24342"/>
                          <a:pt x="148167" y="30163"/>
                          <a:pt x="152400" y="34925"/>
                        </a:cubicBezTo>
                        <a:cubicBezTo>
                          <a:pt x="156633" y="39687"/>
                          <a:pt x="159279" y="42333"/>
                          <a:pt x="165100" y="47625"/>
                        </a:cubicBezTo>
                        <a:cubicBezTo>
                          <a:pt x="170921" y="52917"/>
                          <a:pt x="178858" y="61383"/>
                          <a:pt x="187325" y="66675"/>
                        </a:cubicBezTo>
                        <a:cubicBezTo>
                          <a:pt x="195792" y="71967"/>
                          <a:pt x="207963" y="77258"/>
                          <a:pt x="215900" y="79375"/>
                        </a:cubicBezTo>
                        <a:cubicBezTo>
                          <a:pt x="223837" y="81492"/>
                          <a:pt x="227013" y="78846"/>
                          <a:pt x="234950" y="79375"/>
                        </a:cubicBezTo>
                        <a:cubicBezTo>
                          <a:pt x="242888" y="79904"/>
                          <a:pt x="254000" y="82021"/>
                          <a:pt x="263525" y="82550"/>
                        </a:cubicBezTo>
                        <a:cubicBezTo>
                          <a:pt x="273050" y="83079"/>
                          <a:pt x="283633" y="84137"/>
                          <a:pt x="292100" y="82550"/>
                        </a:cubicBezTo>
                        <a:cubicBezTo>
                          <a:pt x="300567" y="80963"/>
                          <a:pt x="306917" y="75671"/>
                          <a:pt x="314325" y="73025"/>
                        </a:cubicBezTo>
                        <a:cubicBezTo>
                          <a:pt x="321733" y="70379"/>
                          <a:pt x="329142" y="66675"/>
                          <a:pt x="336550" y="66675"/>
                        </a:cubicBezTo>
                        <a:cubicBezTo>
                          <a:pt x="343958" y="66675"/>
                          <a:pt x="350838" y="71967"/>
                          <a:pt x="358775" y="73025"/>
                        </a:cubicBezTo>
                        <a:cubicBezTo>
                          <a:pt x="366712" y="74083"/>
                          <a:pt x="384175" y="73025"/>
                          <a:pt x="384175" y="73025"/>
                        </a:cubicBezTo>
                        <a:lnTo>
                          <a:pt x="403225" y="73025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2" name="Полилиния 61"/>
                  <p:cNvSpPr/>
                  <p:nvPr/>
                </p:nvSpPr>
                <p:spPr>
                  <a:xfrm>
                    <a:off x="7794625" y="3590925"/>
                    <a:ext cx="104775" cy="13493"/>
                  </a:xfrm>
                  <a:custGeom>
                    <a:avLst/>
                    <a:gdLst>
                      <a:gd name="connsiteX0" fmla="*/ 104775 w 104775"/>
                      <a:gd name="connsiteY0" fmla="*/ 6350 h 13493"/>
                      <a:gd name="connsiteX1" fmla="*/ 50800 w 104775"/>
                      <a:gd name="connsiteY1" fmla="*/ 12700 h 13493"/>
                      <a:gd name="connsiteX2" fmla="*/ 38100 w 104775"/>
                      <a:gd name="connsiteY2" fmla="*/ 12700 h 13493"/>
                      <a:gd name="connsiteX3" fmla="*/ 22225 w 104775"/>
                      <a:gd name="connsiteY3" fmla="*/ 6350 h 13493"/>
                      <a:gd name="connsiteX4" fmla="*/ 0 w 104775"/>
                      <a:gd name="connsiteY4" fmla="*/ 0 h 134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04775" h="13493">
                        <a:moveTo>
                          <a:pt x="104775" y="6350"/>
                        </a:moveTo>
                        <a:lnTo>
                          <a:pt x="50800" y="12700"/>
                        </a:lnTo>
                        <a:cubicBezTo>
                          <a:pt x="39688" y="13758"/>
                          <a:pt x="42862" y="13758"/>
                          <a:pt x="38100" y="12700"/>
                        </a:cubicBezTo>
                        <a:cubicBezTo>
                          <a:pt x="33338" y="11642"/>
                          <a:pt x="28575" y="8467"/>
                          <a:pt x="22225" y="6350"/>
                        </a:cubicBezTo>
                        <a:cubicBezTo>
                          <a:pt x="15875" y="4233"/>
                          <a:pt x="7937" y="2116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3" name="Полилиния 62"/>
                  <p:cNvSpPr/>
                  <p:nvPr/>
                </p:nvSpPr>
                <p:spPr>
                  <a:xfrm>
                    <a:off x="7788275" y="3585511"/>
                    <a:ext cx="482600" cy="92125"/>
                  </a:xfrm>
                  <a:custGeom>
                    <a:avLst/>
                    <a:gdLst>
                      <a:gd name="connsiteX0" fmla="*/ 482600 w 482600"/>
                      <a:gd name="connsiteY0" fmla="*/ 82550 h 92125"/>
                      <a:gd name="connsiteX1" fmla="*/ 425450 w 482600"/>
                      <a:gd name="connsiteY1" fmla="*/ 73025 h 92125"/>
                      <a:gd name="connsiteX2" fmla="*/ 387350 w 482600"/>
                      <a:gd name="connsiteY2" fmla="*/ 85725 h 92125"/>
                      <a:gd name="connsiteX3" fmla="*/ 333375 w 482600"/>
                      <a:gd name="connsiteY3" fmla="*/ 92075 h 92125"/>
                      <a:gd name="connsiteX4" fmla="*/ 295275 w 482600"/>
                      <a:gd name="connsiteY4" fmla="*/ 82550 h 92125"/>
                      <a:gd name="connsiteX5" fmla="*/ 282575 w 482600"/>
                      <a:gd name="connsiteY5" fmla="*/ 79375 h 92125"/>
                      <a:gd name="connsiteX6" fmla="*/ 263525 w 482600"/>
                      <a:gd name="connsiteY6" fmla="*/ 63500 h 92125"/>
                      <a:gd name="connsiteX7" fmla="*/ 247650 w 482600"/>
                      <a:gd name="connsiteY7" fmla="*/ 41275 h 92125"/>
                      <a:gd name="connsiteX8" fmla="*/ 231775 w 482600"/>
                      <a:gd name="connsiteY8" fmla="*/ 25400 h 92125"/>
                      <a:gd name="connsiteX9" fmla="*/ 209550 w 482600"/>
                      <a:gd name="connsiteY9" fmla="*/ 9525 h 92125"/>
                      <a:gd name="connsiteX10" fmla="*/ 193675 w 482600"/>
                      <a:gd name="connsiteY10" fmla="*/ 6350 h 92125"/>
                      <a:gd name="connsiteX11" fmla="*/ 180975 w 482600"/>
                      <a:gd name="connsiteY11" fmla="*/ 12700 h 92125"/>
                      <a:gd name="connsiteX12" fmla="*/ 168275 w 482600"/>
                      <a:gd name="connsiteY12" fmla="*/ 25400 h 92125"/>
                      <a:gd name="connsiteX13" fmla="*/ 158750 w 482600"/>
                      <a:gd name="connsiteY13" fmla="*/ 25400 h 92125"/>
                      <a:gd name="connsiteX14" fmla="*/ 136525 w 482600"/>
                      <a:gd name="connsiteY14" fmla="*/ 19050 h 92125"/>
                      <a:gd name="connsiteX15" fmla="*/ 127000 w 482600"/>
                      <a:gd name="connsiteY15" fmla="*/ 15875 h 92125"/>
                      <a:gd name="connsiteX16" fmla="*/ 107950 w 482600"/>
                      <a:gd name="connsiteY16" fmla="*/ 15875 h 92125"/>
                      <a:gd name="connsiteX17" fmla="*/ 88900 w 482600"/>
                      <a:gd name="connsiteY17" fmla="*/ 9525 h 92125"/>
                      <a:gd name="connsiteX18" fmla="*/ 73025 w 482600"/>
                      <a:gd name="connsiteY18" fmla="*/ 0 h 92125"/>
                      <a:gd name="connsiteX19" fmla="*/ 44450 w 482600"/>
                      <a:gd name="connsiteY19" fmla="*/ 9525 h 92125"/>
                      <a:gd name="connsiteX20" fmla="*/ 25400 w 482600"/>
                      <a:gd name="connsiteY20" fmla="*/ 9525 h 92125"/>
                      <a:gd name="connsiteX21" fmla="*/ 12700 w 482600"/>
                      <a:gd name="connsiteY21" fmla="*/ 3175 h 92125"/>
                      <a:gd name="connsiteX22" fmla="*/ 0 w 482600"/>
                      <a:gd name="connsiteY22" fmla="*/ 3175 h 921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</a:cxnLst>
                    <a:rect l="l" t="t" r="r" b="b"/>
                    <a:pathLst>
                      <a:path w="482600" h="92125">
                        <a:moveTo>
                          <a:pt x="482600" y="82550"/>
                        </a:moveTo>
                        <a:cubicBezTo>
                          <a:pt x="461962" y="77523"/>
                          <a:pt x="441325" y="72496"/>
                          <a:pt x="425450" y="73025"/>
                        </a:cubicBezTo>
                        <a:cubicBezTo>
                          <a:pt x="409575" y="73554"/>
                          <a:pt x="402696" y="82550"/>
                          <a:pt x="387350" y="85725"/>
                        </a:cubicBezTo>
                        <a:cubicBezTo>
                          <a:pt x="372004" y="88900"/>
                          <a:pt x="348721" y="92604"/>
                          <a:pt x="333375" y="92075"/>
                        </a:cubicBezTo>
                        <a:cubicBezTo>
                          <a:pt x="318029" y="91546"/>
                          <a:pt x="295275" y="82550"/>
                          <a:pt x="295275" y="82550"/>
                        </a:cubicBezTo>
                        <a:cubicBezTo>
                          <a:pt x="286808" y="80433"/>
                          <a:pt x="287867" y="82550"/>
                          <a:pt x="282575" y="79375"/>
                        </a:cubicBezTo>
                        <a:cubicBezTo>
                          <a:pt x="277283" y="76200"/>
                          <a:pt x="269346" y="69850"/>
                          <a:pt x="263525" y="63500"/>
                        </a:cubicBezTo>
                        <a:cubicBezTo>
                          <a:pt x="257704" y="57150"/>
                          <a:pt x="252942" y="47625"/>
                          <a:pt x="247650" y="41275"/>
                        </a:cubicBezTo>
                        <a:cubicBezTo>
                          <a:pt x="242358" y="34925"/>
                          <a:pt x="238125" y="30692"/>
                          <a:pt x="231775" y="25400"/>
                        </a:cubicBezTo>
                        <a:cubicBezTo>
                          <a:pt x="225425" y="20108"/>
                          <a:pt x="215900" y="12700"/>
                          <a:pt x="209550" y="9525"/>
                        </a:cubicBezTo>
                        <a:cubicBezTo>
                          <a:pt x="203200" y="6350"/>
                          <a:pt x="198437" y="5821"/>
                          <a:pt x="193675" y="6350"/>
                        </a:cubicBezTo>
                        <a:cubicBezTo>
                          <a:pt x="188912" y="6879"/>
                          <a:pt x="180975" y="12700"/>
                          <a:pt x="180975" y="12700"/>
                        </a:cubicBezTo>
                        <a:cubicBezTo>
                          <a:pt x="176742" y="15875"/>
                          <a:pt x="168275" y="25400"/>
                          <a:pt x="168275" y="25400"/>
                        </a:cubicBezTo>
                        <a:cubicBezTo>
                          <a:pt x="164571" y="27517"/>
                          <a:pt x="164041" y="26458"/>
                          <a:pt x="158750" y="25400"/>
                        </a:cubicBezTo>
                        <a:cubicBezTo>
                          <a:pt x="153459" y="24342"/>
                          <a:pt x="136525" y="19050"/>
                          <a:pt x="136525" y="19050"/>
                        </a:cubicBezTo>
                        <a:cubicBezTo>
                          <a:pt x="131233" y="17463"/>
                          <a:pt x="131762" y="16404"/>
                          <a:pt x="127000" y="15875"/>
                        </a:cubicBezTo>
                        <a:cubicBezTo>
                          <a:pt x="122237" y="15346"/>
                          <a:pt x="114300" y="16933"/>
                          <a:pt x="107950" y="15875"/>
                        </a:cubicBezTo>
                        <a:cubicBezTo>
                          <a:pt x="101600" y="14817"/>
                          <a:pt x="94721" y="12171"/>
                          <a:pt x="88900" y="9525"/>
                        </a:cubicBezTo>
                        <a:cubicBezTo>
                          <a:pt x="83079" y="6879"/>
                          <a:pt x="80433" y="0"/>
                          <a:pt x="73025" y="0"/>
                        </a:cubicBezTo>
                        <a:cubicBezTo>
                          <a:pt x="65617" y="0"/>
                          <a:pt x="52388" y="7937"/>
                          <a:pt x="44450" y="9525"/>
                        </a:cubicBezTo>
                        <a:cubicBezTo>
                          <a:pt x="36512" y="11113"/>
                          <a:pt x="25400" y="9525"/>
                          <a:pt x="25400" y="9525"/>
                        </a:cubicBezTo>
                        <a:cubicBezTo>
                          <a:pt x="20109" y="8467"/>
                          <a:pt x="16933" y="4233"/>
                          <a:pt x="12700" y="3175"/>
                        </a:cubicBezTo>
                        <a:cubicBezTo>
                          <a:pt x="8467" y="2117"/>
                          <a:pt x="4233" y="2646"/>
                          <a:pt x="0" y="317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4" name="Полилиния 63"/>
                  <p:cNvSpPr/>
                  <p:nvPr/>
                </p:nvSpPr>
                <p:spPr>
                  <a:xfrm>
                    <a:off x="7893050" y="3921125"/>
                    <a:ext cx="441325" cy="206375"/>
                  </a:xfrm>
                  <a:custGeom>
                    <a:avLst/>
                    <a:gdLst>
                      <a:gd name="connsiteX0" fmla="*/ 441325 w 441325"/>
                      <a:gd name="connsiteY0" fmla="*/ 206375 h 206375"/>
                      <a:gd name="connsiteX1" fmla="*/ 371475 w 441325"/>
                      <a:gd name="connsiteY1" fmla="*/ 177800 h 206375"/>
                      <a:gd name="connsiteX2" fmla="*/ 355600 w 441325"/>
                      <a:gd name="connsiteY2" fmla="*/ 161925 h 206375"/>
                      <a:gd name="connsiteX3" fmla="*/ 320675 w 441325"/>
                      <a:gd name="connsiteY3" fmla="*/ 161925 h 206375"/>
                      <a:gd name="connsiteX4" fmla="*/ 314325 w 441325"/>
                      <a:gd name="connsiteY4" fmla="*/ 146050 h 206375"/>
                      <a:gd name="connsiteX5" fmla="*/ 298450 w 441325"/>
                      <a:gd name="connsiteY5" fmla="*/ 130175 h 206375"/>
                      <a:gd name="connsiteX6" fmla="*/ 260350 w 441325"/>
                      <a:gd name="connsiteY6" fmla="*/ 98425 h 206375"/>
                      <a:gd name="connsiteX7" fmla="*/ 250825 w 441325"/>
                      <a:gd name="connsiteY7" fmla="*/ 95250 h 206375"/>
                      <a:gd name="connsiteX8" fmla="*/ 212725 w 441325"/>
                      <a:gd name="connsiteY8" fmla="*/ 104775 h 206375"/>
                      <a:gd name="connsiteX9" fmla="*/ 184150 w 441325"/>
                      <a:gd name="connsiteY9" fmla="*/ 95250 h 206375"/>
                      <a:gd name="connsiteX10" fmla="*/ 158750 w 441325"/>
                      <a:gd name="connsiteY10" fmla="*/ 82550 h 206375"/>
                      <a:gd name="connsiteX11" fmla="*/ 117475 w 441325"/>
                      <a:gd name="connsiteY11" fmla="*/ 53975 h 206375"/>
                      <a:gd name="connsiteX12" fmla="*/ 82550 w 441325"/>
                      <a:gd name="connsiteY12" fmla="*/ 34925 h 206375"/>
                      <a:gd name="connsiteX13" fmla="*/ 50800 w 441325"/>
                      <a:gd name="connsiteY13" fmla="*/ 22225 h 206375"/>
                      <a:gd name="connsiteX14" fmla="*/ 25400 w 441325"/>
                      <a:gd name="connsiteY14" fmla="*/ 15875 h 206375"/>
                      <a:gd name="connsiteX15" fmla="*/ 6350 w 441325"/>
                      <a:gd name="connsiteY15" fmla="*/ 6350 h 206375"/>
                      <a:gd name="connsiteX16" fmla="*/ 0 w 441325"/>
                      <a:gd name="connsiteY16" fmla="*/ 0 h 206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41325" h="206375">
                        <a:moveTo>
                          <a:pt x="441325" y="206375"/>
                        </a:moveTo>
                        <a:cubicBezTo>
                          <a:pt x="413543" y="195791"/>
                          <a:pt x="385762" y="185208"/>
                          <a:pt x="371475" y="177800"/>
                        </a:cubicBezTo>
                        <a:cubicBezTo>
                          <a:pt x="357188" y="170392"/>
                          <a:pt x="364067" y="164571"/>
                          <a:pt x="355600" y="161925"/>
                        </a:cubicBezTo>
                        <a:cubicBezTo>
                          <a:pt x="347133" y="159279"/>
                          <a:pt x="320675" y="161925"/>
                          <a:pt x="320675" y="161925"/>
                        </a:cubicBezTo>
                        <a:cubicBezTo>
                          <a:pt x="313796" y="159279"/>
                          <a:pt x="318029" y="151342"/>
                          <a:pt x="314325" y="146050"/>
                        </a:cubicBezTo>
                        <a:cubicBezTo>
                          <a:pt x="310621" y="140758"/>
                          <a:pt x="307446" y="138112"/>
                          <a:pt x="298450" y="130175"/>
                        </a:cubicBezTo>
                        <a:cubicBezTo>
                          <a:pt x="289454" y="122237"/>
                          <a:pt x="260350" y="98425"/>
                          <a:pt x="260350" y="98425"/>
                        </a:cubicBezTo>
                        <a:cubicBezTo>
                          <a:pt x="252413" y="92604"/>
                          <a:pt x="258762" y="94192"/>
                          <a:pt x="250825" y="95250"/>
                        </a:cubicBezTo>
                        <a:cubicBezTo>
                          <a:pt x="242888" y="96308"/>
                          <a:pt x="223837" y="104775"/>
                          <a:pt x="212725" y="104775"/>
                        </a:cubicBezTo>
                        <a:cubicBezTo>
                          <a:pt x="201613" y="104775"/>
                          <a:pt x="193146" y="98954"/>
                          <a:pt x="184150" y="95250"/>
                        </a:cubicBezTo>
                        <a:cubicBezTo>
                          <a:pt x="175154" y="91546"/>
                          <a:pt x="169862" y="89429"/>
                          <a:pt x="158750" y="82550"/>
                        </a:cubicBezTo>
                        <a:cubicBezTo>
                          <a:pt x="147638" y="75671"/>
                          <a:pt x="130175" y="61912"/>
                          <a:pt x="117475" y="53975"/>
                        </a:cubicBezTo>
                        <a:cubicBezTo>
                          <a:pt x="104775" y="46038"/>
                          <a:pt x="93662" y="40217"/>
                          <a:pt x="82550" y="34925"/>
                        </a:cubicBezTo>
                        <a:cubicBezTo>
                          <a:pt x="71437" y="29633"/>
                          <a:pt x="60325" y="25400"/>
                          <a:pt x="50800" y="22225"/>
                        </a:cubicBezTo>
                        <a:cubicBezTo>
                          <a:pt x="41275" y="19050"/>
                          <a:pt x="32808" y="18521"/>
                          <a:pt x="25400" y="15875"/>
                        </a:cubicBezTo>
                        <a:cubicBezTo>
                          <a:pt x="17992" y="13229"/>
                          <a:pt x="6350" y="6350"/>
                          <a:pt x="6350" y="6350"/>
                        </a:cubicBezTo>
                        <a:cubicBezTo>
                          <a:pt x="2117" y="3704"/>
                          <a:pt x="1058" y="1852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5" name="Полилиния 64"/>
                  <p:cNvSpPr/>
                  <p:nvPr/>
                </p:nvSpPr>
                <p:spPr>
                  <a:xfrm>
                    <a:off x="7893050" y="3917950"/>
                    <a:ext cx="441325" cy="206375"/>
                  </a:xfrm>
                  <a:custGeom>
                    <a:avLst/>
                    <a:gdLst>
                      <a:gd name="connsiteX0" fmla="*/ 441325 w 441325"/>
                      <a:gd name="connsiteY0" fmla="*/ 206375 h 206375"/>
                      <a:gd name="connsiteX1" fmla="*/ 371475 w 441325"/>
                      <a:gd name="connsiteY1" fmla="*/ 177800 h 206375"/>
                      <a:gd name="connsiteX2" fmla="*/ 355600 w 441325"/>
                      <a:gd name="connsiteY2" fmla="*/ 161925 h 206375"/>
                      <a:gd name="connsiteX3" fmla="*/ 320675 w 441325"/>
                      <a:gd name="connsiteY3" fmla="*/ 161925 h 206375"/>
                      <a:gd name="connsiteX4" fmla="*/ 314325 w 441325"/>
                      <a:gd name="connsiteY4" fmla="*/ 146050 h 206375"/>
                      <a:gd name="connsiteX5" fmla="*/ 298450 w 441325"/>
                      <a:gd name="connsiteY5" fmla="*/ 130175 h 206375"/>
                      <a:gd name="connsiteX6" fmla="*/ 260350 w 441325"/>
                      <a:gd name="connsiteY6" fmla="*/ 98425 h 206375"/>
                      <a:gd name="connsiteX7" fmla="*/ 250825 w 441325"/>
                      <a:gd name="connsiteY7" fmla="*/ 95250 h 206375"/>
                      <a:gd name="connsiteX8" fmla="*/ 212725 w 441325"/>
                      <a:gd name="connsiteY8" fmla="*/ 104775 h 206375"/>
                      <a:gd name="connsiteX9" fmla="*/ 184150 w 441325"/>
                      <a:gd name="connsiteY9" fmla="*/ 95250 h 206375"/>
                      <a:gd name="connsiteX10" fmla="*/ 158750 w 441325"/>
                      <a:gd name="connsiteY10" fmla="*/ 82550 h 206375"/>
                      <a:gd name="connsiteX11" fmla="*/ 117475 w 441325"/>
                      <a:gd name="connsiteY11" fmla="*/ 53975 h 206375"/>
                      <a:gd name="connsiteX12" fmla="*/ 82550 w 441325"/>
                      <a:gd name="connsiteY12" fmla="*/ 34925 h 206375"/>
                      <a:gd name="connsiteX13" fmla="*/ 50800 w 441325"/>
                      <a:gd name="connsiteY13" fmla="*/ 22225 h 206375"/>
                      <a:gd name="connsiteX14" fmla="*/ 25400 w 441325"/>
                      <a:gd name="connsiteY14" fmla="*/ 15875 h 206375"/>
                      <a:gd name="connsiteX15" fmla="*/ 6350 w 441325"/>
                      <a:gd name="connsiteY15" fmla="*/ 6350 h 206375"/>
                      <a:gd name="connsiteX16" fmla="*/ 0 w 441325"/>
                      <a:gd name="connsiteY16" fmla="*/ 0 h 2063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441325" h="206375">
                        <a:moveTo>
                          <a:pt x="441325" y="206375"/>
                        </a:moveTo>
                        <a:cubicBezTo>
                          <a:pt x="413543" y="195791"/>
                          <a:pt x="385762" y="185208"/>
                          <a:pt x="371475" y="177800"/>
                        </a:cubicBezTo>
                        <a:cubicBezTo>
                          <a:pt x="357188" y="170392"/>
                          <a:pt x="364067" y="164571"/>
                          <a:pt x="355600" y="161925"/>
                        </a:cubicBezTo>
                        <a:cubicBezTo>
                          <a:pt x="347133" y="159279"/>
                          <a:pt x="320675" y="161925"/>
                          <a:pt x="320675" y="161925"/>
                        </a:cubicBezTo>
                        <a:cubicBezTo>
                          <a:pt x="313796" y="159279"/>
                          <a:pt x="318029" y="151342"/>
                          <a:pt x="314325" y="146050"/>
                        </a:cubicBezTo>
                        <a:cubicBezTo>
                          <a:pt x="310621" y="140758"/>
                          <a:pt x="307446" y="138112"/>
                          <a:pt x="298450" y="130175"/>
                        </a:cubicBezTo>
                        <a:cubicBezTo>
                          <a:pt x="289454" y="122237"/>
                          <a:pt x="260350" y="98425"/>
                          <a:pt x="260350" y="98425"/>
                        </a:cubicBezTo>
                        <a:cubicBezTo>
                          <a:pt x="252413" y="92604"/>
                          <a:pt x="258762" y="94192"/>
                          <a:pt x="250825" y="95250"/>
                        </a:cubicBezTo>
                        <a:cubicBezTo>
                          <a:pt x="242888" y="96308"/>
                          <a:pt x="223837" y="104775"/>
                          <a:pt x="212725" y="104775"/>
                        </a:cubicBezTo>
                        <a:cubicBezTo>
                          <a:pt x="201613" y="104775"/>
                          <a:pt x="193146" y="98954"/>
                          <a:pt x="184150" y="95250"/>
                        </a:cubicBezTo>
                        <a:cubicBezTo>
                          <a:pt x="175154" y="91546"/>
                          <a:pt x="169862" y="89429"/>
                          <a:pt x="158750" y="82550"/>
                        </a:cubicBezTo>
                        <a:cubicBezTo>
                          <a:pt x="147638" y="75671"/>
                          <a:pt x="130175" y="61912"/>
                          <a:pt x="117475" y="53975"/>
                        </a:cubicBezTo>
                        <a:cubicBezTo>
                          <a:pt x="104775" y="46038"/>
                          <a:pt x="93662" y="40217"/>
                          <a:pt x="82550" y="34925"/>
                        </a:cubicBezTo>
                        <a:cubicBezTo>
                          <a:pt x="71437" y="29633"/>
                          <a:pt x="60325" y="25400"/>
                          <a:pt x="50800" y="22225"/>
                        </a:cubicBezTo>
                        <a:cubicBezTo>
                          <a:pt x="41275" y="19050"/>
                          <a:pt x="32808" y="18521"/>
                          <a:pt x="25400" y="15875"/>
                        </a:cubicBezTo>
                        <a:cubicBezTo>
                          <a:pt x="17992" y="13229"/>
                          <a:pt x="6350" y="6350"/>
                          <a:pt x="6350" y="6350"/>
                        </a:cubicBezTo>
                        <a:cubicBezTo>
                          <a:pt x="2117" y="3704"/>
                          <a:pt x="1058" y="1852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6" name="Полилиния 65"/>
                  <p:cNvSpPr/>
                  <p:nvPr/>
                </p:nvSpPr>
                <p:spPr>
                  <a:xfrm>
                    <a:off x="1831975" y="4283075"/>
                    <a:ext cx="158750" cy="200025"/>
                  </a:xfrm>
                  <a:custGeom>
                    <a:avLst/>
                    <a:gdLst>
                      <a:gd name="connsiteX0" fmla="*/ 158750 w 158750"/>
                      <a:gd name="connsiteY0" fmla="*/ 200025 h 200025"/>
                      <a:gd name="connsiteX1" fmla="*/ 111125 w 158750"/>
                      <a:gd name="connsiteY1" fmla="*/ 158750 h 200025"/>
                      <a:gd name="connsiteX2" fmla="*/ 73025 w 158750"/>
                      <a:gd name="connsiteY2" fmla="*/ 107950 h 200025"/>
                      <a:gd name="connsiteX3" fmla="*/ 60325 w 158750"/>
                      <a:gd name="connsiteY3" fmla="*/ 92075 h 200025"/>
                      <a:gd name="connsiteX4" fmla="*/ 50800 w 158750"/>
                      <a:gd name="connsiteY4" fmla="*/ 76200 h 200025"/>
                      <a:gd name="connsiteX5" fmla="*/ 50800 w 158750"/>
                      <a:gd name="connsiteY5" fmla="*/ 53975 h 200025"/>
                      <a:gd name="connsiteX6" fmla="*/ 47625 w 158750"/>
                      <a:gd name="connsiteY6" fmla="*/ 38100 h 200025"/>
                      <a:gd name="connsiteX7" fmla="*/ 44450 w 158750"/>
                      <a:gd name="connsiteY7" fmla="*/ 31750 h 200025"/>
                      <a:gd name="connsiteX8" fmla="*/ 28575 w 158750"/>
                      <a:gd name="connsiteY8" fmla="*/ 15875 h 200025"/>
                      <a:gd name="connsiteX9" fmla="*/ 12700 w 158750"/>
                      <a:gd name="connsiteY9" fmla="*/ 6350 h 200025"/>
                      <a:gd name="connsiteX10" fmla="*/ 0 w 158750"/>
                      <a:gd name="connsiteY10" fmla="*/ 0 h 200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8750" h="200025">
                        <a:moveTo>
                          <a:pt x="158750" y="200025"/>
                        </a:moveTo>
                        <a:cubicBezTo>
                          <a:pt x="142081" y="187060"/>
                          <a:pt x="125412" y="174096"/>
                          <a:pt x="111125" y="158750"/>
                        </a:cubicBezTo>
                        <a:cubicBezTo>
                          <a:pt x="96837" y="143404"/>
                          <a:pt x="81492" y="119062"/>
                          <a:pt x="73025" y="107950"/>
                        </a:cubicBezTo>
                        <a:cubicBezTo>
                          <a:pt x="64558" y="96838"/>
                          <a:pt x="64029" y="97367"/>
                          <a:pt x="60325" y="92075"/>
                        </a:cubicBezTo>
                        <a:cubicBezTo>
                          <a:pt x="56621" y="86783"/>
                          <a:pt x="52387" y="82550"/>
                          <a:pt x="50800" y="76200"/>
                        </a:cubicBezTo>
                        <a:cubicBezTo>
                          <a:pt x="49212" y="69850"/>
                          <a:pt x="50800" y="53975"/>
                          <a:pt x="50800" y="53975"/>
                        </a:cubicBezTo>
                        <a:cubicBezTo>
                          <a:pt x="50271" y="47625"/>
                          <a:pt x="47625" y="38100"/>
                          <a:pt x="47625" y="38100"/>
                        </a:cubicBezTo>
                        <a:cubicBezTo>
                          <a:pt x="46567" y="34396"/>
                          <a:pt x="47625" y="35454"/>
                          <a:pt x="44450" y="31750"/>
                        </a:cubicBezTo>
                        <a:cubicBezTo>
                          <a:pt x="41275" y="28046"/>
                          <a:pt x="33867" y="20108"/>
                          <a:pt x="28575" y="15875"/>
                        </a:cubicBezTo>
                        <a:cubicBezTo>
                          <a:pt x="23283" y="11642"/>
                          <a:pt x="12700" y="6350"/>
                          <a:pt x="12700" y="6350"/>
                        </a:cubicBezTo>
                        <a:cubicBezTo>
                          <a:pt x="7938" y="3704"/>
                          <a:pt x="3969" y="1852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7" name="Полилиния 66"/>
                  <p:cNvSpPr/>
                  <p:nvPr/>
                </p:nvSpPr>
                <p:spPr>
                  <a:xfrm>
                    <a:off x="1828800" y="4276725"/>
                    <a:ext cx="158750" cy="200025"/>
                  </a:xfrm>
                  <a:custGeom>
                    <a:avLst/>
                    <a:gdLst>
                      <a:gd name="connsiteX0" fmla="*/ 158750 w 158750"/>
                      <a:gd name="connsiteY0" fmla="*/ 200025 h 200025"/>
                      <a:gd name="connsiteX1" fmla="*/ 111125 w 158750"/>
                      <a:gd name="connsiteY1" fmla="*/ 158750 h 200025"/>
                      <a:gd name="connsiteX2" fmla="*/ 73025 w 158750"/>
                      <a:gd name="connsiteY2" fmla="*/ 107950 h 200025"/>
                      <a:gd name="connsiteX3" fmla="*/ 60325 w 158750"/>
                      <a:gd name="connsiteY3" fmla="*/ 92075 h 200025"/>
                      <a:gd name="connsiteX4" fmla="*/ 50800 w 158750"/>
                      <a:gd name="connsiteY4" fmla="*/ 76200 h 200025"/>
                      <a:gd name="connsiteX5" fmla="*/ 50800 w 158750"/>
                      <a:gd name="connsiteY5" fmla="*/ 53975 h 200025"/>
                      <a:gd name="connsiteX6" fmla="*/ 47625 w 158750"/>
                      <a:gd name="connsiteY6" fmla="*/ 38100 h 200025"/>
                      <a:gd name="connsiteX7" fmla="*/ 44450 w 158750"/>
                      <a:gd name="connsiteY7" fmla="*/ 31750 h 200025"/>
                      <a:gd name="connsiteX8" fmla="*/ 28575 w 158750"/>
                      <a:gd name="connsiteY8" fmla="*/ 15875 h 200025"/>
                      <a:gd name="connsiteX9" fmla="*/ 12700 w 158750"/>
                      <a:gd name="connsiteY9" fmla="*/ 6350 h 200025"/>
                      <a:gd name="connsiteX10" fmla="*/ 0 w 158750"/>
                      <a:gd name="connsiteY10" fmla="*/ 0 h 200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8750" h="200025">
                        <a:moveTo>
                          <a:pt x="158750" y="200025"/>
                        </a:moveTo>
                        <a:cubicBezTo>
                          <a:pt x="142081" y="187060"/>
                          <a:pt x="125412" y="174096"/>
                          <a:pt x="111125" y="158750"/>
                        </a:cubicBezTo>
                        <a:cubicBezTo>
                          <a:pt x="96837" y="143404"/>
                          <a:pt x="81492" y="119062"/>
                          <a:pt x="73025" y="107950"/>
                        </a:cubicBezTo>
                        <a:cubicBezTo>
                          <a:pt x="64558" y="96838"/>
                          <a:pt x="64029" y="97367"/>
                          <a:pt x="60325" y="92075"/>
                        </a:cubicBezTo>
                        <a:cubicBezTo>
                          <a:pt x="56621" y="86783"/>
                          <a:pt x="52387" y="82550"/>
                          <a:pt x="50800" y="76200"/>
                        </a:cubicBezTo>
                        <a:cubicBezTo>
                          <a:pt x="49212" y="69850"/>
                          <a:pt x="50800" y="53975"/>
                          <a:pt x="50800" y="53975"/>
                        </a:cubicBezTo>
                        <a:cubicBezTo>
                          <a:pt x="50271" y="47625"/>
                          <a:pt x="47625" y="38100"/>
                          <a:pt x="47625" y="38100"/>
                        </a:cubicBezTo>
                        <a:cubicBezTo>
                          <a:pt x="46567" y="34396"/>
                          <a:pt x="47625" y="35454"/>
                          <a:pt x="44450" y="31750"/>
                        </a:cubicBezTo>
                        <a:cubicBezTo>
                          <a:pt x="41275" y="28046"/>
                          <a:pt x="33867" y="20108"/>
                          <a:pt x="28575" y="15875"/>
                        </a:cubicBezTo>
                        <a:cubicBezTo>
                          <a:pt x="23283" y="11642"/>
                          <a:pt x="12700" y="6350"/>
                          <a:pt x="12700" y="6350"/>
                        </a:cubicBezTo>
                        <a:cubicBezTo>
                          <a:pt x="7938" y="3704"/>
                          <a:pt x="3969" y="1852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8" name="Полилиния 67"/>
                  <p:cNvSpPr/>
                  <p:nvPr/>
                </p:nvSpPr>
                <p:spPr>
                  <a:xfrm>
                    <a:off x="1149350" y="2158437"/>
                    <a:ext cx="190500" cy="21289"/>
                  </a:xfrm>
                  <a:custGeom>
                    <a:avLst/>
                    <a:gdLst>
                      <a:gd name="connsiteX0" fmla="*/ 190500 w 190500"/>
                      <a:gd name="connsiteY0" fmla="*/ 6913 h 21289"/>
                      <a:gd name="connsiteX1" fmla="*/ 136525 w 190500"/>
                      <a:gd name="connsiteY1" fmla="*/ 563 h 21289"/>
                      <a:gd name="connsiteX2" fmla="*/ 120650 w 190500"/>
                      <a:gd name="connsiteY2" fmla="*/ 19613 h 21289"/>
                      <a:gd name="connsiteX3" fmla="*/ 92075 w 190500"/>
                      <a:gd name="connsiteY3" fmla="*/ 19613 h 21289"/>
                      <a:gd name="connsiteX4" fmla="*/ 69850 w 190500"/>
                      <a:gd name="connsiteY4" fmla="*/ 13263 h 21289"/>
                      <a:gd name="connsiteX5" fmla="*/ 34925 w 190500"/>
                      <a:gd name="connsiteY5" fmla="*/ 10088 h 21289"/>
                      <a:gd name="connsiteX6" fmla="*/ 15875 w 190500"/>
                      <a:gd name="connsiteY6" fmla="*/ 10088 h 21289"/>
                      <a:gd name="connsiteX7" fmla="*/ 0 w 190500"/>
                      <a:gd name="connsiteY7" fmla="*/ 10088 h 2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90500" h="21289">
                        <a:moveTo>
                          <a:pt x="190500" y="6913"/>
                        </a:moveTo>
                        <a:cubicBezTo>
                          <a:pt x="169333" y="2679"/>
                          <a:pt x="148167" y="-1554"/>
                          <a:pt x="136525" y="563"/>
                        </a:cubicBezTo>
                        <a:cubicBezTo>
                          <a:pt x="124883" y="2680"/>
                          <a:pt x="128058" y="16438"/>
                          <a:pt x="120650" y="19613"/>
                        </a:cubicBezTo>
                        <a:cubicBezTo>
                          <a:pt x="113242" y="22788"/>
                          <a:pt x="100542" y="20671"/>
                          <a:pt x="92075" y="19613"/>
                        </a:cubicBezTo>
                        <a:cubicBezTo>
                          <a:pt x="83608" y="18555"/>
                          <a:pt x="79375" y="14851"/>
                          <a:pt x="69850" y="13263"/>
                        </a:cubicBezTo>
                        <a:cubicBezTo>
                          <a:pt x="60325" y="11676"/>
                          <a:pt x="43921" y="10617"/>
                          <a:pt x="34925" y="10088"/>
                        </a:cubicBezTo>
                        <a:cubicBezTo>
                          <a:pt x="25929" y="9559"/>
                          <a:pt x="15875" y="10088"/>
                          <a:pt x="15875" y="10088"/>
                        </a:cubicBezTo>
                        <a:lnTo>
                          <a:pt x="0" y="10088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69" name="Полилиния 68"/>
                  <p:cNvSpPr/>
                  <p:nvPr/>
                </p:nvSpPr>
                <p:spPr>
                  <a:xfrm>
                    <a:off x="1143000" y="2155262"/>
                    <a:ext cx="190500" cy="21289"/>
                  </a:xfrm>
                  <a:custGeom>
                    <a:avLst/>
                    <a:gdLst>
                      <a:gd name="connsiteX0" fmla="*/ 190500 w 190500"/>
                      <a:gd name="connsiteY0" fmla="*/ 6913 h 21289"/>
                      <a:gd name="connsiteX1" fmla="*/ 136525 w 190500"/>
                      <a:gd name="connsiteY1" fmla="*/ 563 h 21289"/>
                      <a:gd name="connsiteX2" fmla="*/ 120650 w 190500"/>
                      <a:gd name="connsiteY2" fmla="*/ 19613 h 21289"/>
                      <a:gd name="connsiteX3" fmla="*/ 92075 w 190500"/>
                      <a:gd name="connsiteY3" fmla="*/ 19613 h 21289"/>
                      <a:gd name="connsiteX4" fmla="*/ 69850 w 190500"/>
                      <a:gd name="connsiteY4" fmla="*/ 13263 h 21289"/>
                      <a:gd name="connsiteX5" fmla="*/ 34925 w 190500"/>
                      <a:gd name="connsiteY5" fmla="*/ 10088 h 21289"/>
                      <a:gd name="connsiteX6" fmla="*/ 15875 w 190500"/>
                      <a:gd name="connsiteY6" fmla="*/ 10088 h 21289"/>
                      <a:gd name="connsiteX7" fmla="*/ 0 w 190500"/>
                      <a:gd name="connsiteY7" fmla="*/ 10088 h 2128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90500" h="21289">
                        <a:moveTo>
                          <a:pt x="190500" y="6913"/>
                        </a:moveTo>
                        <a:cubicBezTo>
                          <a:pt x="169333" y="2679"/>
                          <a:pt x="148167" y="-1554"/>
                          <a:pt x="136525" y="563"/>
                        </a:cubicBezTo>
                        <a:cubicBezTo>
                          <a:pt x="124883" y="2680"/>
                          <a:pt x="128058" y="16438"/>
                          <a:pt x="120650" y="19613"/>
                        </a:cubicBezTo>
                        <a:cubicBezTo>
                          <a:pt x="113242" y="22788"/>
                          <a:pt x="100542" y="20671"/>
                          <a:pt x="92075" y="19613"/>
                        </a:cubicBezTo>
                        <a:cubicBezTo>
                          <a:pt x="83608" y="18555"/>
                          <a:pt x="79375" y="14851"/>
                          <a:pt x="69850" y="13263"/>
                        </a:cubicBezTo>
                        <a:cubicBezTo>
                          <a:pt x="60325" y="11676"/>
                          <a:pt x="43921" y="10617"/>
                          <a:pt x="34925" y="10088"/>
                        </a:cubicBezTo>
                        <a:cubicBezTo>
                          <a:pt x="25929" y="9559"/>
                          <a:pt x="15875" y="10088"/>
                          <a:pt x="15875" y="10088"/>
                        </a:cubicBezTo>
                        <a:lnTo>
                          <a:pt x="0" y="10088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0" name="Полилиния 69"/>
                  <p:cNvSpPr/>
                  <p:nvPr/>
                </p:nvSpPr>
                <p:spPr>
                  <a:xfrm rot="20925388">
                    <a:off x="1073150" y="2120900"/>
                    <a:ext cx="82550" cy="57150"/>
                  </a:xfrm>
                  <a:custGeom>
                    <a:avLst/>
                    <a:gdLst>
                      <a:gd name="connsiteX0" fmla="*/ 82550 w 82550"/>
                      <a:gd name="connsiteY0" fmla="*/ 57150 h 57150"/>
                      <a:gd name="connsiteX1" fmla="*/ 28575 w 82550"/>
                      <a:gd name="connsiteY1" fmla="*/ 25400 h 57150"/>
                      <a:gd name="connsiteX2" fmla="*/ 6350 w 82550"/>
                      <a:gd name="connsiteY2" fmla="*/ 9525 h 57150"/>
                      <a:gd name="connsiteX3" fmla="*/ 0 w 82550"/>
                      <a:gd name="connsiteY3" fmla="*/ 0 h 5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2550" h="57150">
                        <a:moveTo>
                          <a:pt x="82550" y="57150"/>
                        </a:moveTo>
                        <a:cubicBezTo>
                          <a:pt x="61912" y="45243"/>
                          <a:pt x="41275" y="33337"/>
                          <a:pt x="28575" y="25400"/>
                        </a:cubicBezTo>
                        <a:cubicBezTo>
                          <a:pt x="15875" y="17463"/>
                          <a:pt x="6350" y="9525"/>
                          <a:pt x="6350" y="9525"/>
                        </a:cubicBezTo>
                        <a:cubicBezTo>
                          <a:pt x="1588" y="5292"/>
                          <a:pt x="794" y="2646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1" name="Полилиния 70"/>
                  <p:cNvSpPr/>
                  <p:nvPr/>
                </p:nvSpPr>
                <p:spPr>
                  <a:xfrm rot="20800529">
                    <a:off x="1066800" y="2117725"/>
                    <a:ext cx="82550" cy="57150"/>
                  </a:xfrm>
                  <a:custGeom>
                    <a:avLst/>
                    <a:gdLst>
                      <a:gd name="connsiteX0" fmla="*/ 82550 w 82550"/>
                      <a:gd name="connsiteY0" fmla="*/ 57150 h 57150"/>
                      <a:gd name="connsiteX1" fmla="*/ 28575 w 82550"/>
                      <a:gd name="connsiteY1" fmla="*/ 25400 h 57150"/>
                      <a:gd name="connsiteX2" fmla="*/ 6350 w 82550"/>
                      <a:gd name="connsiteY2" fmla="*/ 9525 h 57150"/>
                      <a:gd name="connsiteX3" fmla="*/ 0 w 82550"/>
                      <a:gd name="connsiteY3" fmla="*/ 0 h 571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82550" h="57150">
                        <a:moveTo>
                          <a:pt x="82550" y="57150"/>
                        </a:moveTo>
                        <a:cubicBezTo>
                          <a:pt x="61912" y="45243"/>
                          <a:pt x="41275" y="33337"/>
                          <a:pt x="28575" y="25400"/>
                        </a:cubicBezTo>
                        <a:cubicBezTo>
                          <a:pt x="15875" y="17463"/>
                          <a:pt x="6350" y="9525"/>
                          <a:pt x="6350" y="9525"/>
                        </a:cubicBezTo>
                        <a:cubicBezTo>
                          <a:pt x="1588" y="5292"/>
                          <a:pt x="794" y="2646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2" name="Полилиния 71"/>
                  <p:cNvSpPr/>
                  <p:nvPr/>
                </p:nvSpPr>
                <p:spPr>
                  <a:xfrm>
                    <a:off x="542925" y="3422631"/>
                    <a:ext cx="622300" cy="143599"/>
                  </a:xfrm>
                  <a:custGeom>
                    <a:avLst/>
                    <a:gdLst>
                      <a:gd name="connsiteX0" fmla="*/ 0 w 622300"/>
                      <a:gd name="connsiteY0" fmla="*/ 136544 h 143599"/>
                      <a:gd name="connsiteX1" fmla="*/ 66675 w 622300"/>
                      <a:gd name="connsiteY1" fmla="*/ 127019 h 143599"/>
                      <a:gd name="connsiteX2" fmla="*/ 101600 w 622300"/>
                      <a:gd name="connsiteY2" fmla="*/ 130194 h 143599"/>
                      <a:gd name="connsiteX3" fmla="*/ 139700 w 622300"/>
                      <a:gd name="connsiteY3" fmla="*/ 139719 h 143599"/>
                      <a:gd name="connsiteX4" fmla="*/ 165100 w 622300"/>
                      <a:gd name="connsiteY4" fmla="*/ 142894 h 143599"/>
                      <a:gd name="connsiteX5" fmla="*/ 187325 w 622300"/>
                      <a:gd name="connsiteY5" fmla="*/ 142894 h 143599"/>
                      <a:gd name="connsiteX6" fmla="*/ 209550 w 622300"/>
                      <a:gd name="connsiteY6" fmla="*/ 142894 h 143599"/>
                      <a:gd name="connsiteX7" fmla="*/ 231775 w 622300"/>
                      <a:gd name="connsiteY7" fmla="*/ 133369 h 143599"/>
                      <a:gd name="connsiteX8" fmla="*/ 273050 w 622300"/>
                      <a:gd name="connsiteY8" fmla="*/ 104794 h 143599"/>
                      <a:gd name="connsiteX9" fmla="*/ 304800 w 622300"/>
                      <a:gd name="connsiteY9" fmla="*/ 92094 h 143599"/>
                      <a:gd name="connsiteX10" fmla="*/ 355600 w 622300"/>
                      <a:gd name="connsiteY10" fmla="*/ 79394 h 143599"/>
                      <a:gd name="connsiteX11" fmla="*/ 415925 w 622300"/>
                      <a:gd name="connsiteY11" fmla="*/ 60344 h 143599"/>
                      <a:gd name="connsiteX12" fmla="*/ 444500 w 622300"/>
                      <a:gd name="connsiteY12" fmla="*/ 53994 h 143599"/>
                      <a:gd name="connsiteX13" fmla="*/ 460375 w 622300"/>
                      <a:gd name="connsiteY13" fmla="*/ 44469 h 143599"/>
                      <a:gd name="connsiteX14" fmla="*/ 473075 w 622300"/>
                      <a:gd name="connsiteY14" fmla="*/ 15894 h 143599"/>
                      <a:gd name="connsiteX15" fmla="*/ 488950 w 622300"/>
                      <a:gd name="connsiteY15" fmla="*/ 19 h 143599"/>
                      <a:gd name="connsiteX16" fmla="*/ 520700 w 622300"/>
                      <a:gd name="connsiteY16" fmla="*/ 12719 h 143599"/>
                      <a:gd name="connsiteX17" fmla="*/ 536575 w 622300"/>
                      <a:gd name="connsiteY17" fmla="*/ 15894 h 143599"/>
                      <a:gd name="connsiteX18" fmla="*/ 574675 w 622300"/>
                      <a:gd name="connsiteY18" fmla="*/ 31769 h 143599"/>
                      <a:gd name="connsiteX19" fmla="*/ 596900 w 622300"/>
                      <a:gd name="connsiteY19" fmla="*/ 41294 h 143599"/>
                      <a:gd name="connsiteX20" fmla="*/ 609600 w 622300"/>
                      <a:gd name="connsiteY20" fmla="*/ 44469 h 143599"/>
                      <a:gd name="connsiteX21" fmla="*/ 622300 w 622300"/>
                      <a:gd name="connsiteY21" fmla="*/ 50819 h 1435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622300" h="143599">
                        <a:moveTo>
                          <a:pt x="0" y="136544"/>
                        </a:moveTo>
                        <a:cubicBezTo>
                          <a:pt x="24871" y="132310"/>
                          <a:pt x="49742" y="128077"/>
                          <a:pt x="66675" y="127019"/>
                        </a:cubicBezTo>
                        <a:cubicBezTo>
                          <a:pt x="83608" y="125961"/>
                          <a:pt x="89429" y="128077"/>
                          <a:pt x="101600" y="130194"/>
                        </a:cubicBezTo>
                        <a:cubicBezTo>
                          <a:pt x="113771" y="132311"/>
                          <a:pt x="129117" y="137602"/>
                          <a:pt x="139700" y="139719"/>
                        </a:cubicBezTo>
                        <a:cubicBezTo>
                          <a:pt x="150283" y="141836"/>
                          <a:pt x="157163" y="142365"/>
                          <a:pt x="165100" y="142894"/>
                        </a:cubicBezTo>
                        <a:cubicBezTo>
                          <a:pt x="173038" y="143423"/>
                          <a:pt x="187325" y="142894"/>
                          <a:pt x="187325" y="142894"/>
                        </a:cubicBezTo>
                        <a:cubicBezTo>
                          <a:pt x="194733" y="142894"/>
                          <a:pt x="202142" y="144481"/>
                          <a:pt x="209550" y="142894"/>
                        </a:cubicBezTo>
                        <a:cubicBezTo>
                          <a:pt x="216958" y="141307"/>
                          <a:pt x="221192" y="139719"/>
                          <a:pt x="231775" y="133369"/>
                        </a:cubicBezTo>
                        <a:cubicBezTo>
                          <a:pt x="242358" y="127019"/>
                          <a:pt x="260879" y="111673"/>
                          <a:pt x="273050" y="104794"/>
                        </a:cubicBezTo>
                        <a:cubicBezTo>
                          <a:pt x="285221" y="97915"/>
                          <a:pt x="291042" y="96327"/>
                          <a:pt x="304800" y="92094"/>
                        </a:cubicBezTo>
                        <a:cubicBezTo>
                          <a:pt x="318558" y="87861"/>
                          <a:pt x="337079" y="84686"/>
                          <a:pt x="355600" y="79394"/>
                        </a:cubicBezTo>
                        <a:cubicBezTo>
                          <a:pt x="374121" y="74102"/>
                          <a:pt x="401108" y="64577"/>
                          <a:pt x="415925" y="60344"/>
                        </a:cubicBezTo>
                        <a:cubicBezTo>
                          <a:pt x="430742" y="56111"/>
                          <a:pt x="437092" y="56640"/>
                          <a:pt x="444500" y="53994"/>
                        </a:cubicBezTo>
                        <a:cubicBezTo>
                          <a:pt x="451908" y="51348"/>
                          <a:pt x="455613" y="50819"/>
                          <a:pt x="460375" y="44469"/>
                        </a:cubicBezTo>
                        <a:cubicBezTo>
                          <a:pt x="465137" y="38119"/>
                          <a:pt x="468313" y="23302"/>
                          <a:pt x="473075" y="15894"/>
                        </a:cubicBezTo>
                        <a:cubicBezTo>
                          <a:pt x="477838" y="8486"/>
                          <a:pt x="481013" y="548"/>
                          <a:pt x="488950" y="19"/>
                        </a:cubicBezTo>
                        <a:cubicBezTo>
                          <a:pt x="496888" y="-510"/>
                          <a:pt x="512763" y="10073"/>
                          <a:pt x="520700" y="12719"/>
                        </a:cubicBezTo>
                        <a:cubicBezTo>
                          <a:pt x="528637" y="15365"/>
                          <a:pt x="527579" y="12719"/>
                          <a:pt x="536575" y="15894"/>
                        </a:cubicBezTo>
                        <a:cubicBezTo>
                          <a:pt x="545571" y="19069"/>
                          <a:pt x="574675" y="31769"/>
                          <a:pt x="574675" y="31769"/>
                        </a:cubicBezTo>
                        <a:lnTo>
                          <a:pt x="596900" y="41294"/>
                        </a:lnTo>
                        <a:cubicBezTo>
                          <a:pt x="602721" y="43411"/>
                          <a:pt x="609600" y="44469"/>
                          <a:pt x="609600" y="44469"/>
                        </a:cubicBezTo>
                        <a:cubicBezTo>
                          <a:pt x="613833" y="46056"/>
                          <a:pt x="618066" y="48437"/>
                          <a:pt x="622300" y="50819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3" name="Полилиния 72"/>
                  <p:cNvSpPr/>
                  <p:nvPr/>
                </p:nvSpPr>
                <p:spPr>
                  <a:xfrm>
                    <a:off x="381000" y="3508375"/>
                    <a:ext cx="205723" cy="45719"/>
                  </a:xfrm>
                  <a:custGeom>
                    <a:avLst/>
                    <a:gdLst>
                      <a:gd name="connsiteX0" fmla="*/ 155575 w 155575"/>
                      <a:gd name="connsiteY0" fmla="*/ 28575 h 28575"/>
                      <a:gd name="connsiteX1" fmla="*/ 92075 w 155575"/>
                      <a:gd name="connsiteY1" fmla="*/ 22225 h 28575"/>
                      <a:gd name="connsiteX2" fmla="*/ 73025 w 155575"/>
                      <a:gd name="connsiteY2" fmla="*/ 19050 h 28575"/>
                      <a:gd name="connsiteX3" fmla="*/ 41275 w 155575"/>
                      <a:gd name="connsiteY3" fmla="*/ 15875 h 28575"/>
                      <a:gd name="connsiteX4" fmla="*/ 25400 w 155575"/>
                      <a:gd name="connsiteY4" fmla="*/ 9525 h 28575"/>
                      <a:gd name="connsiteX5" fmla="*/ 12700 w 155575"/>
                      <a:gd name="connsiteY5" fmla="*/ 6350 h 28575"/>
                      <a:gd name="connsiteX6" fmla="*/ 0 w 155575"/>
                      <a:gd name="connsiteY6" fmla="*/ 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5575" h="28575">
                        <a:moveTo>
                          <a:pt x="155575" y="28575"/>
                        </a:moveTo>
                        <a:lnTo>
                          <a:pt x="92075" y="22225"/>
                        </a:lnTo>
                        <a:cubicBezTo>
                          <a:pt x="78317" y="20638"/>
                          <a:pt x="81492" y="20108"/>
                          <a:pt x="73025" y="19050"/>
                        </a:cubicBezTo>
                        <a:cubicBezTo>
                          <a:pt x="64558" y="17992"/>
                          <a:pt x="49213" y="17463"/>
                          <a:pt x="41275" y="15875"/>
                        </a:cubicBezTo>
                        <a:cubicBezTo>
                          <a:pt x="33337" y="14287"/>
                          <a:pt x="25400" y="9525"/>
                          <a:pt x="25400" y="9525"/>
                        </a:cubicBezTo>
                        <a:cubicBezTo>
                          <a:pt x="20638" y="7938"/>
                          <a:pt x="12700" y="6350"/>
                          <a:pt x="12700" y="6350"/>
                        </a:cubicBezTo>
                        <a:cubicBezTo>
                          <a:pt x="8467" y="4763"/>
                          <a:pt x="4233" y="2381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4" name="Полилиния 73"/>
                  <p:cNvSpPr/>
                  <p:nvPr/>
                </p:nvSpPr>
                <p:spPr>
                  <a:xfrm>
                    <a:off x="381000" y="3511550"/>
                    <a:ext cx="155575" cy="28575"/>
                  </a:xfrm>
                  <a:custGeom>
                    <a:avLst/>
                    <a:gdLst>
                      <a:gd name="connsiteX0" fmla="*/ 155575 w 155575"/>
                      <a:gd name="connsiteY0" fmla="*/ 28575 h 28575"/>
                      <a:gd name="connsiteX1" fmla="*/ 92075 w 155575"/>
                      <a:gd name="connsiteY1" fmla="*/ 22225 h 28575"/>
                      <a:gd name="connsiteX2" fmla="*/ 73025 w 155575"/>
                      <a:gd name="connsiteY2" fmla="*/ 19050 h 28575"/>
                      <a:gd name="connsiteX3" fmla="*/ 41275 w 155575"/>
                      <a:gd name="connsiteY3" fmla="*/ 15875 h 28575"/>
                      <a:gd name="connsiteX4" fmla="*/ 25400 w 155575"/>
                      <a:gd name="connsiteY4" fmla="*/ 9525 h 28575"/>
                      <a:gd name="connsiteX5" fmla="*/ 12700 w 155575"/>
                      <a:gd name="connsiteY5" fmla="*/ 6350 h 28575"/>
                      <a:gd name="connsiteX6" fmla="*/ 0 w 155575"/>
                      <a:gd name="connsiteY6" fmla="*/ 0 h 2857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55575" h="28575">
                        <a:moveTo>
                          <a:pt x="155575" y="28575"/>
                        </a:moveTo>
                        <a:lnTo>
                          <a:pt x="92075" y="22225"/>
                        </a:lnTo>
                        <a:cubicBezTo>
                          <a:pt x="78317" y="20638"/>
                          <a:pt x="81492" y="20108"/>
                          <a:pt x="73025" y="19050"/>
                        </a:cubicBezTo>
                        <a:cubicBezTo>
                          <a:pt x="64558" y="17992"/>
                          <a:pt x="49213" y="17463"/>
                          <a:pt x="41275" y="15875"/>
                        </a:cubicBezTo>
                        <a:cubicBezTo>
                          <a:pt x="33337" y="14287"/>
                          <a:pt x="25400" y="9525"/>
                          <a:pt x="25400" y="9525"/>
                        </a:cubicBezTo>
                        <a:cubicBezTo>
                          <a:pt x="20638" y="7938"/>
                          <a:pt x="12700" y="6350"/>
                          <a:pt x="12700" y="6350"/>
                        </a:cubicBezTo>
                        <a:cubicBezTo>
                          <a:pt x="8467" y="4763"/>
                          <a:pt x="4233" y="2381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5" name="Полилиния 74"/>
                  <p:cNvSpPr/>
                  <p:nvPr/>
                </p:nvSpPr>
                <p:spPr>
                  <a:xfrm>
                    <a:off x="568325" y="3418827"/>
                    <a:ext cx="587375" cy="153913"/>
                  </a:xfrm>
                  <a:custGeom>
                    <a:avLst/>
                    <a:gdLst>
                      <a:gd name="connsiteX0" fmla="*/ 0 w 587375"/>
                      <a:gd name="connsiteY0" fmla="*/ 121298 h 153913"/>
                      <a:gd name="connsiteX1" fmla="*/ 63500 w 587375"/>
                      <a:gd name="connsiteY1" fmla="*/ 133998 h 153913"/>
                      <a:gd name="connsiteX2" fmla="*/ 136525 w 587375"/>
                      <a:gd name="connsiteY2" fmla="*/ 146698 h 153913"/>
                      <a:gd name="connsiteX3" fmla="*/ 174625 w 587375"/>
                      <a:gd name="connsiteY3" fmla="*/ 153048 h 153913"/>
                      <a:gd name="connsiteX4" fmla="*/ 209550 w 587375"/>
                      <a:gd name="connsiteY4" fmla="*/ 127648 h 153913"/>
                      <a:gd name="connsiteX5" fmla="*/ 260350 w 587375"/>
                      <a:gd name="connsiteY5" fmla="*/ 99073 h 153913"/>
                      <a:gd name="connsiteX6" fmla="*/ 323850 w 587375"/>
                      <a:gd name="connsiteY6" fmla="*/ 86373 h 153913"/>
                      <a:gd name="connsiteX7" fmla="*/ 390525 w 587375"/>
                      <a:gd name="connsiteY7" fmla="*/ 67323 h 153913"/>
                      <a:gd name="connsiteX8" fmla="*/ 419100 w 587375"/>
                      <a:gd name="connsiteY8" fmla="*/ 57798 h 153913"/>
                      <a:gd name="connsiteX9" fmla="*/ 434975 w 587375"/>
                      <a:gd name="connsiteY9" fmla="*/ 35573 h 153913"/>
                      <a:gd name="connsiteX10" fmla="*/ 457200 w 587375"/>
                      <a:gd name="connsiteY10" fmla="*/ 648 h 153913"/>
                      <a:gd name="connsiteX11" fmla="*/ 495300 w 587375"/>
                      <a:gd name="connsiteY11" fmla="*/ 13348 h 153913"/>
                      <a:gd name="connsiteX12" fmla="*/ 520700 w 587375"/>
                      <a:gd name="connsiteY12" fmla="*/ 19698 h 153913"/>
                      <a:gd name="connsiteX13" fmla="*/ 558800 w 587375"/>
                      <a:gd name="connsiteY13" fmla="*/ 38748 h 153913"/>
                      <a:gd name="connsiteX14" fmla="*/ 581025 w 587375"/>
                      <a:gd name="connsiteY14" fmla="*/ 51448 h 153913"/>
                      <a:gd name="connsiteX15" fmla="*/ 587375 w 587375"/>
                      <a:gd name="connsiteY15" fmla="*/ 57798 h 1539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587375" h="153913">
                        <a:moveTo>
                          <a:pt x="0" y="121298"/>
                        </a:moveTo>
                        <a:lnTo>
                          <a:pt x="63500" y="133998"/>
                        </a:lnTo>
                        <a:cubicBezTo>
                          <a:pt x="86254" y="138231"/>
                          <a:pt x="136525" y="146698"/>
                          <a:pt x="136525" y="146698"/>
                        </a:cubicBezTo>
                        <a:cubicBezTo>
                          <a:pt x="155046" y="149873"/>
                          <a:pt x="162454" y="156223"/>
                          <a:pt x="174625" y="153048"/>
                        </a:cubicBezTo>
                        <a:cubicBezTo>
                          <a:pt x="186796" y="149873"/>
                          <a:pt x="195263" y="136644"/>
                          <a:pt x="209550" y="127648"/>
                        </a:cubicBezTo>
                        <a:cubicBezTo>
                          <a:pt x="223837" y="118652"/>
                          <a:pt x="241300" y="105952"/>
                          <a:pt x="260350" y="99073"/>
                        </a:cubicBezTo>
                        <a:cubicBezTo>
                          <a:pt x="279400" y="92194"/>
                          <a:pt x="302154" y="91665"/>
                          <a:pt x="323850" y="86373"/>
                        </a:cubicBezTo>
                        <a:cubicBezTo>
                          <a:pt x="345546" y="81081"/>
                          <a:pt x="374650" y="72085"/>
                          <a:pt x="390525" y="67323"/>
                        </a:cubicBezTo>
                        <a:cubicBezTo>
                          <a:pt x="406400" y="62561"/>
                          <a:pt x="411692" y="63090"/>
                          <a:pt x="419100" y="57798"/>
                        </a:cubicBezTo>
                        <a:cubicBezTo>
                          <a:pt x="426508" y="52506"/>
                          <a:pt x="428625" y="45098"/>
                          <a:pt x="434975" y="35573"/>
                        </a:cubicBezTo>
                        <a:cubicBezTo>
                          <a:pt x="441325" y="26048"/>
                          <a:pt x="447146" y="4352"/>
                          <a:pt x="457200" y="648"/>
                        </a:cubicBezTo>
                        <a:cubicBezTo>
                          <a:pt x="467254" y="-3056"/>
                          <a:pt x="484717" y="10173"/>
                          <a:pt x="495300" y="13348"/>
                        </a:cubicBezTo>
                        <a:cubicBezTo>
                          <a:pt x="505883" y="16523"/>
                          <a:pt x="510117" y="15465"/>
                          <a:pt x="520700" y="19698"/>
                        </a:cubicBezTo>
                        <a:cubicBezTo>
                          <a:pt x="531283" y="23931"/>
                          <a:pt x="548746" y="33456"/>
                          <a:pt x="558800" y="38748"/>
                        </a:cubicBezTo>
                        <a:cubicBezTo>
                          <a:pt x="568854" y="44040"/>
                          <a:pt x="581025" y="51448"/>
                          <a:pt x="581025" y="51448"/>
                        </a:cubicBezTo>
                        <a:cubicBezTo>
                          <a:pt x="585787" y="54623"/>
                          <a:pt x="586581" y="56210"/>
                          <a:pt x="587375" y="57798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6" name="Полилиния 75"/>
                  <p:cNvSpPr/>
                  <p:nvPr/>
                </p:nvSpPr>
                <p:spPr>
                  <a:xfrm>
                    <a:off x="1533525" y="2981325"/>
                    <a:ext cx="990600" cy="463550"/>
                  </a:xfrm>
                  <a:custGeom>
                    <a:avLst/>
                    <a:gdLst>
                      <a:gd name="connsiteX0" fmla="*/ 990600 w 990600"/>
                      <a:gd name="connsiteY0" fmla="*/ 0 h 463550"/>
                      <a:gd name="connsiteX1" fmla="*/ 930275 w 990600"/>
                      <a:gd name="connsiteY1" fmla="*/ 28575 h 463550"/>
                      <a:gd name="connsiteX2" fmla="*/ 911225 w 990600"/>
                      <a:gd name="connsiteY2" fmla="*/ 41275 h 463550"/>
                      <a:gd name="connsiteX3" fmla="*/ 882650 w 990600"/>
                      <a:gd name="connsiteY3" fmla="*/ 63500 h 463550"/>
                      <a:gd name="connsiteX4" fmla="*/ 863600 w 990600"/>
                      <a:gd name="connsiteY4" fmla="*/ 69850 h 463550"/>
                      <a:gd name="connsiteX5" fmla="*/ 819150 w 990600"/>
                      <a:gd name="connsiteY5" fmla="*/ 66675 h 463550"/>
                      <a:gd name="connsiteX6" fmla="*/ 787400 w 990600"/>
                      <a:gd name="connsiteY6" fmla="*/ 73025 h 463550"/>
                      <a:gd name="connsiteX7" fmla="*/ 762000 w 990600"/>
                      <a:gd name="connsiteY7" fmla="*/ 82550 h 463550"/>
                      <a:gd name="connsiteX8" fmla="*/ 736600 w 990600"/>
                      <a:gd name="connsiteY8" fmla="*/ 114300 h 463550"/>
                      <a:gd name="connsiteX9" fmla="*/ 673100 w 990600"/>
                      <a:gd name="connsiteY9" fmla="*/ 171450 h 463550"/>
                      <a:gd name="connsiteX10" fmla="*/ 650875 w 990600"/>
                      <a:gd name="connsiteY10" fmla="*/ 187325 h 463550"/>
                      <a:gd name="connsiteX11" fmla="*/ 619125 w 990600"/>
                      <a:gd name="connsiteY11" fmla="*/ 228600 h 463550"/>
                      <a:gd name="connsiteX12" fmla="*/ 577850 w 990600"/>
                      <a:gd name="connsiteY12" fmla="*/ 260350 h 463550"/>
                      <a:gd name="connsiteX13" fmla="*/ 533400 w 990600"/>
                      <a:gd name="connsiteY13" fmla="*/ 282575 h 463550"/>
                      <a:gd name="connsiteX14" fmla="*/ 476250 w 990600"/>
                      <a:gd name="connsiteY14" fmla="*/ 288925 h 463550"/>
                      <a:gd name="connsiteX15" fmla="*/ 450850 w 990600"/>
                      <a:gd name="connsiteY15" fmla="*/ 295275 h 463550"/>
                      <a:gd name="connsiteX16" fmla="*/ 425450 w 990600"/>
                      <a:gd name="connsiteY16" fmla="*/ 323850 h 463550"/>
                      <a:gd name="connsiteX17" fmla="*/ 387350 w 990600"/>
                      <a:gd name="connsiteY17" fmla="*/ 327025 h 463550"/>
                      <a:gd name="connsiteX18" fmla="*/ 346075 w 990600"/>
                      <a:gd name="connsiteY18" fmla="*/ 342900 h 463550"/>
                      <a:gd name="connsiteX19" fmla="*/ 323850 w 990600"/>
                      <a:gd name="connsiteY19" fmla="*/ 355600 h 463550"/>
                      <a:gd name="connsiteX20" fmla="*/ 301625 w 990600"/>
                      <a:gd name="connsiteY20" fmla="*/ 368300 h 463550"/>
                      <a:gd name="connsiteX21" fmla="*/ 266700 w 990600"/>
                      <a:gd name="connsiteY21" fmla="*/ 371475 h 463550"/>
                      <a:gd name="connsiteX22" fmla="*/ 228600 w 990600"/>
                      <a:gd name="connsiteY22" fmla="*/ 387350 h 463550"/>
                      <a:gd name="connsiteX23" fmla="*/ 187325 w 990600"/>
                      <a:gd name="connsiteY23" fmla="*/ 400050 h 463550"/>
                      <a:gd name="connsiteX24" fmla="*/ 142875 w 990600"/>
                      <a:gd name="connsiteY24" fmla="*/ 412750 h 463550"/>
                      <a:gd name="connsiteX25" fmla="*/ 111125 w 990600"/>
                      <a:gd name="connsiteY25" fmla="*/ 425450 h 463550"/>
                      <a:gd name="connsiteX26" fmla="*/ 82550 w 990600"/>
                      <a:gd name="connsiteY26" fmla="*/ 428625 h 463550"/>
                      <a:gd name="connsiteX27" fmla="*/ 60325 w 990600"/>
                      <a:gd name="connsiteY27" fmla="*/ 434975 h 463550"/>
                      <a:gd name="connsiteX28" fmla="*/ 34925 w 990600"/>
                      <a:gd name="connsiteY28" fmla="*/ 438150 h 463550"/>
                      <a:gd name="connsiteX29" fmla="*/ 9525 w 990600"/>
                      <a:gd name="connsiteY29" fmla="*/ 454025 h 463550"/>
                      <a:gd name="connsiteX30" fmla="*/ 0 w 990600"/>
                      <a:gd name="connsiteY30" fmla="*/ 463550 h 463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990600" h="463550">
                        <a:moveTo>
                          <a:pt x="990600" y="0"/>
                        </a:moveTo>
                        <a:cubicBezTo>
                          <a:pt x="967052" y="10848"/>
                          <a:pt x="943504" y="21696"/>
                          <a:pt x="930275" y="28575"/>
                        </a:cubicBezTo>
                        <a:cubicBezTo>
                          <a:pt x="917046" y="35454"/>
                          <a:pt x="919162" y="35454"/>
                          <a:pt x="911225" y="41275"/>
                        </a:cubicBezTo>
                        <a:cubicBezTo>
                          <a:pt x="903288" y="47096"/>
                          <a:pt x="890587" y="58738"/>
                          <a:pt x="882650" y="63500"/>
                        </a:cubicBezTo>
                        <a:cubicBezTo>
                          <a:pt x="874712" y="68263"/>
                          <a:pt x="874183" y="69321"/>
                          <a:pt x="863600" y="69850"/>
                        </a:cubicBezTo>
                        <a:cubicBezTo>
                          <a:pt x="853017" y="70379"/>
                          <a:pt x="831850" y="66146"/>
                          <a:pt x="819150" y="66675"/>
                        </a:cubicBezTo>
                        <a:cubicBezTo>
                          <a:pt x="806450" y="67204"/>
                          <a:pt x="796925" y="70379"/>
                          <a:pt x="787400" y="73025"/>
                        </a:cubicBezTo>
                        <a:cubicBezTo>
                          <a:pt x="777875" y="75671"/>
                          <a:pt x="770467" y="75671"/>
                          <a:pt x="762000" y="82550"/>
                        </a:cubicBezTo>
                        <a:cubicBezTo>
                          <a:pt x="753533" y="89429"/>
                          <a:pt x="751417" y="99483"/>
                          <a:pt x="736600" y="114300"/>
                        </a:cubicBezTo>
                        <a:cubicBezTo>
                          <a:pt x="721783" y="129117"/>
                          <a:pt x="687387" y="159279"/>
                          <a:pt x="673100" y="171450"/>
                        </a:cubicBezTo>
                        <a:cubicBezTo>
                          <a:pt x="658813" y="183621"/>
                          <a:pt x="659871" y="177800"/>
                          <a:pt x="650875" y="187325"/>
                        </a:cubicBezTo>
                        <a:cubicBezTo>
                          <a:pt x="641879" y="196850"/>
                          <a:pt x="631296" y="216429"/>
                          <a:pt x="619125" y="228600"/>
                        </a:cubicBezTo>
                        <a:cubicBezTo>
                          <a:pt x="606954" y="240771"/>
                          <a:pt x="592137" y="251354"/>
                          <a:pt x="577850" y="260350"/>
                        </a:cubicBezTo>
                        <a:cubicBezTo>
                          <a:pt x="563563" y="269346"/>
                          <a:pt x="550333" y="277813"/>
                          <a:pt x="533400" y="282575"/>
                        </a:cubicBezTo>
                        <a:cubicBezTo>
                          <a:pt x="516467" y="287337"/>
                          <a:pt x="490008" y="286808"/>
                          <a:pt x="476250" y="288925"/>
                        </a:cubicBezTo>
                        <a:cubicBezTo>
                          <a:pt x="462492" y="291042"/>
                          <a:pt x="459317" y="289454"/>
                          <a:pt x="450850" y="295275"/>
                        </a:cubicBezTo>
                        <a:cubicBezTo>
                          <a:pt x="442383" y="301096"/>
                          <a:pt x="436033" y="318558"/>
                          <a:pt x="425450" y="323850"/>
                        </a:cubicBezTo>
                        <a:cubicBezTo>
                          <a:pt x="414867" y="329142"/>
                          <a:pt x="400579" y="323850"/>
                          <a:pt x="387350" y="327025"/>
                        </a:cubicBezTo>
                        <a:cubicBezTo>
                          <a:pt x="374121" y="330200"/>
                          <a:pt x="356658" y="338138"/>
                          <a:pt x="346075" y="342900"/>
                        </a:cubicBezTo>
                        <a:cubicBezTo>
                          <a:pt x="335492" y="347663"/>
                          <a:pt x="323850" y="355600"/>
                          <a:pt x="323850" y="355600"/>
                        </a:cubicBezTo>
                        <a:cubicBezTo>
                          <a:pt x="316442" y="359833"/>
                          <a:pt x="311150" y="365654"/>
                          <a:pt x="301625" y="368300"/>
                        </a:cubicBezTo>
                        <a:cubicBezTo>
                          <a:pt x="292100" y="370946"/>
                          <a:pt x="278871" y="368300"/>
                          <a:pt x="266700" y="371475"/>
                        </a:cubicBezTo>
                        <a:cubicBezTo>
                          <a:pt x="254529" y="374650"/>
                          <a:pt x="241829" y="382588"/>
                          <a:pt x="228600" y="387350"/>
                        </a:cubicBezTo>
                        <a:cubicBezTo>
                          <a:pt x="215371" y="392112"/>
                          <a:pt x="201612" y="395817"/>
                          <a:pt x="187325" y="400050"/>
                        </a:cubicBezTo>
                        <a:cubicBezTo>
                          <a:pt x="173038" y="404283"/>
                          <a:pt x="155575" y="408517"/>
                          <a:pt x="142875" y="412750"/>
                        </a:cubicBezTo>
                        <a:cubicBezTo>
                          <a:pt x="130175" y="416983"/>
                          <a:pt x="121179" y="422804"/>
                          <a:pt x="111125" y="425450"/>
                        </a:cubicBezTo>
                        <a:cubicBezTo>
                          <a:pt x="101071" y="428096"/>
                          <a:pt x="91017" y="427038"/>
                          <a:pt x="82550" y="428625"/>
                        </a:cubicBezTo>
                        <a:cubicBezTo>
                          <a:pt x="74083" y="430212"/>
                          <a:pt x="68263" y="433387"/>
                          <a:pt x="60325" y="434975"/>
                        </a:cubicBezTo>
                        <a:cubicBezTo>
                          <a:pt x="52387" y="436563"/>
                          <a:pt x="43392" y="434975"/>
                          <a:pt x="34925" y="438150"/>
                        </a:cubicBezTo>
                        <a:cubicBezTo>
                          <a:pt x="26458" y="441325"/>
                          <a:pt x="9525" y="454025"/>
                          <a:pt x="9525" y="454025"/>
                        </a:cubicBezTo>
                        <a:cubicBezTo>
                          <a:pt x="3704" y="458258"/>
                          <a:pt x="1852" y="460904"/>
                          <a:pt x="0" y="46355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7" name="Полилиния 76"/>
                  <p:cNvSpPr/>
                  <p:nvPr/>
                </p:nvSpPr>
                <p:spPr>
                  <a:xfrm>
                    <a:off x="1533525" y="2978150"/>
                    <a:ext cx="990600" cy="463550"/>
                  </a:xfrm>
                  <a:custGeom>
                    <a:avLst/>
                    <a:gdLst>
                      <a:gd name="connsiteX0" fmla="*/ 990600 w 990600"/>
                      <a:gd name="connsiteY0" fmla="*/ 0 h 463550"/>
                      <a:gd name="connsiteX1" fmla="*/ 930275 w 990600"/>
                      <a:gd name="connsiteY1" fmla="*/ 28575 h 463550"/>
                      <a:gd name="connsiteX2" fmla="*/ 911225 w 990600"/>
                      <a:gd name="connsiteY2" fmla="*/ 41275 h 463550"/>
                      <a:gd name="connsiteX3" fmla="*/ 882650 w 990600"/>
                      <a:gd name="connsiteY3" fmla="*/ 63500 h 463550"/>
                      <a:gd name="connsiteX4" fmla="*/ 863600 w 990600"/>
                      <a:gd name="connsiteY4" fmla="*/ 69850 h 463550"/>
                      <a:gd name="connsiteX5" fmla="*/ 819150 w 990600"/>
                      <a:gd name="connsiteY5" fmla="*/ 66675 h 463550"/>
                      <a:gd name="connsiteX6" fmla="*/ 787400 w 990600"/>
                      <a:gd name="connsiteY6" fmla="*/ 73025 h 463550"/>
                      <a:gd name="connsiteX7" fmla="*/ 762000 w 990600"/>
                      <a:gd name="connsiteY7" fmla="*/ 82550 h 463550"/>
                      <a:gd name="connsiteX8" fmla="*/ 736600 w 990600"/>
                      <a:gd name="connsiteY8" fmla="*/ 114300 h 463550"/>
                      <a:gd name="connsiteX9" fmla="*/ 673100 w 990600"/>
                      <a:gd name="connsiteY9" fmla="*/ 171450 h 463550"/>
                      <a:gd name="connsiteX10" fmla="*/ 650875 w 990600"/>
                      <a:gd name="connsiteY10" fmla="*/ 187325 h 463550"/>
                      <a:gd name="connsiteX11" fmla="*/ 619125 w 990600"/>
                      <a:gd name="connsiteY11" fmla="*/ 228600 h 463550"/>
                      <a:gd name="connsiteX12" fmla="*/ 577850 w 990600"/>
                      <a:gd name="connsiteY12" fmla="*/ 260350 h 463550"/>
                      <a:gd name="connsiteX13" fmla="*/ 533400 w 990600"/>
                      <a:gd name="connsiteY13" fmla="*/ 282575 h 463550"/>
                      <a:gd name="connsiteX14" fmla="*/ 476250 w 990600"/>
                      <a:gd name="connsiteY14" fmla="*/ 288925 h 463550"/>
                      <a:gd name="connsiteX15" fmla="*/ 450850 w 990600"/>
                      <a:gd name="connsiteY15" fmla="*/ 295275 h 463550"/>
                      <a:gd name="connsiteX16" fmla="*/ 425450 w 990600"/>
                      <a:gd name="connsiteY16" fmla="*/ 323850 h 463550"/>
                      <a:gd name="connsiteX17" fmla="*/ 387350 w 990600"/>
                      <a:gd name="connsiteY17" fmla="*/ 327025 h 463550"/>
                      <a:gd name="connsiteX18" fmla="*/ 346075 w 990600"/>
                      <a:gd name="connsiteY18" fmla="*/ 342900 h 463550"/>
                      <a:gd name="connsiteX19" fmla="*/ 323850 w 990600"/>
                      <a:gd name="connsiteY19" fmla="*/ 355600 h 463550"/>
                      <a:gd name="connsiteX20" fmla="*/ 301625 w 990600"/>
                      <a:gd name="connsiteY20" fmla="*/ 368300 h 463550"/>
                      <a:gd name="connsiteX21" fmla="*/ 266700 w 990600"/>
                      <a:gd name="connsiteY21" fmla="*/ 371475 h 463550"/>
                      <a:gd name="connsiteX22" fmla="*/ 228600 w 990600"/>
                      <a:gd name="connsiteY22" fmla="*/ 387350 h 463550"/>
                      <a:gd name="connsiteX23" fmla="*/ 187325 w 990600"/>
                      <a:gd name="connsiteY23" fmla="*/ 400050 h 463550"/>
                      <a:gd name="connsiteX24" fmla="*/ 142875 w 990600"/>
                      <a:gd name="connsiteY24" fmla="*/ 412750 h 463550"/>
                      <a:gd name="connsiteX25" fmla="*/ 111125 w 990600"/>
                      <a:gd name="connsiteY25" fmla="*/ 425450 h 463550"/>
                      <a:gd name="connsiteX26" fmla="*/ 82550 w 990600"/>
                      <a:gd name="connsiteY26" fmla="*/ 428625 h 463550"/>
                      <a:gd name="connsiteX27" fmla="*/ 60325 w 990600"/>
                      <a:gd name="connsiteY27" fmla="*/ 434975 h 463550"/>
                      <a:gd name="connsiteX28" fmla="*/ 34925 w 990600"/>
                      <a:gd name="connsiteY28" fmla="*/ 438150 h 463550"/>
                      <a:gd name="connsiteX29" fmla="*/ 9525 w 990600"/>
                      <a:gd name="connsiteY29" fmla="*/ 454025 h 463550"/>
                      <a:gd name="connsiteX30" fmla="*/ 0 w 990600"/>
                      <a:gd name="connsiteY30" fmla="*/ 463550 h 463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</a:cxnLst>
                    <a:rect l="l" t="t" r="r" b="b"/>
                    <a:pathLst>
                      <a:path w="990600" h="463550">
                        <a:moveTo>
                          <a:pt x="990600" y="0"/>
                        </a:moveTo>
                        <a:cubicBezTo>
                          <a:pt x="967052" y="10848"/>
                          <a:pt x="943504" y="21696"/>
                          <a:pt x="930275" y="28575"/>
                        </a:cubicBezTo>
                        <a:cubicBezTo>
                          <a:pt x="917046" y="35454"/>
                          <a:pt x="919162" y="35454"/>
                          <a:pt x="911225" y="41275"/>
                        </a:cubicBezTo>
                        <a:cubicBezTo>
                          <a:pt x="903288" y="47096"/>
                          <a:pt x="890587" y="58738"/>
                          <a:pt x="882650" y="63500"/>
                        </a:cubicBezTo>
                        <a:cubicBezTo>
                          <a:pt x="874712" y="68263"/>
                          <a:pt x="874183" y="69321"/>
                          <a:pt x="863600" y="69850"/>
                        </a:cubicBezTo>
                        <a:cubicBezTo>
                          <a:pt x="853017" y="70379"/>
                          <a:pt x="831850" y="66146"/>
                          <a:pt x="819150" y="66675"/>
                        </a:cubicBezTo>
                        <a:cubicBezTo>
                          <a:pt x="806450" y="67204"/>
                          <a:pt x="796925" y="70379"/>
                          <a:pt x="787400" y="73025"/>
                        </a:cubicBezTo>
                        <a:cubicBezTo>
                          <a:pt x="777875" y="75671"/>
                          <a:pt x="770467" y="75671"/>
                          <a:pt x="762000" y="82550"/>
                        </a:cubicBezTo>
                        <a:cubicBezTo>
                          <a:pt x="753533" y="89429"/>
                          <a:pt x="751417" y="99483"/>
                          <a:pt x="736600" y="114300"/>
                        </a:cubicBezTo>
                        <a:cubicBezTo>
                          <a:pt x="721783" y="129117"/>
                          <a:pt x="687387" y="159279"/>
                          <a:pt x="673100" y="171450"/>
                        </a:cubicBezTo>
                        <a:cubicBezTo>
                          <a:pt x="658813" y="183621"/>
                          <a:pt x="659871" y="177800"/>
                          <a:pt x="650875" y="187325"/>
                        </a:cubicBezTo>
                        <a:cubicBezTo>
                          <a:pt x="641879" y="196850"/>
                          <a:pt x="631296" y="216429"/>
                          <a:pt x="619125" y="228600"/>
                        </a:cubicBezTo>
                        <a:cubicBezTo>
                          <a:pt x="606954" y="240771"/>
                          <a:pt x="592137" y="251354"/>
                          <a:pt x="577850" y="260350"/>
                        </a:cubicBezTo>
                        <a:cubicBezTo>
                          <a:pt x="563563" y="269346"/>
                          <a:pt x="550333" y="277813"/>
                          <a:pt x="533400" y="282575"/>
                        </a:cubicBezTo>
                        <a:cubicBezTo>
                          <a:pt x="516467" y="287337"/>
                          <a:pt x="490008" y="286808"/>
                          <a:pt x="476250" y="288925"/>
                        </a:cubicBezTo>
                        <a:cubicBezTo>
                          <a:pt x="462492" y="291042"/>
                          <a:pt x="459317" y="289454"/>
                          <a:pt x="450850" y="295275"/>
                        </a:cubicBezTo>
                        <a:cubicBezTo>
                          <a:pt x="442383" y="301096"/>
                          <a:pt x="436033" y="318558"/>
                          <a:pt x="425450" y="323850"/>
                        </a:cubicBezTo>
                        <a:cubicBezTo>
                          <a:pt x="414867" y="329142"/>
                          <a:pt x="400579" y="323850"/>
                          <a:pt x="387350" y="327025"/>
                        </a:cubicBezTo>
                        <a:cubicBezTo>
                          <a:pt x="374121" y="330200"/>
                          <a:pt x="356658" y="338138"/>
                          <a:pt x="346075" y="342900"/>
                        </a:cubicBezTo>
                        <a:cubicBezTo>
                          <a:pt x="335492" y="347663"/>
                          <a:pt x="323850" y="355600"/>
                          <a:pt x="323850" y="355600"/>
                        </a:cubicBezTo>
                        <a:cubicBezTo>
                          <a:pt x="316442" y="359833"/>
                          <a:pt x="311150" y="365654"/>
                          <a:pt x="301625" y="368300"/>
                        </a:cubicBezTo>
                        <a:cubicBezTo>
                          <a:pt x="292100" y="370946"/>
                          <a:pt x="278871" y="368300"/>
                          <a:pt x="266700" y="371475"/>
                        </a:cubicBezTo>
                        <a:cubicBezTo>
                          <a:pt x="254529" y="374650"/>
                          <a:pt x="241829" y="382588"/>
                          <a:pt x="228600" y="387350"/>
                        </a:cubicBezTo>
                        <a:cubicBezTo>
                          <a:pt x="215371" y="392112"/>
                          <a:pt x="201612" y="395817"/>
                          <a:pt x="187325" y="400050"/>
                        </a:cubicBezTo>
                        <a:cubicBezTo>
                          <a:pt x="173038" y="404283"/>
                          <a:pt x="155575" y="408517"/>
                          <a:pt x="142875" y="412750"/>
                        </a:cubicBezTo>
                        <a:cubicBezTo>
                          <a:pt x="130175" y="416983"/>
                          <a:pt x="121179" y="422804"/>
                          <a:pt x="111125" y="425450"/>
                        </a:cubicBezTo>
                        <a:cubicBezTo>
                          <a:pt x="101071" y="428096"/>
                          <a:pt x="91017" y="427038"/>
                          <a:pt x="82550" y="428625"/>
                        </a:cubicBezTo>
                        <a:cubicBezTo>
                          <a:pt x="74083" y="430212"/>
                          <a:pt x="68263" y="433387"/>
                          <a:pt x="60325" y="434975"/>
                        </a:cubicBezTo>
                        <a:cubicBezTo>
                          <a:pt x="52387" y="436563"/>
                          <a:pt x="43392" y="434975"/>
                          <a:pt x="34925" y="438150"/>
                        </a:cubicBezTo>
                        <a:cubicBezTo>
                          <a:pt x="26458" y="441325"/>
                          <a:pt x="9525" y="454025"/>
                          <a:pt x="9525" y="454025"/>
                        </a:cubicBezTo>
                        <a:cubicBezTo>
                          <a:pt x="3704" y="458258"/>
                          <a:pt x="1852" y="460904"/>
                          <a:pt x="0" y="46355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8" name="Полилиния 77"/>
                  <p:cNvSpPr/>
                  <p:nvPr/>
                </p:nvSpPr>
                <p:spPr>
                  <a:xfrm>
                    <a:off x="7335078" y="2492734"/>
                    <a:ext cx="485030" cy="357809"/>
                  </a:xfrm>
                  <a:custGeom>
                    <a:avLst/>
                    <a:gdLst>
                      <a:gd name="connsiteX0" fmla="*/ 485030 w 485030"/>
                      <a:gd name="connsiteY0" fmla="*/ 357809 h 357809"/>
                      <a:gd name="connsiteX1" fmla="*/ 433346 w 485030"/>
                      <a:gd name="connsiteY1" fmla="*/ 333955 h 357809"/>
                      <a:gd name="connsiteX2" fmla="*/ 401541 w 485030"/>
                      <a:gd name="connsiteY2" fmla="*/ 310101 h 357809"/>
                      <a:gd name="connsiteX3" fmla="*/ 373712 w 485030"/>
                      <a:gd name="connsiteY3" fmla="*/ 310101 h 357809"/>
                      <a:gd name="connsiteX4" fmla="*/ 341906 w 485030"/>
                      <a:gd name="connsiteY4" fmla="*/ 282271 h 357809"/>
                      <a:gd name="connsiteX5" fmla="*/ 302150 w 485030"/>
                      <a:gd name="connsiteY5" fmla="*/ 250466 h 357809"/>
                      <a:gd name="connsiteX6" fmla="*/ 278296 w 485030"/>
                      <a:gd name="connsiteY6" fmla="*/ 226612 h 357809"/>
                      <a:gd name="connsiteX7" fmla="*/ 254442 w 485030"/>
                      <a:gd name="connsiteY7" fmla="*/ 166977 h 357809"/>
                      <a:gd name="connsiteX8" fmla="*/ 210710 w 485030"/>
                      <a:gd name="connsiteY8" fmla="*/ 135172 h 357809"/>
                      <a:gd name="connsiteX9" fmla="*/ 166978 w 485030"/>
                      <a:gd name="connsiteY9" fmla="*/ 103367 h 357809"/>
                      <a:gd name="connsiteX10" fmla="*/ 131197 w 485030"/>
                      <a:gd name="connsiteY10" fmla="*/ 87464 h 357809"/>
                      <a:gd name="connsiteX11" fmla="*/ 103367 w 485030"/>
                      <a:gd name="connsiteY11" fmla="*/ 59635 h 357809"/>
                      <a:gd name="connsiteX12" fmla="*/ 75538 w 485030"/>
                      <a:gd name="connsiteY12" fmla="*/ 39756 h 357809"/>
                      <a:gd name="connsiteX13" fmla="*/ 55659 w 485030"/>
                      <a:gd name="connsiteY13" fmla="*/ 19878 h 357809"/>
                      <a:gd name="connsiteX14" fmla="*/ 19879 w 485030"/>
                      <a:gd name="connsiteY14" fmla="*/ 3976 h 357809"/>
                      <a:gd name="connsiteX15" fmla="*/ 0 w 485030"/>
                      <a:gd name="connsiteY15" fmla="*/ 0 h 357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85030" h="357809">
                        <a:moveTo>
                          <a:pt x="485030" y="357809"/>
                        </a:moveTo>
                        <a:cubicBezTo>
                          <a:pt x="466145" y="349857"/>
                          <a:pt x="447261" y="341906"/>
                          <a:pt x="433346" y="333955"/>
                        </a:cubicBezTo>
                        <a:cubicBezTo>
                          <a:pt x="419431" y="326004"/>
                          <a:pt x="411480" y="314077"/>
                          <a:pt x="401541" y="310101"/>
                        </a:cubicBezTo>
                        <a:cubicBezTo>
                          <a:pt x="391602" y="306125"/>
                          <a:pt x="383651" y="314739"/>
                          <a:pt x="373712" y="310101"/>
                        </a:cubicBezTo>
                        <a:cubicBezTo>
                          <a:pt x="363773" y="305463"/>
                          <a:pt x="353833" y="292210"/>
                          <a:pt x="341906" y="282271"/>
                        </a:cubicBezTo>
                        <a:cubicBezTo>
                          <a:pt x="329979" y="272332"/>
                          <a:pt x="312752" y="259742"/>
                          <a:pt x="302150" y="250466"/>
                        </a:cubicBezTo>
                        <a:cubicBezTo>
                          <a:pt x="291548" y="241190"/>
                          <a:pt x="286247" y="240527"/>
                          <a:pt x="278296" y="226612"/>
                        </a:cubicBezTo>
                        <a:cubicBezTo>
                          <a:pt x="270345" y="212697"/>
                          <a:pt x="265706" y="182217"/>
                          <a:pt x="254442" y="166977"/>
                        </a:cubicBezTo>
                        <a:cubicBezTo>
                          <a:pt x="243178" y="151737"/>
                          <a:pt x="210710" y="135172"/>
                          <a:pt x="210710" y="135172"/>
                        </a:cubicBezTo>
                        <a:cubicBezTo>
                          <a:pt x="196133" y="124570"/>
                          <a:pt x="180230" y="111318"/>
                          <a:pt x="166978" y="103367"/>
                        </a:cubicBezTo>
                        <a:cubicBezTo>
                          <a:pt x="153726" y="95416"/>
                          <a:pt x="141799" y="94753"/>
                          <a:pt x="131197" y="87464"/>
                        </a:cubicBezTo>
                        <a:cubicBezTo>
                          <a:pt x="120595" y="80175"/>
                          <a:pt x="112643" y="67586"/>
                          <a:pt x="103367" y="59635"/>
                        </a:cubicBezTo>
                        <a:cubicBezTo>
                          <a:pt x="94090" y="51684"/>
                          <a:pt x="83489" y="46382"/>
                          <a:pt x="75538" y="39756"/>
                        </a:cubicBezTo>
                        <a:cubicBezTo>
                          <a:pt x="67587" y="33130"/>
                          <a:pt x="64935" y="25841"/>
                          <a:pt x="55659" y="19878"/>
                        </a:cubicBezTo>
                        <a:cubicBezTo>
                          <a:pt x="46383" y="13915"/>
                          <a:pt x="29156" y="7289"/>
                          <a:pt x="19879" y="3976"/>
                        </a:cubicBezTo>
                        <a:cubicBezTo>
                          <a:pt x="10602" y="663"/>
                          <a:pt x="5301" y="331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79" name="Полилиния 78"/>
                  <p:cNvSpPr/>
                  <p:nvPr/>
                </p:nvSpPr>
                <p:spPr>
                  <a:xfrm>
                    <a:off x="7332427" y="2490081"/>
                    <a:ext cx="485030" cy="357809"/>
                  </a:xfrm>
                  <a:custGeom>
                    <a:avLst/>
                    <a:gdLst>
                      <a:gd name="connsiteX0" fmla="*/ 485030 w 485030"/>
                      <a:gd name="connsiteY0" fmla="*/ 357809 h 357809"/>
                      <a:gd name="connsiteX1" fmla="*/ 433346 w 485030"/>
                      <a:gd name="connsiteY1" fmla="*/ 333955 h 357809"/>
                      <a:gd name="connsiteX2" fmla="*/ 401541 w 485030"/>
                      <a:gd name="connsiteY2" fmla="*/ 310101 h 357809"/>
                      <a:gd name="connsiteX3" fmla="*/ 373712 w 485030"/>
                      <a:gd name="connsiteY3" fmla="*/ 310101 h 357809"/>
                      <a:gd name="connsiteX4" fmla="*/ 341906 w 485030"/>
                      <a:gd name="connsiteY4" fmla="*/ 282271 h 357809"/>
                      <a:gd name="connsiteX5" fmla="*/ 302150 w 485030"/>
                      <a:gd name="connsiteY5" fmla="*/ 250466 h 357809"/>
                      <a:gd name="connsiteX6" fmla="*/ 278296 w 485030"/>
                      <a:gd name="connsiteY6" fmla="*/ 226612 h 357809"/>
                      <a:gd name="connsiteX7" fmla="*/ 254442 w 485030"/>
                      <a:gd name="connsiteY7" fmla="*/ 166977 h 357809"/>
                      <a:gd name="connsiteX8" fmla="*/ 210710 w 485030"/>
                      <a:gd name="connsiteY8" fmla="*/ 135172 h 357809"/>
                      <a:gd name="connsiteX9" fmla="*/ 166978 w 485030"/>
                      <a:gd name="connsiteY9" fmla="*/ 103367 h 357809"/>
                      <a:gd name="connsiteX10" fmla="*/ 131197 w 485030"/>
                      <a:gd name="connsiteY10" fmla="*/ 87464 h 357809"/>
                      <a:gd name="connsiteX11" fmla="*/ 103367 w 485030"/>
                      <a:gd name="connsiteY11" fmla="*/ 59635 h 357809"/>
                      <a:gd name="connsiteX12" fmla="*/ 75538 w 485030"/>
                      <a:gd name="connsiteY12" fmla="*/ 39756 h 357809"/>
                      <a:gd name="connsiteX13" fmla="*/ 55659 w 485030"/>
                      <a:gd name="connsiteY13" fmla="*/ 19878 h 357809"/>
                      <a:gd name="connsiteX14" fmla="*/ 19879 w 485030"/>
                      <a:gd name="connsiteY14" fmla="*/ 3976 h 357809"/>
                      <a:gd name="connsiteX15" fmla="*/ 0 w 485030"/>
                      <a:gd name="connsiteY15" fmla="*/ 0 h 357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485030" h="357809">
                        <a:moveTo>
                          <a:pt x="485030" y="357809"/>
                        </a:moveTo>
                        <a:cubicBezTo>
                          <a:pt x="466145" y="349857"/>
                          <a:pt x="447261" y="341906"/>
                          <a:pt x="433346" y="333955"/>
                        </a:cubicBezTo>
                        <a:cubicBezTo>
                          <a:pt x="419431" y="326004"/>
                          <a:pt x="411480" y="314077"/>
                          <a:pt x="401541" y="310101"/>
                        </a:cubicBezTo>
                        <a:cubicBezTo>
                          <a:pt x="391602" y="306125"/>
                          <a:pt x="383651" y="314739"/>
                          <a:pt x="373712" y="310101"/>
                        </a:cubicBezTo>
                        <a:cubicBezTo>
                          <a:pt x="363773" y="305463"/>
                          <a:pt x="353833" y="292210"/>
                          <a:pt x="341906" y="282271"/>
                        </a:cubicBezTo>
                        <a:cubicBezTo>
                          <a:pt x="329979" y="272332"/>
                          <a:pt x="312752" y="259742"/>
                          <a:pt x="302150" y="250466"/>
                        </a:cubicBezTo>
                        <a:cubicBezTo>
                          <a:pt x="291548" y="241190"/>
                          <a:pt x="286247" y="240527"/>
                          <a:pt x="278296" y="226612"/>
                        </a:cubicBezTo>
                        <a:cubicBezTo>
                          <a:pt x="270345" y="212697"/>
                          <a:pt x="265706" y="182217"/>
                          <a:pt x="254442" y="166977"/>
                        </a:cubicBezTo>
                        <a:cubicBezTo>
                          <a:pt x="243178" y="151737"/>
                          <a:pt x="210710" y="135172"/>
                          <a:pt x="210710" y="135172"/>
                        </a:cubicBezTo>
                        <a:cubicBezTo>
                          <a:pt x="196133" y="124570"/>
                          <a:pt x="180230" y="111318"/>
                          <a:pt x="166978" y="103367"/>
                        </a:cubicBezTo>
                        <a:cubicBezTo>
                          <a:pt x="153726" y="95416"/>
                          <a:pt x="141799" y="94753"/>
                          <a:pt x="131197" y="87464"/>
                        </a:cubicBezTo>
                        <a:cubicBezTo>
                          <a:pt x="120595" y="80175"/>
                          <a:pt x="112643" y="67586"/>
                          <a:pt x="103367" y="59635"/>
                        </a:cubicBezTo>
                        <a:cubicBezTo>
                          <a:pt x="94090" y="51684"/>
                          <a:pt x="83489" y="46382"/>
                          <a:pt x="75538" y="39756"/>
                        </a:cubicBezTo>
                        <a:cubicBezTo>
                          <a:pt x="67587" y="33130"/>
                          <a:pt x="64935" y="25841"/>
                          <a:pt x="55659" y="19878"/>
                        </a:cubicBezTo>
                        <a:cubicBezTo>
                          <a:pt x="46383" y="13915"/>
                          <a:pt x="29156" y="7289"/>
                          <a:pt x="19879" y="3976"/>
                        </a:cubicBezTo>
                        <a:cubicBezTo>
                          <a:pt x="10602" y="663"/>
                          <a:pt x="5301" y="331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0" name="Полилиния 79"/>
                  <p:cNvSpPr/>
                  <p:nvPr/>
                </p:nvSpPr>
                <p:spPr>
                  <a:xfrm>
                    <a:off x="6668700" y="2052466"/>
                    <a:ext cx="72362" cy="88809"/>
                  </a:xfrm>
                  <a:custGeom>
                    <a:avLst/>
                    <a:gdLst>
                      <a:gd name="connsiteX0" fmla="*/ 0 w 72362"/>
                      <a:gd name="connsiteY0" fmla="*/ 0 h 88809"/>
                      <a:gd name="connsiteX1" fmla="*/ 29603 w 72362"/>
                      <a:gd name="connsiteY1" fmla="*/ 42760 h 88809"/>
                      <a:gd name="connsiteX2" fmla="*/ 52627 w 72362"/>
                      <a:gd name="connsiteY2" fmla="*/ 69074 h 88809"/>
                      <a:gd name="connsiteX3" fmla="*/ 72362 w 72362"/>
                      <a:gd name="connsiteY3" fmla="*/ 88809 h 8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362" h="88809">
                        <a:moveTo>
                          <a:pt x="0" y="0"/>
                        </a:moveTo>
                        <a:cubicBezTo>
                          <a:pt x="10416" y="15624"/>
                          <a:pt x="20832" y="31248"/>
                          <a:pt x="29603" y="42760"/>
                        </a:cubicBezTo>
                        <a:cubicBezTo>
                          <a:pt x="38374" y="54272"/>
                          <a:pt x="45500" y="61399"/>
                          <a:pt x="52627" y="69074"/>
                        </a:cubicBezTo>
                        <a:cubicBezTo>
                          <a:pt x="59754" y="76749"/>
                          <a:pt x="66058" y="82779"/>
                          <a:pt x="72362" y="88809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1" name="Полилиния 80"/>
                  <p:cNvSpPr/>
                  <p:nvPr/>
                </p:nvSpPr>
                <p:spPr>
                  <a:xfrm>
                    <a:off x="6675280" y="2062368"/>
                    <a:ext cx="72362" cy="88809"/>
                  </a:xfrm>
                  <a:custGeom>
                    <a:avLst/>
                    <a:gdLst>
                      <a:gd name="connsiteX0" fmla="*/ 0 w 72362"/>
                      <a:gd name="connsiteY0" fmla="*/ 0 h 88809"/>
                      <a:gd name="connsiteX1" fmla="*/ 29603 w 72362"/>
                      <a:gd name="connsiteY1" fmla="*/ 42760 h 88809"/>
                      <a:gd name="connsiteX2" fmla="*/ 52627 w 72362"/>
                      <a:gd name="connsiteY2" fmla="*/ 69074 h 88809"/>
                      <a:gd name="connsiteX3" fmla="*/ 72362 w 72362"/>
                      <a:gd name="connsiteY3" fmla="*/ 88809 h 88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72362" h="88809">
                        <a:moveTo>
                          <a:pt x="0" y="0"/>
                        </a:moveTo>
                        <a:cubicBezTo>
                          <a:pt x="10416" y="15624"/>
                          <a:pt x="20832" y="31248"/>
                          <a:pt x="29603" y="42760"/>
                        </a:cubicBezTo>
                        <a:cubicBezTo>
                          <a:pt x="38374" y="54272"/>
                          <a:pt x="45500" y="61399"/>
                          <a:pt x="52627" y="69074"/>
                        </a:cubicBezTo>
                        <a:cubicBezTo>
                          <a:pt x="59754" y="76749"/>
                          <a:pt x="66058" y="82779"/>
                          <a:pt x="72362" y="88809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2" name="Полилиния 81"/>
                  <p:cNvSpPr/>
                  <p:nvPr/>
                </p:nvSpPr>
                <p:spPr>
                  <a:xfrm>
                    <a:off x="6733007" y="2134695"/>
                    <a:ext cx="223666" cy="164948"/>
                  </a:xfrm>
                  <a:custGeom>
                    <a:avLst/>
                    <a:gdLst>
                      <a:gd name="connsiteX0" fmla="*/ 0 w 374970"/>
                      <a:gd name="connsiteY0" fmla="*/ 0 h 197353"/>
                      <a:gd name="connsiteX1" fmla="*/ 39471 w 374970"/>
                      <a:gd name="connsiteY1" fmla="*/ 32892 h 197353"/>
                      <a:gd name="connsiteX2" fmla="*/ 59206 w 374970"/>
                      <a:gd name="connsiteY2" fmla="*/ 49339 h 197353"/>
                      <a:gd name="connsiteX3" fmla="*/ 75652 w 374970"/>
                      <a:gd name="connsiteY3" fmla="*/ 69074 h 197353"/>
                      <a:gd name="connsiteX4" fmla="*/ 88809 w 374970"/>
                      <a:gd name="connsiteY4" fmla="*/ 92098 h 197353"/>
                      <a:gd name="connsiteX5" fmla="*/ 115122 w 374970"/>
                      <a:gd name="connsiteY5" fmla="*/ 128280 h 197353"/>
                      <a:gd name="connsiteX6" fmla="*/ 128279 w 374970"/>
                      <a:gd name="connsiteY6" fmla="*/ 157882 h 197353"/>
                      <a:gd name="connsiteX7" fmla="*/ 141436 w 374970"/>
                      <a:gd name="connsiteY7" fmla="*/ 164461 h 197353"/>
                      <a:gd name="connsiteX8" fmla="*/ 174328 w 374970"/>
                      <a:gd name="connsiteY8" fmla="*/ 164461 h 197353"/>
                      <a:gd name="connsiteX9" fmla="*/ 223666 w 374970"/>
                      <a:gd name="connsiteY9" fmla="*/ 164461 h 197353"/>
                      <a:gd name="connsiteX10" fmla="*/ 246691 w 374970"/>
                      <a:gd name="connsiteY10" fmla="*/ 167750 h 197353"/>
                      <a:gd name="connsiteX11" fmla="*/ 273004 w 374970"/>
                      <a:gd name="connsiteY11" fmla="*/ 174328 h 197353"/>
                      <a:gd name="connsiteX12" fmla="*/ 286161 w 374970"/>
                      <a:gd name="connsiteY12" fmla="*/ 180907 h 197353"/>
                      <a:gd name="connsiteX13" fmla="*/ 315764 w 374970"/>
                      <a:gd name="connsiteY13" fmla="*/ 171039 h 197353"/>
                      <a:gd name="connsiteX14" fmla="*/ 328921 w 374970"/>
                      <a:gd name="connsiteY14" fmla="*/ 171039 h 197353"/>
                      <a:gd name="connsiteX15" fmla="*/ 355235 w 374970"/>
                      <a:gd name="connsiteY15" fmla="*/ 184196 h 197353"/>
                      <a:gd name="connsiteX16" fmla="*/ 374970 w 374970"/>
                      <a:gd name="connsiteY16" fmla="*/ 197353 h 197353"/>
                      <a:gd name="connsiteX0" fmla="*/ 0 w 355235"/>
                      <a:gd name="connsiteY0" fmla="*/ 0 h 184196"/>
                      <a:gd name="connsiteX1" fmla="*/ 39471 w 355235"/>
                      <a:gd name="connsiteY1" fmla="*/ 32892 h 184196"/>
                      <a:gd name="connsiteX2" fmla="*/ 59206 w 355235"/>
                      <a:gd name="connsiteY2" fmla="*/ 49339 h 184196"/>
                      <a:gd name="connsiteX3" fmla="*/ 75652 w 355235"/>
                      <a:gd name="connsiteY3" fmla="*/ 69074 h 184196"/>
                      <a:gd name="connsiteX4" fmla="*/ 88809 w 355235"/>
                      <a:gd name="connsiteY4" fmla="*/ 92098 h 184196"/>
                      <a:gd name="connsiteX5" fmla="*/ 115122 w 355235"/>
                      <a:gd name="connsiteY5" fmla="*/ 128280 h 184196"/>
                      <a:gd name="connsiteX6" fmla="*/ 128279 w 355235"/>
                      <a:gd name="connsiteY6" fmla="*/ 157882 h 184196"/>
                      <a:gd name="connsiteX7" fmla="*/ 141436 w 355235"/>
                      <a:gd name="connsiteY7" fmla="*/ 164461 h 184196"/>
                      <a:gd name="connsiteX8" fmla="*/ 174328 w 355235"/>
                      <a:gd name="connsiteY8" fmla="*/ 164461 h 184196"/>
                      <a:gd name="connsiteX9" fmla="*/ 223666 w 355235"/>
                      <a:gd name="connsiteY9" fmla="*/ 164461 h 184196"/>
                      <a:gd name="connsiteX10" fmla="*/ 246691 w 355235"/>
                      <a:gd name="connsiteY10" fmla="*/ 167750 h 184196"/>
                      <a:gd name="connsiteX11" fmla="*/ 273004 w 355235"/>
                      <a:gd name="connsiteY11" fmla="*/ 174328 h 184196"/>
                      <a:gd name="connsiteX12" fmla="*/ 286161 w 355235"/>
                      <a:gd name="connsiteY12" fmla="*/ 180907 h 184196"/>
                      <a:gd name="connsiteX13" fmla="*/ 315764 w 355235"/>
                      <a:gd name="connsiteY13" fmla="*/ 171039 h 184196"/>
                      <a:gd name="connsiteX14" fmla="*/ 328921 w 355235"/>
                      <a:gd name="connsiteY14" fmla="*/ 171039 h 184196"/>
                      <a:gd name="connsiteX15" fmla="*/ 355235 w 355235"/>
                      <a:gd name="connsiteY15" fmla="*/ 184196 h 184196"/>
                      <a:gd name="connsiteX0" fmla="*/ 0 w 328921"/>
                      <a:gd name="connsiteY0" fmla="*/ 0 h 180949"/>
                      <a:gd name="connsiteX1" fmla="*/ 39471 w 328921"/>
                      <a:gd name="connsiteY1" fmla="*/ 32892 h 180949"/>
                      <a:gd name="connsiteX2" fmla="*/ 59206 w 328921"/>
                      <a:gd name="connsiteY2" fmla="*/ 49339 h 180949"/>
                      <a:gd name="connsiteX3" fmla="*/ 75652 w 328921"/>
                      <a:gd name="connsiteY3" fmla="*/ 69074 h 180949"/>
                      <a:gd name="connsiteX4" fmla="*/ 88809 w 328921"/>
                      <a:gd name="connsiteY4" fmla="*/ 92098 h 180949"/>
                      <a:gd name="connsiteX5" fmla="*/ 115122 w 328921"/>
                      <a:gd name="connsiteY5" fmla="*/ 128280 h 180949"/>
                      <a:gd name="connsiteX6" fmla="*/ 128279 w 328921"/>
                      <a:gd name="connsiteY6" fmla="*/ 157882 h 180949"/>
                      <a:gd name="connsiteX7" fmla="*/ 141436 w 328921"/>
                      <a:gd name="connsiteY7" fmla="*/ 164461 h 180949"/>
                      <a:gd name="connsiteX8" fmla="*/ 174328 w 328921"/>
                      <a:gd name="connsiteY8" fmla="*/ 164461 h 180949"/>
                      <a:gd name="connsiteX9" fmla="*/ 223666 w 328921"/>
                      <a:gd name="connsiteY9" fmla="*/ 164461 h 180949"/>
                      <a:gd name="connsiteX10" fmla="*/ 246691 w 328921"/>
                      <a:gd name="connsiteY10" fmla="*/ 167750 h 180949"/>
                      <a:gd name="connsiteX11" fmla="*/ 273004 w 328921"/>
                      <a:gd name="connsiteY11" fmla="*/ 174328 h 180949"/>
                      <a:gd name="connsiteX12" fmla="*/ 286161 w 328921"/>
                      <a:gd name="connsiteY12" fmla="*/ 180907 h 180949"/>
                      <a:gd name="connsiteX13" fmla="*/ 315764 w 328921"/>
                      <a:gd name="connsiteY13" fmla="*/ 171039 h 180949"/>
                      <a:gd name="connsiteX14" fmla="*/ 328921 w 328921"/>
                      <a:gd name="connsiteY14" fmla="*/ 171039 h 180949"/>
                      <a:gd name="connsiteX0" fmla="*/ 0 w 315764"/>
                      <a:gd name="connsiteY0" fmla="*/ 0 h 180949"/>
                      <a:gd name="connsiteX1" fmla="*/ 39471 w 315764"/>
                      <a:gd name="connsiteY1" fmla="*/ 32892 h 180949"/>
                      <a:gd name="connsiteX2" fmla="*/ 59206 w 315764"/>
                      <a:gd name="connsiteY2" fmla="*/ 49339 h 180949"/>
                      <a:gd name="connsiteX3" fmla="*/ 75652 w 315764"/>
                      <a:gd name="connsiteY3" fmla="*/ 69074 h 180949"/>
                      <a:gd name="connsiteX4" fmla="*/ 88809 w 315764"/>
                      <a:gd name="connsiteY4" fmla="*/ 92098 h 180949"/>
                      <a:gd name="connsiteX5" fmla="*/ 115122 w 315764"/>
                      <a:gd name="connsiteY5" fmla="*/ 128280 h 180949"/>
                      <a:gd name="connsiteX6" fmla="*/ 128279 w 315764"/>
                      <a:gd name="connsiteY6" fmla="*/ 157882 h 180949"/>
                      <a:gd name="connsiteX7" fmla="*/ 141436 w 315764"/>
                      <a:gd name="connsiteY7" fmla="*/ 164461 h 180949"/>
                      <a:gd name="connsiteX8" fmla="*/ 174328 w 315764"/>
                      <a:gd name="connsiteY8" fmla="*/ 164461 h 180949"/>
                      <a:gd name="connsiteX9" fmla="*/ 223666 w 315764"/>
                      <a:gd name="connsiteY9" fmla="*/ 164461 h 180949"/>
                      <a:gd name="connsiteX10" fmla="*/ 246691 w 315764"/>
                      <a:gd name="connsiteY10" fmla="*/ 167750 h 180949"/>
                      <a:gd name="connsiteX11" fmla="*/ 273004 w 315764"/>
                      <a:gd name="connsiteY11" fmla="*/ 174328 h 180949"/>
                      <a:gd name="connsiteX12" fmla="*/ 286161 w 315764"/>
                      <a:gd name="connsiteY12" fmla="*/ 180907 h 180949"/>
                      <a:gd name="connsiteX13" fmla="*/ 315764 w 315764"/>
                      <a:gd name="connsiteY13" fmla="*/ 171039 h 180949"/>
                      <a:gd name="connsiteX0" fmla="*/ 0 w 286161"/>
                      <a:gd name="connsiteY0" fmla="*/ 0 h 180949"/>
                      <a:gd name="connsiteX1" fmla="*/ 39471 w 286161"/>
                      <a:gd name="connsiteY1" fmla="*/ 32892 h 180949"/>
                      <a:gd name="connsiteX2" fmla="*/ 59206 w 286161"/>
                      <a:gd name="connsiteY2" fmla="*/ 49339 h 180949"/>
                      <a:gd name="connsiteX3" fmla="*/ 75652 w 286161"/>
                      <a:gd name="connsiteY3" fmla="*/ 69074 h 180949"/>
                      <a:gd name="connsiteX4" fmla="*/ 88809 w 286161"/>
                      <a:gd name="connsiteY4" fmla="*/ 92098 h 180949"/>
                      <a:gd name="connsiteX5" fmla="*/ 115122 w 286161"/>
                      <a:gd name="connsiteY5" fmla="*/ 128280 h 180949"/>
                      <a:gd name="connsiteX6" fmla="*/ 128279 w 286161"/>
                      <a:gd name="connsiteY6" fmla="*/ 157882 h 180949"/>
                      <a:gd name="connsiteX7" fmla="*/ 141436 w 286161"/>
                      <a:gd name="connsiteY7" fmla="*/ 164461 h 180949"/>
                      <a:gd name="connsiteX8" fmla="*/ 174328 w 286161"/>
                      <a:gd name="connsiteY8" fmla="*/ 164461 h 180949"/>
                      <a:gd name="connsiteX9" fmla="*/ 223666 w 286161"/>
                      <a:gd name="connsiteY9" fmla="*/ 164461 h 180949"/>
                      <a:gd name="connsiteX10" fmla="*/ 246691 w 286161"/>
                      <a:gd name="connsiteY10" fmla="*/ 167750 h 180949"/>
                      <a:gd name="connsiteX11" fmla="*/ 273004 w 286161"/>
                      <a:gd name="connsiteY11" fmla="*/ 174328 h 180949"/>
                      <a:gd name="connsiteX12" fmla="*/ 286161 w 286161"/>
                      <a:gd name="connsiteY12" fmla="*/ 180907 h 180949"/>
                      <a:gd name="connsiteX0" fmla="*/ 0 w 273004"/>
                      <a:gd name="connsiteY0" fmla="*/ 0 h 174328"/>
                      <a:gd name="connsiteX1" fmla="*/ 39471 w 273004"/>
                      <a:gd name="connsiteY1" fmla="*/ 32892 h 174328"/>
                      <a:gd name="connsiteX2" fmla="*/ 59206 w 273004"/>
                      <a:gd name="connsiteY2" fmla="*/ 49339 h 174328"/>
                      <a:gd name="connsiteX3" fmla="*/ 75652 w 273004"/>
                      <a:gd name="connsiteY3" fmla="*/ 69074 h 174328"/>
                      <a:gd name="connsiteX4" fmla="*/ 88809 w 273004"/>
                      <a:gd name="connsiteY4" fmla="*/ 92098 h 174328"/>
                      <a:gd name="connsiteX5" fmla="*/ 115122 w 273004"/>
                      <a:gd name="connsiteY5" fmla="*/ 128280 h 174328"/>
                      <a:gd name="connsiteX6" fmla="*/ 128279 w 273004"/>
                      <a:gd name="connsiteY6" fmla="*/ 157882 h 174328"/>
                      <a:gd name="connsiteX7" fmla="*/ 141436 w 273004"/>
                      <a:gd name="connsiteY7" fmla="*/ 164461 h 174328"/>
                      <a:gd name="connsiteX8" fmla="*/ 174328 w 273004"/>
                      <a:gd name="connsiteY8" fmla="*/ 164461 h 174328"/>
                      <a:gd name="connsiteX9" fmla="*/ 223666 w 273004"/>
                      <a:gd name="connsiteY9" fmla="*/ 164461 h 174328"/>
                      <a:gd name="connsiteX10" fmla="*/ 246691 w 273004"/>
                      <a:gd name="connsiteY10" fmla="*/ 167750 h 174328"/>
                      <a:gd name="connsiteX11" fmla="*/ 273004 w 273004"/>
                      <a:gd name="connsiteY11" fmla="*/ 174328 h 174328"/>
                      <a:gd name="connsiteX0" fmla="*/ 0 w 246691"/>
                      <a:gd name="connsiteY0" fmla="*/ 0 h 167750"/>
                      <a:gd name="connsiteX1" fmla="*/ 39471 w 246691"/>
                      <a:gd name="connsiteY1" fmla="*/ 32892 h 167750"/>
                      <a:gd name="connsiteX2" fmla="*/ 59206 w 246691"/>
                      <a:gd name="connsiteY2" fmla="*/ 49339 h 167750"/>
                      <a:gd name="connsiteX3" fmla="*/ 75652 w 246691"/>
                      <a:gd name="connsiteY3" fmla="*/ 69074 h 167750"/>
                      <a:gd name="connsiteX4" fmla="*/ 88809 w 246691"/>
                      <a:gd name="connsiteY4" fmla="*/ 92098 h 167750"/>
                      <a:gd name="connsiteX5" fmla="*/ 115122 w 246691"/>
                      <a:gd name="connsiteY5" fmla="*/ 128280 h 167750"/>
                      <a:gd name="connsiteX6" fmla="*/ 128279 w 246691"/>
                      <a:gd name="connsiteY6" fmla="*/ 157882 h 167750"/>
                      <a:gd name="connsiteX7" fmla="*/ 141436 w 246691"/>
                      <a:gd name="connsiteY7" fmla="*/ 164461 h 167750"/>
                      <a:gd name="connsiteX8" fmla="*/ 174328 w 246691"/>
                      <a:gd name="connsiteY8" fmla="*/ 164461 h 167750"/>
                      <a:gd name="connsiteX9" fmla="*/ 223666 w 246691"/>
                      <a:gd name="connsiteY9" fmla="*/ 164461 h 167750"/>
                      <a:gd name="connsiteX10" fmla="*/ 246691 w 246691"/>
                      <a:gd name="connsiteY10" fmla="*/ 167750 h 167750"/>
                      <a:gd name="connsiteX0" fmla="*/ 0 w 223666"/>
                      <a:gd name="connsiteY0" fmla="*/ 0 h 164948"/>
                      <a:gd name="connsiteX1" fmla="*/ 39471 w 223666"/>
                      <a:gd name="connsiteY1" fmla="*/ 32892 h 164948"/>
                      <a:gd name="connsiteX2" fmla="*/ 59206 w 223666"/>
                      <a:gd name="connsiteY2" fmla="*/ 49339 h 164948"/>
                      <a:gd name="connsiteX3" fmla="*/ 75652 w 223666"/>
                      <a:gd name="connsiteY3" fmla="*/ 69074 h 164948"/>
                      <a:gd name="connsiteX4" fmla="*/ 88809 w 223666"/>
                      <a:gd name="connsiteY4" fmla="*/ 92098 h 164948"/>
                      <a:gd name="connsiteX5" fmla="*/ 115122 w 223666"/>
                      <a:gd name="connsiteY5" fmla="*/ 128280 h 164948"/>
                      <a:gd name="connsiteX6" fmla="*/ 128279 w 223666"/>
                      <a:gd name="connsiteY6" fmla="*/ 157882 h 164948"/>
                      <a:gd name="connsiteX7" fmla="*/ 141436 w 223666"/>
                      <a:gd name="connsiteY7" fmla="*/ 164461 h 164948"/>
                      <a:gd name="connsiteX8" fmla="*/ 174328 w 223666"/>
                      <a:gd name="connsiteY8" fmla="*/ 164461 h 164948"/>
                      <a:gd name="connsiteX9" fmla="*/ 223666 w 223666"/>
                      <a:gd name="connsiteY9" fmla="*/ 164461 h 1649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3666" h="164948">
                        <a:moveTo>
                          <a:pt x="0" y="0"/>
                        </a:moveTo>
                        <a:lnTo>
                          <a:pt x="39471" y="32892"/>
                        </a:lnTo>
                        <a:cubicBezTo>
                          <a:pt x="49339" y="41115"/>
                          <a:pt x="53176" y="43309"/>
                          <a:pt x="59206" y="49339"/>
                        </a:cubicBezTo>
                        <a:cubicBezTo>
                          <a:pt x="65236" y="55369"/>
                          <a:pt x="70718" y="61948"/>
                          <a:pt x="75652" y="69074"/>
                        </a:cubicBezTo>
                        <a:cubicBezTo>
                          <a:pt x="80586" y="76201"/>
                          <a:pt x="82231" y="82230"/>
                          <a:pt x="88809" y="92098"/>
                        </a:cubicBezTo>
                        <a:cubicBezTo>
                          <a:pt x="95387" y="101966"/>
                          <a:pt x="108544" y="117316"/>
                          <a:pt x="115122" y="128280"/>
                        </a:cubicBezTo>
                        <a:cubicBezTo>
                          <a:pt x="121700" y="139244"/>
                          <a:pt x="128279" y="157882"/>
                          <a:pt x="128279" y="157882"/>
                        </a:cubicBezTo>
                        <a:cubicBezTo>
                          <a:pt x="132665" y="163912"/>
                          <a:pt x="133761" y="163365"/>
                          <a:pt x="141436" y="164461"/>
                        </a:cubicBezTo>
                        <a:cubicBezTo>
                          <a:pt x="149111" y="165558"/>
                          <a:pt x="174328" y="164461"/>
                          <a:pt x="174328" y="164461"/>
                        </a:cubicBezTo>
                        <a:cubicBezTo>
                          <a:pt x="188033" y="164461"/>
                          <a:pt x="211606" y="163913"/>
                          <a:pt x="223666" y="164461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3" name="Полилиния 82"/>
                  <p:cNvSpPr/>
                  <p:nvPr/>
                </p:nvSpPr>
                <p:spPr>
                  <a:xfrm>
                    <a:off x="7098112" y="2325470"/>
                    <a:ext cx="243401" cy="167750"/>
                  </a:xfrm>
                  <a:custGeom>
                    <a:avLst/>
                    <a:gdLst>
                      <a:gd name="connsiteX0" fmla="*/ 0 w 243401"/>
                      <a:gd name="connsiteY0" fmla="*/ 0 h 167750"/>
                      <a:gd name="connsiteX1" fmla="*/ 62495 w 243401"/>
                      <a:gd name="connsiteY1" fmla="*/ 52628 h 167750"/>
                      <a:gd name="connsiteX2" fmla="*/ 82230 w 243401"/>
                      <a:gd name="connsiteY2" fmla="*/ 82231 h 167750"/>
                      <a:gd name="connsiteX3" fmla="*/ 108544 w 243401"/>
                      <a:gd name="connsiteY3" fmla="*/ 98677 h 167750"/>
                      <a:gd name="connsiteX4" fmla="*/ 138147 w 243401"/>
                      <a:gd name="connsiteY4" fmla="*/ 101966 h 167750"/>
                      <a:gd name="connsiteX5" fmla="*/ 167749 w 243401"/>
                      <a:gd name="connsiteY5" fmla="*/ 108544 h 167750"/>
                      <a:gd name="connsiteX6" fmla="*/ 177617 w 243401"/>
                      <a:gd name="connsiteY6" fmla="*/ 111833 h 167750"/>
                      <a:gd name="connsiteX7" fmla="*/ 187485 w 243401"/>
                      <a:gd name="connsiteY7" fmla="*/ 144725 h 167750"/>
                      <a:gd name="connsiteX8" fmla="*/ 207220 w 243401"/>
                      <a:gd name="connsiteY8" fmla="*/ 148015 h 167750"/>
                      <a:gd name="connsiteX9" fmla="*/ 223666 w 243401"/>
                      <a:gd name="connsiteY9" fmla="*/ 157882 h 167750"/>
                      <a:gd name="connsiteX10" fmla="*/ 243401 w 243401"/>
                      <a:gd name="connsiteY10" fmla="*/ 167750 h 167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3401" h="167750">
                        <a:moveTo>
                          <a:pt x="0" y="0"/>
                        </a:moveTo>
                        <a:cubicBezTo>
                          <a:pt x="24395" y="19461"/>
                          <a:pt x="48790" y="38923"/>
                          <a:pt x="62495" y="52628"/>
                        </a:cubicBezTo>
                        <a:cubicBezTo>
                          <a:pt x="76200" y="66333"/>
                          <a:pt x="74555" y="74556"/>
                          <a:pt x="82230" y="82231"/>
                        </a:cubicBezTo>
                        <a:cubicBezTo>
                          <a:pt x="89905" y="89906"/>
                          <a:pt x="99225" y="95388"/>
                          <a:pt x="108544" y="98677"/>
                        </a:cubicBezTo>
                        <a:cubicBezTo>
                          <a:pt x="117864" y="101966"/>
                          <a:pt x="128280" y="100322"/>
                          <a:pt x="138147" y="101966"/>
                        </a:cubicBezTo>
                        <a:cubicBezTo>
                          <a:pt x="148014" y="103610"/>
                          <a:pt x="161171" y="106900"/>
                          <a:pt x="167749" y="108544"/>
                        </a:cubicBezTo>
                        <a:cubicBezTo>
                          <a:pt x="174327" y="110188"/>
                          <a:pt x="174328" y="105803"/>
                          <a:pt x="177617" y="111833"/>
                        </a:cubicBezTo>
                        <a:cubicBezTo>
                          <a:pt x="180906" y="117863"/>
                          <a:pt x="182551" y="138695"/>
                          <a:pt x="187485" y="144725"/>
                        </a:cubicBezTo>
                        <a:cubicBezTo>
                          <a:pt x="192419" y="150755"/>
                          <a:pt x="201190" y="145822"/>
                          <a:pt x="207220" y="148015"/>
                        </a:cubicBezTo>
                        <a:cubicBezTo>
                          <a:pt x="213250" y="150208"/>
                          <a:pt x="217636" y="154593"/>
                          <a:pt x="223666" y="157882"/>
                        </a:cubicBezTo>
                        <a:cubicBezTo>
                          <a:pt x="229696" y="161171"/>
                          <a:pt x="236548" y="164460"/>
                          <a:pt x="243401" y="16775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4" name="Полилиния 83"/>
                  <p:cNvSpPr/>
                  <p:nvPr/>
                </p:nvSpPr>
                <p:spPr>
                  <a:xfrm>
                    <a:off x="7098112" y="2324741"/>
                    <a:ext cx="243401" cy="167750"/>
                  </a:xfrm>
                  <a:custGeom>
                    <a:avLst/>
                    <a:gdLst>
                      <a:gd name="connsiteX0" fmla="*/ 0 w 243401"/>
                      <a:gd name="connsiteY0" fmla="*/ 0 h 167750"/>
                      <a:gd name="connsiteX1" fmla="*/ 62495 w 243401"/>
                      <a:gd name="connsiteY1" fmla="*/ 52628 h 167750"/>
                      <a:gd name="connsiteX2" fmla="*/ 82230 w 243401"/>
                      <a:gd name="connsiteY2" fmla="*/ 82231 h 167750"/>
                      <a:gd name="connsiteX3" fmla="*/ 108544 w 243401"/>
                      <a:gd name="connsiteY3" fmla="*/ 98677 h 167750"/>
                      <a:gd name="connsiteX4" fmla="*/ 138147 w 243401"/>
                      <a:gd name="connsiteY4" fmla="*/ 101966 h 167750"/>
                      <a:gd name="connsiteX5" fmla="*/ 167749 w 243401"/>
                      <a:gd name="connsiteY5" fmla="*/ 108544 h 167750"/>
                      <a:gd name="connsiteX6" fmla="*/ 177617 w 243401"/>
                      <a:gd name="connsiteY6" fmla="*/ 111833 h 167750"/>
                      <a:gd name="connsiteX7" fmla="*/ 187485 w 243401"/>
                      <a:gd name="connsiteY7" fmla="*/ 144725 h 167750"/>
                      <a:gd name="connsiteX8" fmla="*/ 207220 w 243401"/>
                      <a:gd name="connsiteY8" fmla="*/ 148015 h 167750"/>
                      <a:gd name="connsiteX9" fmla="*/ 223666 w 243401"/>
                      <a:gd name="connsiteY9" fmla="*/ 157882 h 167750"/>
                      <a:gd name="connsiteX10" fmla="*/ 243401 w 243401"/>
                      <a:gd name="connsiteY10" fmla="*/ 167750 h 1677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43401" h="167750">
                        <a:moveTo>
                          <a:pt x="0" y="0"/>
                        </a:moveTo>
                        <a:cubicBezTo>
                          <a:pt x="24395" y="19461"/>
                          <a:pt x="48790" y="38923"/>
                          <a:pt x="62495" y="52628"/>
                        </a:cubicBezTo>
                        <a:cubicBezTo>
                          <a:pt x="76200" y="66333"/>
                          <a:pt x="74555" y="74556"/>
                          <a:pt x="82230" y="82231"/>
                        </a:cubicBezTo>
                        <a:cubicBezTo>
                          <a:pt x="89905" y="89906"/>
                          <a:pt x="99225" y="95388"/>
                          <a:pt x="108544" y="98677"/>
                        </a:cubicBezTo>
                        <a:cubicBezTo>
                          <a:pt x="117864" y="101966"/>
                          <a:pt x="128280" y="100322"/>
                          <a:pt x="138147" y="101966"/>
                        </a:cubicBezTo>
                        <a:cubicBezTo>
                          <a:pt x="148014" y="103610"/>
                          <a:pt x="161171" y="106900"/>
                          <a:pt x="167749" y="108544"/>
                        </a:cubicBezTo>
                        <a:cubicBezTo>
                          <a:pt x="174327" y="110188"/>
                          <a:pt x="174328" y="105803"/>
                          <a:pt x="177617" y="111833"/>
                        </a:cubicBezTo>
                        <a:cubicBezTo>
                          <a:pt x="180906" y="117863"/>
                          <a:pt x="182551" y="138695"/>
                          <a:pt x="187485" y="144725"/>
                        </a:cubicBezTo>
                        <a:cubicBezTo>
                          <a:pt x="192419" y="150755"/>
                          <a:pt x="201190" y="145822"/>
                          <a:pt x="207220" y="148015"/>
                        </a:cubicBezTo>
                        <a:cubicBezTo>
                          <a:pt x="213250" y="150208"/>
                          <a:pt x="217636" y="154593"/>
                          <a:pt x="223666" y="157882"/>
                        </a:cubicBezTo>
                        <a:cubicBezTo>
                          <a:pt x="229696" y="161171"/>
                          <a:pt x="236548" y="164460"/>
                          <a:pt x="243401" y="16775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5" name="Полилиния 84"/>
                  <p:cNvSpPr/>
                  <p:nvPr/>
                </p:nvSpPr>
                <p:spPr>
                  <a:xfrm>
                    <a:off x="5571385" y="2334273"/>
                    <a:ext cx="504825" cy="209550"/>
                  </a:xfrm>
                  <a:custGeom>
                    <a:avLst/>
                    <a:gdLst>
                      <a:gd name="connsiteX0" fmla="*/ 504825 w 504825"/>
                      <a:gd name="connsiteY0" fmla="*/ 0 h 209550"/>
                      <a:gd name="connsiteX1" fmla="*/ 438150 w 504825"/>
                      <a:gd name="connsiteY1" fmla="*/ 34925 h 209550"/>
                      <a:gd name="connsiteX2" fmla="*/ 403225 w 504825"/>
                      <a:gd name="connsiteY2" fmla="*/ 41275 h 209550"/>
                      <a:gd name="connsiteX3" fmla="*/ 361950 w 504825"/>
                      <a:gd name="connsiteY3" fmla="*/ 38100 h 209550"/>
                      <a:gd name="connsiteX4" fmla="*/ 339725 w 504825"/>
                      <a:gd name="connsiteY4" fmla="*/ 31750 h 209550"/>
                      <a:gd name="connsiteX5" fmla="*/ 288925 w 504825"/>
                      <a:gd name="connsiteY5" fmla="*/ 9525 h 209550"/>
                      <a:gd name="connsiteX6" fmla="*/ 257175 w 504825"/>
                      <a:gd name="connsiteY6" fmla="*/ 0 h 209550"/>
                      <a:gd name="connsiteX7" fmla="*/ 238125 w 504825"/>
                      <a:gd name="connsiteY7" fmla="*/ 9525 h 209550"/>
                      <a:gd name="connsiteX8" fmla="*/ 184150 w 504825"/>
                      <a:gd name="connsiteY8" fmla="*/ 19050 h 209550"/>
                      <a:gd name="connsiteX9" fmla="*/ 155575 w 504825"/>
                      <a:gd name="connsiteY9" fmla="*/ 41275 h 209550"/>
                      <a:gd name="connsiteX10" fmla="*/ 111125 w 504825"/>
                      <a:gd name="connsiteY10" fmla="*/ 76200 h 209550"/>
                      <a:gd name="connsiteX11" fmla="*/ 92075 w 504825"/>
                      <a:gd name="connsiteY11" fmla="*/ 107950 h 209550"/>
                      <a:gd name="connsiteX12" fmla="*/ 69850 w 504825"/>
                      <a:gd name="connsiteY12" fmla="*/ 139700 h 209550"/>
                      <a:gd name="connsiteX13" fmla="*/ 47625 w 504825"/>
                      <a:gd name="connsiteY13" fmla="*/ 171450 h 209550"/>
                      <a:gd name="connsiteX14" fmla="*/ 19050 w 504825"/>
                      <a:gd name="connsiteY14" fmla="*/ 190500 h 209550"/>
                      <a:gd name="connsiteX15" fmla="*/ 0 w 504825"/>
                      <a:gd name="connsiteY15" fmla="*/ 209550 h 2095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504825" h="209550">
                        <a:moveTo>
                          <a:pt x="504825" y="0"/>
                        </a:moveTo>
                        <a:cubicBezTo>
                          <a:pt x="479954" y="14023"/>
                          <a:pt x="455083" y="28046"/>
                          <a:pt x="438150" y="34925"/>
                        </a:cubicBezTo>
                        <a:cubicBezTo>
                          <a:pt x="421217" y="41804"/>
                          <a:pt x="415925" y="40746"/>
                          <a:pt x="403225" y="41275"/>
                        </a:cubicBezTo>
                        <a:cubicBezTo>
                          <a:pt x="390525" y="41804"/>
                          <a:pt x="372533" y="39688"/>
                          <a:pt x="361950" y="38100"/>
                        </a:cubicBezTo>
                        <a:cubicBezTo>
                          <a:pt x="351367" y="36513"/>
                          <a:pt x="351896" y="36512"/>
                          <a:pt x="339725" y="31750"/>
                        </a:cubicBezTo>
                        <a:cubicBezTo>
                          <a:pt x="327554" y="26988"/>
                          <a:pt x="302683" y="14817"/>
                          <a:pt x="288925" y="9525"/>
                        </a:cubicBezTo>
                        <a:cubicBezTo>
                          <a:pt x="275167" y="4233"/>
                          <a:pt x="265642" y="0"/>
                          <a:pt x="257175" y="0"/>
                        </a:cubicBezTo>
                        <a:cubicBezTo>
                          <a:pt x="248708" y="0"/>
                          <a:pt x="250296" y="6350"/>
                          <a:pt x="238125" y="9525"/>
                        </a:cubicBezTo>
                        <a:cubicBezTo>
                          <a:pt x="225954" y="12700"/>
                          <a:pt x="197908" y="13758"/>
                          <a:pt x="184150" y="19050"/>
                        </a:cubicBezTo>
                        <a:cubicBezTo>
                          <a:pt x="170392" y="24342"/>
                          <a:pt x="155575" y="41275"/>
                          <a:pt x="155575" y="41275"/>
                        </a:cubicBezTo>
                        <a:cubicBezTo>
                          <a:pt x="143404" y="50800"/>
                          <a:pt x="121708" y="65088"/>
                          <a:pt x="111125" y="76200"/>
                        </a:cubicBezTo>
                        <a:cubicBezTo>
                          <a:pt x="100542" y="87312"/>
                          <a:pt x="98954" y="97367"/>
                          <a:pt x="92075" y="107950"/>
                        </a:cubicBezTo>
                        <a:cubicBezTo>
                          <a:pt x="85196" y="118533"/>
                          <a:pt x="69850" y="139700"/>
                          <a:pt x="69850" y="139700"/>
                        </a:cubicBezTo>
                        <a:cubicBezTo>
                          <a:pt x="62442" y="150283"/>
                          <a:pt x="56092" y="162983"/>
                          <a:pt x="47625" y="171450"/>
                        </a:cubicBezTo>
                        <a:cubicBezTo>
                          <a:pt x="39158" y="179917"/>
                          <a:pt x="26987" y="184150"/>
                          <a:pt x="19050" y="190500"/>
                        </a:cubicBezTo>
                        <a:cubicBezTo>
                          <a:pt x="11113" y="196850"/>
                          <a:pt x="5556" y="203200"/>
                          <a:pt x="0" y="20955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6" name="Блок-схема: узел 85"/>
                  <p:cNvSpPr/>
                  <p:nvPr/>
                </p:nvSpPr>
                <p:spPr>
                  <a:xfrm>
                    <a:off x="2331578" y="2455887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7" name="Блок-схема: узел 86"/>
                  <p:cNvSpPr/>
                  <p:nvPr/>
                </p:nvSpPr>
                <p:spPr>
                  <a:xfrm>
                    <a:off x="1009058" y="2078149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8" name="Блок-схема: узел 87"/>
                  <p:cNvSpPr/>
                  <p:nvPr/>
                </p:nvSpPr>
                <p:spPr>
                  <a:xfrm>
                    <a:off x="1304576" y="196317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89" name="Блок-схема: узел 88"/>
                  <p:cNvSpPr/>
                  <p:nvPr/>
                </p:nvSpPr>
                <p:spPr>
                  <a:xfrm>
                    <a:off x="321129" y="3469470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0" name="Блок-схема: узел 89"/>
                  <p:cNvSpPr/>
                  <p:nvPr/>
                </p:nvSpPr>
                <p:spPr>
                  <a:xfrm>
                    <a:off x="976168" y="448139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1" name="Блок-схема: узел 90"/>
                  <p:cNvSpPr/>
                  <p:nvPr/>
                </p:nvSpPr>
                <p:spPr>
                  <a:xfrm>
                    <a:off x="911793" y="4683409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2" name="Блок-схема: узел 91"/>
                  <p:cNvSpPr/>
                  <p:nvPr/>
                </p:nvSpPr>
                <p:spPr>
                  <a:xfrm>
                    <a:off x="1497275" y="3418344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3" name="Блок-схема: узел 92"/>
                  <p:cNvSpPr/>
                  <p:nvPr/>
                </p:nvSpPr>
                <p:spPr>
                  <a:xfrm>
                    <a:off x="3554763" y="2064841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4" name="Блок-схема: узел 93"/>
                  <p:cNvSpPr/>
                  <p:nvPr/>
                </p:nvSpPr>
                <p:spPr>
                  <a:xfrm>
                    <a:off x="7866684" y="4538157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5" name="Блок-схема: узел 94"/>
                  <p:cNvSpPr/>
                  <p:nvPr/>
                </p:nvSpPr>
                <p:spPr>
                  <a:xfrm>
                    <a:off x="6206861" y="141667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6" name="Блок-схема: узел 95"/>
                  <p:cNvSpPr/>
                  <p:nvPr/>
                </p:nvSpPr>
                <p:spPr>
                  <a:xfrm>
                    <a:off x="7785008" y="2826989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7" name="Блок-схема: узел 96"/>
                  <p:cNvSpPr/>
                  <p:nvPr/>
                </p:nvSpPr>
                <p:spPr>
                  <a:xfrm>
                    <a:off x="7735208" y="3563182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8" name="Блок-схема: узел 97"/>
                  <p:cNvSpPr/>
                  <p:nvPr/>
                </p:nvSpPr>
                <p:spPr>
                  <a:xfrm>
                    <a:off x="8825509" y="3218002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99" name="Блок-схема: узел 98"/>
                  <p:cNvSpPr/>
                  <p:nvPr/>
                </p:nvSpPr>
                <p:spPr>
                  <a:xfrm>
                    <a:off x="8301721" y="4092172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0" name="Полилиния 99"/>
                  <p:cNvSpPr/>
                  <p:nvPr/>
                </p:nvSpPr>
                <p:spPr>
                  <a:xfrm>
                    <a:off x="4919903" y="1299248"/>
                    <a:ext cx="98521" cy="12316"/>
                  </a:xfrm>
                  <a:custGeom>
                    <a:avLst/>
                    <a:gdLst>
                      <a:gd name="connsiteX0" fmla="*/ 98521 w 98521"/>
                      <a:gd name="connsiteY0" fmla="*/ 12316 h 12316"/>
                      <a:gd name="connsiteX1" fmla="*/ 43103 w 98521"/>
                      <a:gd name="connsiteY1" fmla="*/ 6158 h 12316"/>
                      <a:gd name="connsiteX2" fmla="*/ 15394 w 98521"/>
                      <a:gd name="connsiteY2" fmla="*/ 0 h 12316"/>
                      <a:gd name="connsiteX3" fmla="*/ 0 w 98521"/>
                      <a:gd name="connsiteY3" fmla="*/ 6158 h 12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521" h="12316">
                        <a:moveTo>
                          <a:pt x="98521" y="12316"/>
                        </a:moveTo>
                        <a:cubicBezTo>
                          <a:pt x="77739" y="10263"/>
                          <a:pt x="56957" y="8211"/>
                          <a:pt x="43103" y="6158"/>
                        </a:cubicBezTo>
                        <a:cubicBezTo>
                          <a:pt x="29249" y="4105"/>
                          <a:pt x="22578" y="0"/>
                          <a:pt x="15394" y="0"/>
                        </a:cubicBezTo>
                        <a:cubicBezTo>
                          <a:pt x="8210" y="0"/>
                          <a:pt x="4105" y="3079"/>
                          <a:pt x="0" y="615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1" name="Полилиния 100"/>
                  <p:cNvSpPr/>
                  <p:nvPr/>
                </p:nvSpPr>
                <p:spPr>
                  <a:xfrm>
                    <a:off x="4888965" y="1295042"/>
                    <a:ext cx="98521" cy="12316"/>
                  </a:xfrm>
                  <a:custGeom>
                    <a:avLst/>
                    <a:gdLst>
                      <a:gd name="connsiteX0" fmla="*/ 98521 w 98521"/>
                      <a:gd name="connsiteY0" fmla="*/ 12316 h 12316"/>
                      <a:gd name="connsiteX1" fmla="*/ 43103 w 98521"/>
                      <a:gd name="connsiteY1" fmla="*/ 6158 h 12316"/>
                      <a:gd name="connsiteX2" fmla="*/ 15394 w 98521"/>
                      <a:gd name="connsiteY2" fmla="*/ 0 h 12316"/>
                      <a:gd name="connsiteX3" fmla="*/ 0 w 98521"/>
                      <a:gd name="connsiteY3" fmla="*/ 6158 h 12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8521" h="12316">
                        <a:moveTo>
                          <a:pt x="98521" y="12316"/>
                        </a:moveTo>
                        <a:cubicBezTo>
                          <a:pt x="77739" y="10263"/>
                          <a:pt x="56957" y="8211"/>
                          <a:pt x="43103" y="6158"/>
                        </a:cubicBezTo>
                        <a:cubicBezTo>
                          <a:pt x="29249" y="4105"/>
                          <a:pt x="22578" y="0"/>
                          <a:pt x="15394" y="0"/>
                        </a:cubicBezTo>
                        <a:cubicBezTo>
                          <a:pt x="8210" y="0"/>
                          <a:pt x="4105" y="3079"/>
                          <a:pt x="0" y="6158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2" name="Полилиния 101"/>
                  <p:cNvSpPr/>
                  <p:nvPr/>
                </p:nvSpPr>
                <p:spPr>
                  <a:xfrm>
                    <a:off x="4870642" y="1245248"/>
                    <a:ext cx="64655" cy="54000"/>
                  </a:xfrm>
                  <a:custGeom>
                    <a:avLst/>
                    <a:gdLst>
                      <a:gd name="connsiteX0" fmla="*/ 64655 w 64655"/>
                      <a:gd name="connsiteY0" fmla="*/ 54000 h 54000"/>
                      <a:gd name="connsiteX1" fmla="*/ 12316 w 64655"/>
                      <a:gd name="connsiteY1" fmla="*/ 4740 h 54000"/>
                      <a:gd name="connsiteX2" fmla="*/ 0 w 64655"/>
                      <a:gd name="connsiteY2" fmla="*/ 4740 h 5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4655" h="54000">
                        <a:moveTo>
                          <a:pt x="64655" y="54000"/>
                        </a:moveTo>
                        <a:lnTo>
                          <a:pt x="12316" y="4740"/>
                        </a:lnTo>
                        <a:cubicBezTo>
                          <a:pt x="1540" y="-3470"/>
                          <a:pt x="770" y="635"/>
                          <a:pt x="0" y="474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3" name="Полилиния 102"/>
                  <p:cNvSpPr/>
                  <p:nvPr/>
                </p:nvSpPr>
                <p:spPr>
                  <a:xfrm>
                    <a:off x="4868164" y="1239768"/>
                    <a:ext cx="64655" cy="54000"/>
                  </a:xfrm>
                  <a:custGeom>
                    <a:avLst/>
                    <a:gdLst>
                      <a:gd name="connsiteX0" fmla="*/ 64655 w 64655"/>
                      <a:gd name="connsiteY0" fmla="*/ 54000 h 54000"/>
                      <a:gd name="connsiteX1" fmla="*/ 12316 w 64655"/>
                      <a:gd name="connsiteY1" fmla="*/ 4740 h 54000"/>
                      <a:gd name="connsiteX2" fmla="*/ 0 w 64655"/>
                      <a:gd name="connsiteY2" fmla="*/ 4740 h 54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64655" h="54000">
                        <a:moveTo>
                          <a:pt x="64655" y="54000"/>
                        </a:moveTo>
                        <a:lnTo>
                          <a:pt x="12316" y="4740"/>
                        </a:lnTo>
                        <a:cubicBezTo>
                          <a:pt x="1540" y="-3470"/>
                          <a:pt x="770" y="635"/>
                          <a:pt x="0" y="474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4" name="Блок-схема: узел 103"/>
                  <p:cNvSpPr/>
                  <p:nvPr/>
                </p:nvSpPr>
                <p:spPr>
                  <a:xfrm>
                    <a:off x="4996607" y="1283282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5" name="Блок-схема: узел 104"/>
                  <p:cNvSpPr/>
                  <p:nvPr/>
                </p:nvSpPr>
                <p:spPr>
                  <a:xfrm>
                    <a:off x="4828519" y="1207181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6" name="Полилиния 105"/>
                  <p:cNvSpPr/>
                  <p:nvPr/>
                </p:nvSpPr>
                <p:spPr>
                  <a:xfrm>
                    <a:off x="5132339" y="1856509"/>
                    <a:ext cx="136652" cy="141624"/>
                  </a:xfrm>
                  <a:custGeom>
                    <a:avLst/>
                    <a:gdLst>
                      <a:gd name="connsiteX0" fmla="*/ 0 w 136652"/>
                      <a:gd name="connsiteY0" fmla="*/ 0 h 141624"/>
                      <a:gd name="connsiteX1" fmla="*/ 46182 w 136652"/>
                      <a:gd name="connsiteY1" fmla="*/ 24630 h 141624"/>
                      <a:gd name="connsiteX2" fmla="*/ 64655 w 136652"/>
                      <a:gd name="connsiteY2" fmla="*/ 46182 h 141624"/>
                      <a:gd name="connsiteX3" fmla="*/ 92364 w 136652"/>
                      <a:gd name="connsiteY3" fmla="*/ 58497 h 141624"/>
                      <a:gd name="connsiteX4" fmla="*/ 116994 w 136652"/>
                      <a:gd name="connsiteY4" fmla="*/ 70812 h 141624"/>
                      <a:gd name="connsiteX5" fmla="*/ 123152 w 136652"/>
                      <a:gd name="connsiteY5" fmla="*/ 89285 h 141624"/>
                      <a:gd name="connsiteX6" fmla="*/ 135467 w 136652"/>
                      <a:gd name="connsiteY6" fmla="*/ 116994 h 141624"/>
                      <a:gd name="connsiteX7" fmla="*/ 135467 w 136652"/>
                      <a:gd name="connsiteY7" fmla="*/ 141624 h 141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652" h="141624">
                        <a:moveTo>
                          <a:pt x="0" y="0"/>
                        </a:moveTo>
                        <a:cubicBezTo>
                          <a:pt x="17703" y="8466"/>
                          <a:pt x="35406" y="16933"/>
                          <a:pt x="46182" y="24630"/>
                        </a:cubicBezTo>
                        <a:cubicBezTo>
                          <a:pt x="56958" y="32327"/>
                          <a:pt x="56958" y="40538"/>
                          <a:pt x="64655" y="46182"/>
                        </a:cubicBezTo>
                        <a:cubicBezTo>
                          <a:pt x="72352" y="51827"/>
                          <a:pt x="83641" y="54392"/>
                          <a:pt x="92364" y="58497"/>
                        </a:cubicBezTo>
                        <a:cubicBezTo>
                          <a:pt x="101087" y="62602"/>
                          <a:pt x="116994" y="70812"/>
                          <a:pt x="116994" y="70812"/>
                        </a:cubicBezTo>
                        <a:cubicBezTo>
                          <a:pt x="122125" y="75943"/>
                          <a:pt x="120073" y="81588"/>
                          <a:pt x="123152" y="89285"/>
                        </a:cubicBezTo>
                        <a:cubicBezTo>
                          <a:pt x="126231" y="96982"/>
                          <a:pt x="133414" y="108271"/>
                          <a:pt x="135467" y="116994"/>
                        </a:cubicBezTo>
                        <a:cubicBezTo>
                          <a:pt x="137520" y="125717"/>
                          <a:pt x="136493" y="133670"/>
                          <a:pt x="135467" y="141624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7" name="Полилиния 106"/>
                  <p:cNvSpPr/>
                  <p:nvPr/>
                </p:nvSpPr>
                <p:spPr>
                  <a:xfrm>
                    <a:off x="5133877" y="1861124"/>
                    <a:ext cx="136652" cy="141624"/>
                  </a:xfrm>
                  <a:custGeom>
                    <a:avLst/>
                    <a:gdLst>
                      <a:gd name="connsiteX0" fmla="*/ 0 w 136652"/>
                      <a:gd name="connsiteY0" fmla="*/ 0 h 141624"/>
                      <a:gd name="connsiteX1" fmla="*/ 46182 w 136652"/>
                      <a:gd name="connsiteY1" fmla="*/ 24630 h 141624"/>
                      <a:gd name="connsiteX2" fmla="*/ 64655 w 136652"/>
                      <a:gd name="connsiteY2" fmla="*/ 46182 h 141624"/>
                      <a:gd name="connsiteX3" fmla="*/ 92364 w 136652"/>
                      <a:gd name="connsiteY3" fmla="*/ 58497 h 141624"/>
                      <a:gd name="connsiteX4" fmla="*/ 116994 w 136652"/>
                      <a:gd name="connsiteY4" fmla="*/ 70812 h 141624"/>
                      <a:gd name="connsiteX5" fmla="*/ 123152 w 136652"/>
                      <a:gd name="connsiteY5" fmla="*/ 89285 h 141624"/>
                      <a:gd name="connsiteX6" fmla="*/ 135467 w 136652"/>
                      <a:gd name="connsiteY6" fmla="*/ 116994 h 141624"/>
                      <a:gd name="connsiteX7" fmla="*/ 135467 w 136652"/>
                      <a:gd name="connsiteY7" fmla="*/ 141624 h 1416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36652" h="141624">
                        <a:moveTo>
                          <a:pt x="0" y="0"/>
                        </a:moveTo>
                        <a:cubicBezTo>
                          <a:pt x="17703" y="8466"/>
                          <a:pt x="35406" y="16933"/>
                          <a:pt x="46182" y="24630"/>
                        </a:cubicBezTo>
                        <a:cubicBezTo>
                          <a:pt x="56958" y="32327"/>
                          <a:pt x="56958" y="40538"/>
                          <a:pt x="64655" y="46182"/>
                        </a:cubicBezTo>
                        <a:cubicBezTo>
                          <a:pt x="72352" y="51827"/>
                          <a:pt x="83641" y="54392"/>
                          <a:pt x="92364" y="58497"/>
                        </a:cubicBezTo>
                        <a:cubicBezTo>
                          <a:pt x="101087" y="62602"/>
                          <a:pt x="116994" y="70812"/>
                          <a:pt x="116994" y="70812"/>
                        </a:cubicBezTo>
                        <a:cubicBezTo>
                          <a:pt x="122125" y="75943"/>
                          <a:pt x="120073" y="81588"/>
                          <a:pt x="123152" y="89285"/>
                        </a:cubicBezTo>
                        <a:cubicBezTo>
                          <a:pt x="126231" y="96982"/>
                          <a:pt x="133414" y="108271"/>
                          <a:pt x="135467" y="116994"/>
                        </a:cubicBezTo>
                        <a:cubicBezTo>
                          <a:pt x="137520" y="125717"/>
                          <a:pt x="136493" y="133670"/>
                          <a:pt x="135467" y="141624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8" name="Блок-схема: узел 107"/>
                  <p:cNvSpPr/>
                  <p:nvPr/>
                </p:nvSpPr>
                <p:spPr>
                  <a:xfrm>
                    <a:off x="5069250" y="1800409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09" name="Полилиния 108"/>
                  <p:cNvSpPr/>
                  <p:nvPr/>
                </p:nvSpPr>
                <p:spPr>
                  <a:xfrm>
                    <a:off x="5055369" y="1958034"/>
                    <a:ext cx="127768" cy="73694"/>
                  </a:xfrm>
                  <a:custGeom>
                    <a:avLst/>
                    <a:gdLst>
                      <a:gd name="connsiteX0" fmla="*/ 132388 w 132388"/>
                      <a:gd name="connsiteY0" fmla="*/ 80124 h 80124"/>
                      <a:gd name="connsiteX1" fmla="*/ 76970 w 132388"/>
                      <a:gd name="connsiteY1" fmla="*/ 18548 h 80124"/>
                      <a:gd name="connsiteX2" fmla="*/ 52339 w 132388"/>
                      <a:gd name="connsiteY2" fmla="*/ 75 h 80124"/>
                      <a:gd name="connsiteX3" fmla="*/ 15394 w 132388"/>
                      <a:gd name="connsiteY3" fmla="*/ 12390 h 80124"/>
                      <a:gd name="connsiteX4" fmla="*/ 0 w 132388"/>
                      <a:gd name="connsiteY4" fmla="*/ 21627 h 8012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2388" h="80124">
                        <a:moveTo>
                          <a:pt x="132388" y="80124"/>
                        </a:moveTo>
                        <a:cubicBezTo>
                          <a:pt x="111349" y="56006"/>
                          <a:pt x="90311" y="31889"/>
                          <a:pt x="76970" y="18548"/>
                        </a:cubicBezTo>
                        <a:cubicBezTo>
                          <a:pt x="63629" y="5207"/>
                          <a:pt x="62602" y="1101"/>
                          <a:pt x="52339" y="75"/>
                        </a:cubicBezTo>
                        <a:cubicBezTo>
                          <a:pt x="42076" y="-951"/>
                          <a:pt x="24117" y="8798"/>
                          <a:pt x="15394" y="12390"/>
                        </a:cubicBezTo>
                        <a:cubicBezTo>
                          <a:pt x="6671" y="15982"/>
                          <a:pt x="3335" y="18804"/>
                          <a:pt x="0" y="21627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0" name="Полилиния 109"/>
                  <p:cNvSpPr/>
                  <p:nvPr/>
                </p:nvSpPr>
                <p:spPr>
                  <a:xfrm>
                    <a:off x="5166206" y="1973503"/>
                    <a:ext cx="95442" cy="52339"/>
                  </a:xfrm>
                  <a:custGeom>
                    <a:avLst/>
                    <a:gdLst>
                      <a:gd name="connsiteX0" fmla="*/ 95442 w 95442"/>
                      <a:gd name="connsiteY0" fmla="*/ 0 h 52339"/>
                      <a:gd name="connsiteX1" fmla="*/ 55418 w 95442"/>
                      <a:gd name="connsiteY1" fmla="*/ 36945 h 52339"/>
                      <a:gd name="connsiteX2" fmla="*/ 30788 w 95442"/>
                      <a:gd name="connsiteY2" fmla="*/ 46182 h 52339"/>
                      <a:gd name="connsiteX3" fmla="*/ 18473 w 95442"/>
                      <a:gd name="connsiteY3" fmla="*/ 52339 h 52339"/>
                      <a:gd name="connsiteX4" fmla="*/ 0 w 95442"/>
                      <a:gd name="connsiteY4" fmla="*/ 46182 h 5233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95442" h="52339">
                        <a:moveTo>
                          <a:pt x="95442" y="0"/>
                        </a:moveTo>
                        <a:cubicBezTo>
                          <a:pt x="80818" y="14624"/>
                          <a:pt x="66194" y="29248"/>
                          <a:pt x="55418" y="36945"/>
                        </a:cubicBezTo>
                        <a:cubicBezTo>
                          <a:pt x="44642" y="44642"/>
                          <a:pt x="30788" y="46182"/>
                          <a:pt x="30788" y="46182"/>
                        </a:cubicBezTo>
                        <a:cubicBezTo>
                          <a:pt x="24631" y="48748"/>
                          <a:pt x="23604" y="52339"/>
                          <a:pt x="18473" y="52339"/>
                        </a:cubicBezTo>
                        <a:cubicBezTo>
                          <a:pt x="13342" y="52339"/>
                          <a:pt x="6671" y="49260"/>
                          <a:pt x="0" y="46182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1" name="Полилиния 110"/>
                  <p:cNvSpPr/>
                  <p:nvPr/>
                </p:nvSpPr>
                <p:spPr>
                  <a:xfrm>
                    <a:off x="5049212" y="1960892"/>
                    <a:ext cx="221673" cy="66141"/>
                  </a:xfrm>
                  <a:custGeom>
                    <a:avLst/>
                    <a:gdLst>
                      <a:gd name="connsiteX0" fmla="*/ 221673 w 221673"/>
                      <a:gd name="connsiteY0" fmla="*/ 296 h 66141"/>
                      <a:gd name="connsiteX1" fmla="*/ 163176 w 221673"/>
                      <a:gd name="connsiteY1" fmla="*/ 58793 h 66141"/>
                      <a:gd name="connsiteX2" fmla="*/ 138546 w 221673"/>
                      <a:gd name="connsiteY2" fmla="*/ 64950 h 66141"/>
                      <a:gd name="connsiteX3" fmla="*/ 120073 w 221673"/>
                      <a:gd name="connsiteY3" fmla="*/ 55714 h 66141"/>
                      <a:gd name="connsiteX4" fmla="*/ 95443 w 221673"/>
                      <a:gd name="connsiteY4" fmla="*/ 34162 h 66141"/>
                      <a:gd name="connsiteX5" fmla="*/ 67733 w 221673"/>
                      <a:gd name="connsiteY5" fmla="*/ 6453 h 66141"/>
                      <a:gd name="connsiteX6" fmla="*/ 46182 w 221673"/>
                      <a:gd name="connsiteY6" fmla="*/ 296 h 66141"/>
                      <a:gd name="connsiteX7" fmla="*/ 24630 w 221673"/>
                      <a:gd name="connsiteY7" fmla="*/ 12611 h 66141"/>
                      <a:gd name="connsiteX8" fmla="*/ 12315 w 221673"/>
                      <a:gd name="connsiteY8" fmla="*/ 18768 h 66141"/>
                      <a:gd name="connsiteX9" fmla="*/ 0 w 221673"/>
                      <a:gd name="connsiteY9" fmla="*/ 24926 h 661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1673" h="66141">
                        <a:moveTo>
                          <a:pt x="221673" y="296"/>
                        </a:moveTo>
                        <a:cubicBezTo>
                          <a:pt x="199351" y="24156"/>
                          <a:pt x="177030" y="48017"/>
                          <a:pt x="163176" y="58793"/>
                        </a:cubicBezTo>
                        <a:cubicBezTo>
                          <a:pt x="149322" y="69569"/>
                          <a:pt x="145730" y="65463"/>
                          <a:pt x="138546" y="64950"/>
                        </a:cubicBezTo>
                        <a:cubicBezTo>
                          <a:pt x="131362" y="64437"/>
                          <a:pt x="127257" y="60845"/>
                          <a:pt x="120073" y="55714"/>
                        </a:cubicBezTo>
                        <a:cubicBezTo>
                          <a:pt x="112889" y="50583"/>
                          <a:pt x="104166" y="42372"/>
                          <a:pt x="95443" y="34162"/>
                        </a:cubicBezTo>
                        <a:cubicBezTo>
                          <a:pt x="86720" y="25952"/>
                          <a:pt x="75943" y="12097"/>
                          <a:pt x="67733" y="6453"/>
                        </a:cubicBezTo>
                        <a:cubicBezTo>
                          <a:pt x="59523" y="809"/>
                          <a:pt x="53366" y="-730"/>
                          <a:pt x="46182" y="296"/>
                        </a:cubicBezTo>
                        <a:cubicBezTo>
                          <a:pt x="38998" y="1322"/>
                          <a:pt x="24630" y="12611"/>
                          <a:pt x="24630" y="12611"/>
                        </a:cubicBezTo>
                        <a:cubicBezTo>
                          <a:pt x="18986" y="15690"/>
                          <a:pt x="12315" y="18768"/>
                          <a:pt x="12315" y="18768"/>
                        </a:cubicBezTo>
                        <a:lnTo>
                          <a:pt x="0" y="24926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2" name="Блок-схема: узел 111"/>
                  <p:cNvSpPr/>
                  <p:nvPr/>
                </p:nvSpPr>
                <p:spPr>
                  <a:xfrm>
                    <a:off x="5025413" y="1932967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3" name="Полилиния 112"/>
                  <p:cNvSpPr/>
                  <p:nvPr/>
                </p:nvSpPr>
                <p:spPr>
                  <a:xfrm>
                    <a:off x="5265804" y="1985818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825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4" name="Полилиния 113"/>
                  <p:cNvSpPr/>
                  <p:nvPr/>
                </p:nvSpPr>
                <p:spPr>
                  <a:xfrm>
                    <a:off x="5238559" y="2002752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5" name="Полилиния 114"/>
                  <p:cNvSpPr/>
                  <p:nvPr/>
                </p:nvSpPr>
                <p:spPr>
                  <a:xfrm>
                    <a:off x="5248261" y="1991975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6" name="Полилиния 115"/>
                  <p:cNvSpPr/>
                  <p:nvPr/>
                </p:nvSpPr>
                <p:spPr>
                  <a:xfrm>
                    <a:off x="5275499" y="1975040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7" name="Полилиния 116"/>
                  <p:cNvSpPr/>
                  <p:nvPr/>
                </p:nvSpPr>
                <p:spPr>
                  <a:xfrm>
                    <a:off x="5286277" y="1964262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8" name="Полилиния 117"/>
                  <p:cNvSpPr/>
                  <p:nvPr/>
                </p:nvSpPr>
                <p:spPr>
                  <a:xfrm>
                    <a:off x="5263195" y="1983197"/>
                    <a:ext cx="293077" cy="532630"/>
                  </a:xfrm>
                  <a:custGeom>
                    <a:avLst/>
                    <a:gdLst>
                      <a:gd name="connsiteX0" fmla="*/ 0 w 293077"/>
                      <a:gd name="connsiteY0" fmla="*/ 0 h 532630"/>
                      <a:gd name="connsiteX1" fmla="*/ 33867 w 293077"/>
                      <a:gd name="connsiteY1" fmla="*/ 52340 h 532630"/>
                      <a:gd name="connsiteX2" fmla="*/ 58497 w 293077"/>
                      <a:gd name="connsiteY2" fmla="*/ 73891 h 532630"/>
                      <a:gd name="connsiteX3" fmla="*/ 83128 w 293077"/>
                      <a:gd name="connsiteY3" fmla="*/ 92364 h 532630"/>
                      <a:gd name="connsiteX4" fmla="*/ 104679 w 293077"/>
                      <a:gd name="connsiteY4" fmla="*/ 120073 h 532630"/>
                      <a:gd name="connsiteX5" fmla="*/ 116994 w 293077"/>
                      <a:gd name="connsiteY5" fmla="*/ 166255 h 532630"/>
                      <a:gd name="connsiteX6" fmla="*/ 147782 w 293077"/>
                      <a:gd name="connsiteY6" fmla="*/ 172412 h 532630"/>
                      <a:gd name="connsiteX7" fmla="*/ 175491 w 293077"/>
                      <a:gd name="connsiteY7" fmla="*/ 190885 h 532630"/>
                      <a:gd name="connsiteX8" fmla="*/ 184728 w 293077"/>
                      <a:gd name="connsiteY8" fmla="*/ 221673 h 532630"/>
                      <a:gd name="connsiteX9" fmla="*/ 178570 w 293077"/>
                      <a:gd name="connsiteY9" fmla="*/ 280170 h 532630"/>
                      <a:gd name="connsiteX10" fmla="*/ 181649 w 293077"/>
                      <a:gd name="connsiteY10" fmla="*/ 301721 h 532630"/>
                      <a:gd name="connsiteX11" fmla="*/ 206279 w 293077"/>
                      <a:gd name="connsiteY11" fmla="*/ 335588 h 532630"/>
                      <a:gd name="connsiteX12" fmla="*/ 221673 w 293077"/>
                      <a:gd name="connsiteY12" fmla="*/ 366376 h 532630"/>
                      <a:gd name="connsiteX13" fmla="*/ 227831 w 293077"/>
                      <a:gd name="connsiteY13" fmla="*/ 412558 h 532630"/>
                      <a:gd name="connsiteX14" fmla="*/ 240146 w 293077"/>
                      <a:gd name="connsiteY14" fmla="*/ 437188 h 532630"/>
                      <a:gd name="connsiteX15" fmla="*/ 258619 w 293077"/>
                      <a:gd name="connsiteY15" fmla="*/ 461818 h 532630"/>
                      <a:gd name="connsiteX16" fmla="*/ 277091 w 293077"/>
                      <a:gd name="connsiteY16" fmla="*/ 474134 h 532630"/>
                      <a:gd name="connsiteX17" fmla="*/ 286328 w 293077"/>
                      <a:gd name="connsiteY17" fmla="*/ 495685 h 532630"/>
                      <a:gd name="connsiteX18" fmla="*/ 292485 w 293077"/>
                      <a:gd name="connsiteY18" fmla="*/ 520315 h 532630"/>
                      <a:gd name="connsiteX19" fmla="*/ 292485 w 293077"/>
                      <a:gd name="connsiteY19" fmla="*/ 532630 h 53263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293077" h="532630">
                        <a:moveTo>
                          <a:pt x="0" y="0"/>
                        </a:moveTo>
                        <a:cubicBezTo>
                          <a:pt x="12059" y="20012"/>
                          <a:pt x="24118" y="40025"/>
                          <a:pt x="33867" y="52340"/>
                        </a:cubicBezTo>
                        <a:cubicBezTo>
                          <a:pt x="43616" y="64655"/>
                          <a:pt x="50287" y="67220"/>
                          <a:pt x="58497" y="73891"/>
                        </a:cubicBezTo>
                        <a:cubicBezTo>
                          <a:pt x="66707" y="80562"/>
                          <a:pt x="75431" y="84667"/>
                          <a:pt x="83128" y="92364"/>
                        </a:cubicBezTo>
                        <a:cubicBezTo>
                          <a:pt x="90825" y="100061"/>
                          <a:pt x="99035" y="107758"/>
                          <a:pt x="104679" y="120073"/>
                        </a:cubicBezTo>
                        <a:cubicBezTo>
                          <a:pt x="110323" y="132388"/>
                          <a:pt x="109810" y="157532"/>
                          <a:pt x="116994" y="166255"/>
                        </a:cubicBezTo>
                        <a:cubicBezTo>
                          <a:pt x="124178" y="174978"/>
                          <a:pt x="138033" y="168307"/>
                          <a:pt x="147782" y="172412"/>
                        </a:cubicBezTo>
                        <a:cubicBezTo>
                          <a:pt x="157531" y="176517"/>
                          <a:pt x="169333" y="182675"/>
                          <a:pt x="175491" y="190885"/>
                        </a:cubicBezTo>
                        <a:cubicBezTo>
                          <a:pt x="181649" y="199095"/>
                          <a:pt x="184215" y="206792"/>
                          <a:pt x="184728" y="221673"/>
                        </a:cubicBezTo>
                        <a:cubicBezTo>
                          <a:pt x="185241" y="236554"/>
                          <a:pt x="179083" y="266829"/>
                          <a:pt x="178570" y="280170"/>
                        </a:cubicBezTo>
                        <a:cubicBezTo>
                          <a:pt x="178057" y="293511"/>
                          <a:pt x="177031" y="292485"/>
                          <a:pt x="181649" y="301721"/>
                        </a:cubicBezTo>
                        <a:cubicBezTo>
                          <a:pt x="186267" y="310957"/>
                          <a:pt x="199608" y="324812"/>
                          <a:pt x="206279" y="335588"/>
                        </a:cubicBezTo>
                        <a:cubicBezTo>
                          <a:pt x="212950" y="346364"/>
                          <a:pt x="218081" y="353548"/>
                          <a:pt x="221673" y="366376"/>
                        </a:cubicBezTo>
                        <a:cubicBezTo>
                          <a:pt x="225265" y="379204"/>
                          <a:pt x="224752" y="400756"/>
                          <a:pt x="227831" y="412558"/>
                        </a:cubicBezTo>
                        <a:cubicBezTo>
                          <a:pt x="230910" y="424360"/>
                          <a:pt x="235015" y="428978"/>
                          <a:pt x="240146" y="437188"/>
                        </a:cubicBezTo>
                        <a:cubicBezTo>
                          <a:pt x="245277" y="445398"/>
                          <a:pt x="252462" y="455660"/>
                          <a:pt x="258619" y="461818"/>
                        </a:cubicBezTo>
                        <a:cubicBezTo>
                          <a:pt x="264776" y="467976"/>
                          <a:pt x="272473" y="468490"/>
                          <a:pt x="277091" y="474134"/>
                        </a:cubicBezTo>
                        <a:cubicBezTo>
                          <a:pt x="281709" y="479778"/>
                          <a:pt x="283762" y="487988"/>
                          <a:pt x="286328" y="495685"/>
                        </a:cubicBezTo>
                        <a:cubicBezTo>
                          <a:pt x="288894" y="503382"/>
                          <a:pt x="292485" y="520315"/>
                          <a:pt x="292485" y="520315"/>
                        </a:cubicBezTo>
                        <a:cubicBezTo>
                          <a:pt x="293511" y="526472"/>
                          <a:pt x="292998" y="529551"/>
                          <a:pt x="292485" y="53263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19" name="Блок-схема: узел 118"/>
                  <p:cNvSpPr/>
                  <p:nvPr/>
                </p:nvSpPr>
                <p:spPr>
                  <a:xfrm>
                    <a:off x="5227560" y="194745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0" name="Полилиния 119"/>
                  <p:cNvSpPr/>
                  <p:nvPr/>
                </p:nvSpPr>
                <p:spPr>
                  <a:xfrm>
                    <a:off x="7315200" y="4280289"/>
                    <a:ext cx="100976" cy="179515"/>
                  </a:xfrm>
                  <a:custGeom>
                    <a:avLst/>
                    <a:gdLst>
                      <a:gd name="connsiteX0" fmla="*/ 100976 w 100976"/>
                      <a:gd name="connsiteY0" fmla="*/ 0 h 179515"/>
                      <a:gd name="connsiteX1" fmla="*/ 61708 w 100976"/>
                      <a:gd name="connsiteY1" fmla="*/ 53294 h 179515"/>
                      <a:gd name="connsiteX2" fmla="*/ 47683 w 100976"/>
                      <a:gd name="connsiteY2" fmla="*/ 95367 h 179515"/>
                      <a:gd name="connsiteX3" fmla="*/ 39268 w 100976"/>
                      <a:gd name="connsiteY3" fmla="*/ 115002 h 179515"/>
                      <a:gd name="connsiteX4" fmla="*/ 22439 w 100976"/>
                      <a:gd name="connsiteY4" fmla="*/ 137441 h 179515"/>
                      <a:gd name="connsiteX5" fmla="*/ 5609 w 100976"/>
                      <a:gd name="connsiteY5" fmla="*/ 171100 h 179515"/>
                      <a:gd name="connsiteX6" fmla="*/ 0 w 100976"/>
                      <a:gd name="connsiteY6" fmla="*/ 179515 h 179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0976" h="179515">
                        <a:moveTo>
                          <a:pt x="100976" y="0"/>
                        </a:moveTo>
                        <a:cubicBezTo>
                          <a:pt x="85783" y="18699"/>
                          <a:pt x="70590" y="37399"/>
                          <a:pt x="61708" y="53294"/>
                        </a:cubicBezTo>
                        <a:cubicBezTo>
                          <a:pt x="52826" y="69189"/>
                          <a:pt x="51423" y="85082"/>
                          <a:pt x="47683" y="95367"/>
                        </a:cubicBezTo>
                        <a:cubicBezTo>
                          <a:pt x="43943" y="105652"/>
                          <a:pt x="43475" y="107990"/>
                          <a:pt x="39268" y="115002"/>
                        </a:cubicBezTo>
                        <a:cubicBezTo>
                          <a:pt x="35061" y="122014"/>
                          <a:pt x="28049" y="128091"/>
                          <a:pt x="22439" y="137441"/>
                        </a:cubicBezTo>
                        <a:cubicBezTo>
                          <a:pt x="16829" y="146791"/>
                          <a:pt x="5609" y="171100"/>
                          <a:pt x="5609" y="171100"/>
                        </a:cubicBezTo>
                        <a:cubicBezTo>
                          <a:pt x="1869" y="178112"/>
                          <a:pt x="934" y="178813"/>
                          <a:pt x="0" y="179515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1" name="Полилиния 120"/>
                  <p:cNvSpPr/>
                  <p:nvPr/>
                </p:nvSpPr>
                <p:spPr>
                  <a:xfrm>
                    <a:off x="7324548" y="4255977"/>
                    <a:ext cx="100976" cy="179515"/>
                  </a:xfrm>
                  <a:custGeom>
                    <a:avLst/>
                    <a:gdLst>
                      <a:gd name="connsiteX0" fmla="*/ 100976 w 100976"/>
                      <a:gd name="connsiteY0" fmla="*/ 0 h 179515"/>
                      <a:gd name="connsiteX1" fmla="*/ 61708 w 100976"/>
                      <a:gd name="connsiteY1" fmla="*/ 53294 h 179515"/>
                      <a:gd name="connsiteX2" fmla="*/ 47683 w 100976"/>
                      <a:gd name="connsiteY2" fmla="*/ 95367 h 179515"/>
                      <a:gd name="connsiteX3" fmla="*/ 39268 w 100976"/>
                      <a:gd name="connsiteY3" fmla="*/ 115002 h 179515"/>
                      <a:gd name="connsiteX4" fmla="*/ 22439 w 100976"/>
                      <a:gd name="connsiteY4" fmla="*/ 137441 h 179515"/>
                      <a:gd name="connsiteX5" fmla="*/ 5609 w 100976"/>
                      <a:gd name="connsiteY5" fmla="*/ 171100 h 179515"/>
                      <a:gd name="connsiteX6" fmla="*/ 0 w 100976"/>
                      <a:gd name="connsiteY6" fmla="*/ 179515 h 1795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0976" h="179515">
                        <a:moveTo>
                          <a:pt x="100976" y="0"/>
                        </a:moveTo>
                        <a:cubicBezTo>
                          <a:pt x="85783" y="18699"/>
                          <a:pt x="70590" y="37399"/>
                          <a:pt x="61708" y="53294"/>
                        </a:cubicBezTo>
                        <a:cubicBezTo>
                          <a:pt x="52826" y="69189"/>
                          <a:pt x="51423" y="85082"/>
                          <a:pt x="47683" y="95367"/>
                        </a:cubicBezTo>
                        <a:cubicBezTo>
                          <a:pt x="43943" y="105652"/>
                          <a:pt x="43475" y="107990"/>
                          <a:pt x="39268" y="115002"/>
                        </a:cubicBezTo>
                        <a:cubicBezTo>
                          <a:pt x="35061" y="122014"/>
                          <a:pt x="28049" y="128091"/>
                          <a:pt x="22439" y="137441"/>
                        </a:cubicBezTo>
                        <a:cubicBezTo>
                          <a:pt x="16829" y="146791"/>
                          <a:pt x="5609" y="171100"/>
                          <a:pt x="5609" y="171100"/>
                        </a:cubicBezTo>
                        <a:cubicBezTo>
                          <a:pt x="1869" y="178112"/>
                          <a:pt x="934" y="178813"/>
                          <a:pt x="0" y="17951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2" name="Полилиния 121"/>
                  <p:cNvSpPr/>
                  <p:nvPr/>
                </p:nvSpPr>
                <p:spPr>
                  <a:xfrm>
                    <a:off x="7400925" y="3933825"/>
                    <a:ext cx="460375" cy="355600"/>
                  </a:xfrm>
                  <a:custGeom>
                    <a:avLst/>
                    <a:gdLst>
                      <a:gd name="connsiteX0" fmla="*/ 460375 w 460375"/>
                      <a:gd name="connsiteY0" fmla="*/ 0 h 355600"/>
                      <a:gd name="connsiteX1" fmla="*/ 444500 w 460375"/>
                      <a:gd name="connsiteY1" fmla="*/ 60325 h 355600"/>
                      <a:gd name="connsiteX2" fmla="*/ 438150 w 460375"/>
                      <a:gd name="connsiteY2" fmla="*/ 85725 h 355600"/>
                      <a:gd name="connsiteX3" fmla="*/ 441325 w 460375"/>
                      <a:gd name="connsiteY3" fmla="*/ 114300 h 355600"/>
                      <a:gd name="connsiteX4" fmla="*/ 441325 w 460375"/>
                      <a:gd name="connsiteY4" fmla="*/ 120650 h 355600"/>
                      <a:gd name="connsiteX5" fmla="*/ 419100 w 460375"/>
                      <a:gd name="connsiteY5" fmla="*/ 127000 h 355600"/>
                      <a:gd name="connsiteX6" fmla="*/ 387350 w 460375"/>
                      <a:gd name="connsiteY6" fmla="*/ 133350 h 355600"/>
                      <a:gd name="connsiteX7" fmla="*/ 374650 w 460375"/>
                      <a:gd name="connsiteY7" fmla="*/ 133350 h 355600"/>
                      <a:gd name="connsiteX8" fmla="*/ 374650 w 460375"/>
                      <a:gd name="connsiteY8" fmla="*/ 152400 h 355600"/>
                      <a:gd name="connsiteX9" fmla="*/ 368300 w 460375"/>
                      <a:gd name="connsiteY9" fmla="*/ 171450 h 355600"/>
                      <a:gd name="connsiteX10" fmla="*/ 368300 w 460375"/>
                      <a:gd name="connsiteY10" fmla="*/ 193675 h 355600"/>
                      <a:gd name="connsiteX11" fmla="*/ 346075 w 460375"/>
                      <a:gd name="connsiteY11" fmla="*/ 203200 h 355600"/>
                      <a:gd name="connsiteX12" fmla="*/ 349250 w 460375"/>
                      <a:gd name="connsiteY12" fmla="*/ 228600 h 355600"/>
                      <a:gd name="connsiteX13" fmla="*/ 330200 w 460375"/>
                      <a:gd name="connsiteY13" fmla="*/ 247650 h 355600"/>
                      <a:gd name="connsiteX14" fmla="*/ 317500 w 460375"/>
                      <a:gd name="connsiteY14" fmla="*/ 266700 h 355600"/>
                      <a:gd name="connsiteX15" fmla="*/ 304800 w 460375"/>
                      <a:gd name="connsiteY15" fmla="*/ 285750 h 355600"/>
                      <a:gd name="connsiteX16" fmla="*/ 276225 w 460375"/>
                      <a:gd name="connsiteY16" fmla="*/ 292100 h 355600"/>
                      <a:gd name="connsiteX17" fmla="*/ 231775 w 460375"/>
                      <a:gd name="connsiteY17" fmla="*/ 314325 h 355600"/>
                      <a:gd name="connsiteX18" fmla="*/ 168275 w 460375"/>
                      <a:gd name="connsiteY18" fmla="*/ 311150 h 355600"/>
                      <a:gd name="connsiteX19" fmla="*/ 98425 w 460375"/>
                      <a:gd name="connsiteY19" fmla="*/ 333375 h 355600"/>
                      <a:gd name="connsiteX20" fmla="*/ 28575 w 460375"/>
                      <a:gd name="connsiteY20" fmla="*/ 349250 h 355600"/>
                      <a:gd name="connsiteX21" fmla="*/ 0 w 460375"/>
                      <a:gd name="connsiteY21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460375" h="355600">
                        <a:moveTo>
                          <a:pt x="460375" y="0"/>
                        </a:moveTo>
                        <a:cubicBezTo>
                          <a:pt x="454289" y="23019"/>
                          <a:pt x="448204" y="46038"/>
                          <a:pt x="444500" y="60325"/>
                        </a:cubicBezTo>
                        <a:cubicBezTo>
                          <a:pt x="440796" y="74612"/>
                          <a:pt x="438679" y="76729"/>
                          <a:pt x="438150" y="85725"/>
                        </a:cubicBezTo>
                        <a:cubicBezTo>
                          <a:pt x="437621" y="94721"/>
                          <a:pt x="441325" y="114300"/>
                          <a:pt x="441325" y="114300"/>
                        </a:cubicBezTo>
                        <a:cubicBezTo>
                          <a:pt x="441854" y="120121"/>
                          <a:pt x="445029" y="118533"/>
                          <a:pt x="441325" y="120650"/>
                        </a:cubicBezTo>
                        <a:cubicBezTo>
                          <a:pt x="437621" y="122767"/>
                          <a:pt x="428096" y="124883"/>
                          <a:pt x="419100" y="127000"/>
                        </a:cubicBezTo>
                        <a:cubicBezTo>
                          <a:pt x="410104" y="129117"/>
                          <a:pt x="387350" y="133350"/>
                          <a:pt x="387350" y="133350"/>
                        </a:cubicBezTo>
                        <a:cubicBezTo>
                          <a:pt x="379942" y="134408"/>
                          <a:pt x="376767" y="130175"/>
                          <a:pt x="374650" y="133350"/>
                        </a:cubicBezTo>
                        <a:cubicBezTo>
                          <a:pt x="372533" y="136525"/>
                          <a:pt x="375708" y="146050"/>
                          <a:pt x="374650" y="152400"/>
                        </a:cubicBezTo>
                        <a:cubicBezTo>
                          <a:pt x="373592" y="158750"/>
                          <a:pt x="369358" y="164571"/>
                          <a:pt x="368300" y="171450"/>
                        </a:cubicBezTo>
                        <a:cubicBezTo>
                          <a:pt x="367242" y="178329"/>
                          <a:pt x="372004" y="188383"/>
                          <a:pt x="368300" y="193675"/>
                        </a:cubicBezTo>
                        <a:cubicBezTo>
                          <a:pt x="364596" y="198967"/>
                          <a:pt x="349250" y="197379"/>
                          <a:pt x="346075" y="203200"/>
                        </a:cubicBezTo>
                        <a:cubicBezTo>
                          <a:pt x="342900" y="209021"/>
                          <a:pt x="351896" y="221192"/>
                          <a:pt x="349250" y="228600"/>
                        </a:cubicBezTo>
                        <a:cubicBezTo>
                          <a:pt x="346604" y="236008"/>
                          <a:pt x="335492" y="241300"/>
                          <a:pt x="330200" y="247650"/>
                        </a:cubicBezTo>
                        <a:cubicBezTo>
                          <a:pt x="324908" y="254000"/>
                          <a:pt x="317500" y="266700"/>
                          <a:pt x="317500" y="266700"/>
                        </a:cubicBezTo>
                        <a:cubicBezTo>
                          <a:pt x="313267" y="273050"/>
                          <a:pt x="311679" y="281517"/>
                          <a:pt x="304800" y="285750"/>
                        </a:cubicBezTo>
                        <a:cubicBezTo>
                          <a:pt x="297921" y="289983"/>
                          <a:pt x="288396" y="287338"/>
                          <a:pt x="276225" y="292100"/>
                        </a:cubicBezTo>
                        <a:cubicBezTo>
                          <a:pt x="264054" y="296862"/>
                          <a:pt x="249767" y="311150"/>
                          <a:pt x="231775" y="314325"/>
                        </a:cubicBezTo>
                        <a:cubicBezTo>
                          <a:pt x="213783" y="317500"/>
                          <a:pt x="190500" y="307975"/>
                          <a:pt x="168275" y="311150"/>
                        </a:cubicBezTo>
                        <a:cubicBezTo>
                          <a:pt x="146050" y="314325"/>
                          <a:pt x="121708" y="327025"/>
                          <a:pt x="98425" y="333375"/>
                        </a:cubicBezTo>
                        <a:cubicBezTo>
                          <a:pt x="75142" y="339725"/>
                          <a:pt x="28575" y="349250"/>
                          <a:pt x="28575" y="349250"/>
                        </a:cubicBezTo>
                        <a:lnTo>
                          <a:pt x="0" y="355600"/>
                        </a:ln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3" name="Полилиния 122"/>
                  <p:cNvSpPr/>
                  <p:nvPr/>
                </p:nvSpPr>
                <p:spPr>
                  <a:xfrm>
                    <a:off x="7398118" y="3933455"/>
                    <a:ext cx="460375" cy="355600"/>
                  </a:xfrm>
                  <a:custGeom>
                    <a:avLst/>
                    <a:gdLst>
                      <a:gd name="connsiteX0" fmla="*/ 460375 w 460375"/>
                      <a:gd name="connsiteY0" fmla="*/ 0 h 355600"/>
                      <a:gd name="connsiteX1" fmla="*/ 444500 w 460375"/>
                      <a:gd name="connsiteY1" fmla="*/ 60325 h 355600"/>
                      <a:gd name="connsiteX2" fmla="*/ 438150 w 460375"/>
                      <a:gd name="connsiteY2" fmla="*/ 85725 h 355600"/>
                      <a:gd name="connsiteX3" fmla="*/ 441325 w 460375"/>
                      <a:gd name="connsiteY3" fmla="*/ 114300 h 355600"/>
                      <a:gd name="connsiteX4" fmla="*/ 441325 w 460375"/>
                      <a:gd name="connsiteY4" fmla="*/ 120650 h 355600"/>
                      <a:gd name="connsiteX5" fmla="*/ 419100 w 460375"/>
                      <a:gd name="connsiteY5" fmla="*/ 127000 h 355600"/>
                      <a:gd name="connsiteX6" fmla="*/ 387350 w 460375"/>
                      <a:gd name="connsiteY6" fmla="*/ 133350 h 355600"/>
                      <a:gd name="connsiteX7" fmla="*/ 374650 w 460375"/>
                      <a:gd name="connsiteY7" fmla="*/ 133350 h 355600"/>
                      <a:gd name="connsiteX8" fmla="*/ 374650 w 460375"/>
                      <a:gd name="connsiteY8" fmla="*/ 152400 h 355600"/>
                      <a:gd name="connsiteX9" fmla="*/ 368300 w 460375"/>
                      <a:gd name="connsiteY9" fmla="*/ 171450 h 355600"/>
                      <a:gd name="connsiteX10" fmla="*/ 368300 w 460375"/>
                      <a:gd name="connsiteY10" fmla="*/ 193675 h 355600"/>
                      <a:gd name="connsiteX11" fmla="*/ 346075 w 460375"/>
                      <a:gd name="connsiteY11" fmla="*/ 203200 h 355600"/>
                      <a:gd name="connsiteX12" fmla="*/ 349250 w 460375"/>
                      <a:gd name="connsiteY12" fmla="*/ 228600 h 355600"/>
                      <a:gd name="connsiteX13" fmla="*/ 330200 w 460375"/>
                      <a:gd name="connsiteY13" fmla="*/ 247650 h 355600"/>
                      <a:gd name="connsiteX14" fmla="*/ 317500 w 460375"/>
                      <a:gd name="connsiteY14" fmla="*/ 266700 h 355600"/>
                      <a:gd name="connsiteX15" fmla="*/ 304800 w 460375"/>
                      <a:gd name="connsiteY15" fmla="*/ 285750 h 355600"/>
                      <a:gd name="connsiteX16" fmla="*/ 276225 w 460375"/>
                      <a:gd name="connsiteY16" fmla="*/ 292100 h 355600"/>
                      <a:gd name="connsiteX17" fmla="*/ 231775 w 460375"/>
                      <a:gd name="connsiteY17" fmla="*/ 314325 h 355600"/>
                      <a:gd name="connsiteX18" fmla="*/ 168275 w 460375"/>
                      <a:gd name="connsiteY18" fmla="*/ 311150 h 355600"/>
                      <a:gd name="connsiteX19" fmla="*/ 98425 w 460375"/>
                      <a:gd name="connsiteY19" fmla="*/ 333375 h 355600"/>
                      <a:gd name="connsiteX20" fmla="*/ 28575 w 460375"/>
                      <a:gd name="connsiteY20" fmla="*/ 349250 h 355600"/>
                      <a:gd name="connsiteX21" fmla="*/ 0 w 460375"/>
                      <a:gd name="connsiteY21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460375" h="355600">
                        <a:moveTo>
                          <a:pt x="460375" y="0"/>
                        </a:moveTo>
                        <a:cubicBezTo>
                          <a:pt x="454289" y="23019"/>
                          <a:pt x="448204" y="46038"/>
                          <a:pt x="444500" y="60325"/>
                        </a:cubicBezTo>
                        <a:cubicBezTo>
                          <a:pt x="440796" y="74612"/>
                          <a:pt x="438679" y="76729"/>
                          <a:pt x="438150" y="85725"/>
                        </a:cubicBezTo>
                        <a:cubicBezTo>
                          <a:pt x="437621" y="94721"/>
                          <a:pt x="441325" y="114300"/>
                          <a:pt x="441325" y="114300"/>
                        </a:cubicBezTo>
                        <a:cubicBezTo>
                          <a:pt x="441854" y="120121"/>
                          <a:pt x="445029" y="118533"/>
                          <a:pt x="441325" y="120650"/>
                        </a:cubicBezTo>
                        <a:cubicBezTo>
                          <a:pt x="437621" y="122767"/>
                          <a:pt x="428096" y="124883"/>
                          <a:pt x="419100" y="127000"/>
                        </a:cubicBezTo>
                        <a:cubicBezTo>
                          <a:pt x="410104" y="129117"/>
                          <a:pt x="387350" y="133350"/>
                          <a:pt x="387350" y="133350"/>
                        </a:cubicBezTo>
                        <a:cubicBezTo>
                          <a:pt x="379942" y="134408"/>
                          <a:pt x="376767" y="130175"/>
                          <a:pt x="374650" y="133350"/>
                        </a:cubicBezTo>
                        <a:cubicBezTo>
                          <a:pt x="372533" y="136525"/>
                          <a:pt x="375708" y="146050"/>
                          <a:pt x="374650" y="152400"/>
                        </a:cubicBezTo>
                        <a:cubicBezTo>
                          <a:pt x="373592" y="158750"/>
                          <a:pt x="369358" y="164571"/>
                          <a:pt x="368300" y="171450"/>
                        </a:cubicBezTo>
                        <a:cubicBezTo>
                          <a:pt x="367242" y="178329"/>
                          <a:pt x="372004" y="188383"/>
                          <a:pt x="368300" y="193675"/>
                        </a:cubicBezTo>
                        <a:cubicBezTo>
                          <a:pt x="364596" y="198967"/>
                          <a:pt x="349250" y="197379"/>
                          <a:pt x="346075" y="203200"/>
                        </a:cubicBezTo>
                        <a:cubicBezTo>
                          <a:pt x="342900" y="209021"/>
                          <a:pt x="351896" y="221192"/>
                          <a:pt x="349250" y="228600"/>
                        </a:cubicBezTo>
                        <a:cubicBezTo>
                          <a:pt x="346604" y="236008"/>
                          <a:pt x="335492" y="241300"/>
                          <a:pt x="330200" y="247650"/>
                        </a:cubicBezTo>
                        <a:cubicBezTo>
                          <a:pt x="324908" y="254000"/>
                          <a:pt x="317500" y="266700"/>
                          <a:pt x="317500" y="266700"/>
                        </a:cubicBezTo>
                        <a:cubicBezTo>
                          <a:pt x="313267" y="273050"/>
                          <a:pt x="311679" y="281517"/>
                          <a:pt x="304800" y="285750"/>
                        </a:cubicBezTo>
                        <a:cubicBezTo>
                          <a:pt x="297921" y="289983"/>
                          <a:pt x="288396" y="287338"/>
                          <a:pt x="276225" y="292100"/>
                        </a:cubicBezTo>
                        <a:cubicBezTo>
                          <a:pt x="264054" y="296862"/>
                          <a:pt x="249767" y="311150"/>
                          <a:pt x="231775" y="314325"/>
                        </a:cubicBezTo>
                        <a:cubicBezTo>
                          <a:pt x="213783" y="317500"/>
                          <a:pt x="190500" y="307975"/>
                          <a:pt x="168275" y="311150"/>
                        </a:cubicBezTo>
                        <a:cubicBezTo>
                          <a:pt x="146050" y="314325"/>
                          <a:pt x="121708" y="327025"/>
                          <a:pt x="98425" y="333375"/>
                        </a:cubicBezTo>
                        <a:cubicBezTo>
                          <a:pt x="75142" y="339725"/>
                          <a:pt x="28575" y="349250"/>
                          <a:pt x="28575" y="349250"/>
                        </a:cubicBezTo>
                        <a:lnTo>
                          <a:pt x="0" y="355600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4" name="Блок-схема: узел 123"/>
                  <p:cNvSpPr/>
                  <p:nvPr/>
                </p:nvSpPr>
                <p:spPr>
                  <a:xfrm>
                    <a:off x="7832081" y="3886659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5" name="Полилиния 124"/>
                  <p:cNvSpPr/>
                  <p:nvPr/>
                </p:nvSpPr>
                <p:spPr>
                  <a:xfrm>
                    <a:off x="6978611" y="5051639"/>
                    <a:ext cx="92562" cy="28588"/>
                  </a:xfrm>
                  <a:custGeom>
                    <a:avLst/>
                    <a:gdLst>
                      <a:gd name="connsiteX0" fmla="*/ 92562 w 92562"/>
                      <a:gd name="connsiteY0" fmla="*/ 0 h 28588"/>
                      <a:gd name="connsiteX1" fmla="*/ 42074 w 92562"/>
                      <a:gd name="connsiteY1" fmla="*/ 22440 h 28588"/>
                      <a:gd name="connsiteX2" fmla="*/ 16829 w 92562"/>
                      <a:gd name="connsiteY2" fmla="*/ 28049 h 28588"/>
                      <a:gd name="connsiteX3" fmla="*/ 0 w 92562"/>
                      <a:gd name="connsiteY3" fmla="*/ 28049 h 285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562" h="28588">
                        <a:moveTo>
                          <a:pt x="92562" y="0"/>
                        </a:moveTo>
                        <a:cubicBezTo>
                          <a:pt x="73629" y="8882"/>
                          <a:pt x="54696" y="17765"/>
                          <a:pt x="42074" y="22440"/>
                        </a:cubicBezTo>
                        <a:cubicBezTo>
                          <a:pt x="29452" y="27115"/>
                          <a:pt x="23841" y="27114"/>
                          <a:pt x="16829" y="28049"/>
                        </a:cubicBezTo>
                        <a:cubicBezTo>
                          <a:pt x="9817" y="28984"/>
                          <a:pt x="4908" y="28516"/>
                          <a:pt x="0" y="28049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6" name="Полилиния 125"/>
                  <p:cNvSpPr/>
                  <p:nvPr/>
                </p:nvSpPr>
                <p:spPr>
                  <a:xfrm>
                    <a:off x="6979543" y="5046959"/>
                    <a:ext cx="92562" cy="28588"/>
                  </a:xfrm>
                  <a:custGeom>
                    <a:avLst/>
                    <a:gdLst>
                      <a:gd name="connsiteX0" fmla="*/ 92562 w 92562"/>
                      <a:gd name="connsiteY0" fmla="*/ 0 h 28588"/>
                      <a:gd name="connsiteX1" fmla="*/ 42074 w 92562"/>
                      <a:gd name="connsiteY1" fmla="*/ 22440 h 28588"/>
                      <a:gd name="connsiteX2" fmla="*/ 16829 w 92562"/>
                      <a:gd name="connsiteY2" fmla="*/ 28049 h 28588"/>
                      <a:gd name="connsiteX3" fmla="*/ 0 w 92562"/>
                      <a:gd name="connsiteY3" fmla="*/ 28049 h 285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562" h="28588">
                        <a:moveTo>
                          <a:pt x="92562" y="0"/>
                        </a:moveTo>
                        <a:cubicBezTo>
                          <a:pt x="73629" y="8882"/>
                          <a:pt x="54696" y="17765"/>
                          <a:pt x="42074" y="22440"/>
                        </a:cubicBezTo>
                        <a:cubicBezTo>
                          <a:pt x="29452" y="27115"/>
                          <a:pt x="23841" y="27114"/>
                          <a:pt x="16829" y="28049"/>
                        </a:cubicBezTo>
                        <a:cubicBezTo>
                          <a:pt x="9817" y="28984"/>
                          <a:pt x="4908" y="28516"/>
                          <a:pt x="0" y="28049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7" name="Полилиния 126"/>
                  <p:cNvSpPr/>
                  <p:nvPr/>
                </p:nvSpPr>
                <p:spPr>
                  <a:xfrm>
                    <a:off x="6620882" y="5057010"/>
                    <a:ext cx="366144" cy="19873"/>
                  </a:xfrm>
                  <a:custGeom>
                    <a:avLst/>
                    <a:gdLst>
                      <a:gd name="connsiteX0" fmla="*/ 366144 w 366144"/>
                      <a:gd name="connsiteY0" fmla="*/ 19873 h 19873"/>
                      <a:gd name="connsiteX1" fmla="*/ 301631 w 366144"/>
                      <a:gd name="connsiteY1" fmla="*/ 14264 h 19873"/>
                      <a:gd name="connsiteX2" fmla="*/ 262362 w 366144"/>
                      <a:gd name="connsiteY2" fmla="*/ 239 h 19873"/>
                      <a:gd name="connsiteX3" fmla="*/ 234313 w 366144"/>
                      <a:gd name="connsiteY3" fmla="*/ 5849 h 19873"/>
                      <a:gd name="connsiteX4" fmla="*/ 189435 w 366144"/>
                      <a:gd name="connsiteY4" fmla="*/ 11459 h 19873"/>
                      <a:gd name="connsiteX5" fmla="*/ 141751 w 366144"/>
                      <a:gd name="connsiteY5" fmla="*/ 11459 h 19873"/>
                      <a:gd name="connsiteX6" fmla="*/ 85653 w 366144"/>
                      <a:gd name="connsiteY6" fmla="*/ 5849 h 19873"/>
                      <a:gd name="connsiteX7" fmla="*/ 37970 w 366144"/>
                      <a:gd name="connsiteY7" fmla="*/ 5849 h 19873"/>
                      <a:gd name="connsiteX8" fmla="*/ 4311 w 366144"/>
                      <a:gd name="connsiteY8" fmla="*/ 11459 h 19873"/>
                      <a:gd name="connsiteX9" fmla="*/ 1506 w 366144"/>
                      <a:gd name="connsiteY9" fmla="*/ 17069 h 198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66144" h="19873">
                        <a:moveTo>
                          <a:pt x="366144" y="19873"/>
                        </a:moveTo>
                        <a:cubicBezTo>
                          <a:pt x="342536" y="18704"/>
                          <a:pt x="318928" y="17536"/>
                          <a:pt x="301631" y="14264"/>
                        </a:cubicBezTo>
                        <a:cubicBezTo>
                          <a:pt x="284334" y="10992"/>
                          <a:pt x="273582" y="1641"/>
                          <a:pt x="262362" y="239"/>
                        </a:cubicBezTo>
                        <a:cubicBezTo>
                          <a:pt x="251142" y="-1164"/>
                          <a:pt x="246467" y="3979"/>
                          <a:pt x="234313" y="5849"/>
                        </a:cubicBezTo>
                        <a:cubicBezTo>
                          <a:pt x="222159" y="7719"/>
                          <a:pt x="204862" y="10524"/>
                          <a:pt x="189435" y="11459"/>
                        </a:cubicBezTo>
                        <a:cubicBezTo>
                          <a:pt x="174008" y="12394"/>
                          <a:pt x="159048" y="12394"/>
                          <a:pt x="141751" y="11459"/>
                        </a:cubicBezTo>
                        <a:cubicBezTo>
                          <a:pt x="124454" y="10524"/>
                          <a:pt x="102950" y="6784"/>
                          <a:pt x="85653" y="5849"/>
                        </a:cubicBezTo>
                        <a:cubicBezTo>
                          <a:pt x="68356" y="4914"/>
                          <a:pt x="51527" y="4914"/>
                          <a:pt x="37970" y="5849"/>
                        </a:cubicBezTo>
                        <a:cubicBezTo>
                          <a:pt x="24413" y="6784"/>
                          <a:pt x="4311" y="11459"/>
                          <a:pt x="4311" y="11459"/>
                        </a:cubicBezTo>
                        <a:cubicBezTo>
                          <a:pt x="-1766" y="13329"/>
                          <a:pt x="-130" y="15199"/>
                          <a:pt x="1506" y="17069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8" name="Полилиния 127"/>
                  <p:cNvSpPr/>
                  <p:nvPr/>
                </p:nvSpPr>
                <p:spPr>
                  <a:xfrm>
                    <a:off x="6426044" y="5062859"/>
                    <a:ext cx="204758" cy="78537"/>
                  </a:xfrm>
                  <a:custGeom>
                    <a:avLst/>
                    <a:gdLst>
                      <a:gd name="connsiteX0" fmla="*/ 204758 w 204758"/>
                      <a:gd name="connsiteY0" fmla="*/ 0 h 78537"/>
                      <a:gd name="connsiteX1" fmla="*/ 159880 w 204758"/>
                      <a:gd name="connsiteY1" fmla="*/ 28049 h 78537"/>
                      <a:gd name="connsiteX2" fmla="*/ 131831 w 204758"/>
                      <a:gd name="connsiteY2" fmla="*/ 28049 h 78537"/>
                      <a:gd name="connsiteX3" fmla="*/ 117806 w 204758"/>
                      <a:gd name="connsiteY3" fmla="*/ 39269 h 78537"/>
                      <a:gd name="connsiteX4" fmla="*/ 72928 w 204758"/>
                      <a:gd name="connsiteY4" fmla="*/ 47683 h 78537"/>
                      <a:gd name="connsiteX5" fmla="*/ 33659 w 204758"/>
                      <a:gd name="connsiteY5" fmla="*/ 50488 h 78537"/>
                      <a:gd name="connsiteX6" fmla="*/ 5610 w 204758"/>
                      <a:gd name="connsiteY6" fmla="*/ 67318 h 78537"/>
                      <a:gd name="connsiteX7" fmla="*/ 0 w 204758"/>
                      <a:gd name="connsiteY7" fmla="*/ 78537 h 78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04758" h="78537">
                        <a:moveTo>
                          <a:pt x="204758" y="0"/>
                        </a:moveTo>
                        <a:cubicBezTo>
                          <a:pt x="188396" y="11687"/>
                          <a:pt x="172034" y="23374"/>
                          <a:pt x="159880" y="28049"/>
                        </a:cubicBezTo>
                        <a:cubicBezTo>
                          <a:pt x="147726" y="32724"/>
                          <a:pt x="138843" y="26179"/>
                          <a:pt x="131831" y="28049"/>
                        </a:cubicBezTo>
                        <a:cubicBezTo>
                          <a:pt x="124819" y="29919"/>
                          <a:pt x="127623" y="35997"/>
                          <a:pt x="117806" y="39269"/>
                        </a:cubicBezTo>
                        <a:cubicBezTo>
                          <a:pt x="107989" y="42541"/>
                          <a:pt x="86952" y="45813"/>
                          <a:pt x="72928" y="47683"/>
                        </a:cubicBezTo>
                        <a:cubicBezTo>
                          <a:pt x="58903" y="49553"/>
                          <a:pt x="44879" y="47216"/>
                          <a:pt x="33659" y="50488"/>
                        </a:cubicBezTo>
                        <a:cubicBezTo>
                          <a:pt x="22439" y="53760"/>
                          <a:pt x="11220" y="62643"/>
                          <a:pt x="5610" y="67318"/>
                        </a:cubicBezTo>
                        <a:cubicBezTo>
                          <a:pt x="0" y="71993"/>
                          <a:pt x="0" y="75265"/>
                          <a:pt x="0" y="78537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29" name="Полилиния 128"/>
                  <p:cNvSpPr/>
                  <p:nvPr/>
                </p:nvSpPr>
                <p:spPr>
                  <a:xfrm>
                    <a:off x="6422306" y="5039490"/>
                    <a:ext cx="204758" cy="78537"/>
                  </a:xfrm>
                  <a:custGeom>
                    <a:avLst/>
                    <a:gdLst>
                      <a:gd name="connsiteX0" fmla="*/ 204758 w 204758"/>
                      <a:gd name="connsiteY0" fmla="*/ 0 h 78537"/>
                      <a:gd name="connsiteX1" fmla="*/ 159880 w 204758"/>
                      <a:gd name="connsiteY1" fmla="*/ 28049 h 78537"/>
                      <a:gd name="connsiteX2" fmla="*/ 131831 w 204758"/>
                      <a:gd name="connsiteY2" fmla="*/ 28049 h 78537"/>
                      <a:gd name="connsiteX3" fmla="*/ 117806 w 204758"/>
                      <a:gd name="connsiteY3" fmla="*/ 39269 h 78537"/>
                      <a:gd name="connsiteX4" fmla="*/ 72928 w 204758"/>
                      <a:gd name="connsiteY4" fmla="*/ 47683 h 78537"/>
                      <a:gd name="connsiteX5" fmla="*/ 33659 w 204758"/>
                      <a:gd name="connsiteY5" fmla="*/ 50488 h 78537"/>
                      <a:gd name="connsiteX6" fmla="*/ 5610 w 204758"/>
                      <a:gd name="connsiteY6" fmla="*/ 67318 h 78537"/>
                      <a:gd name="connsiteX7" fmla="*/ 0 w 204758"/>
                      <a:gd name="connsiteY7" fmla="*/ 78537 h 78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04758" h="78537">
                        <a:moveTo>
                          <a:pt x="204758" y="0"/>
                        </a:moveTo>
                        <a:cubicBezTo>
                          <a:pt x="188396" y="11687"/>
                          <a:pt x="172034" y="23374"/>
                          <a:pt x="159880" y="28049"/>
                        </a:cubicBezTo>
                        <a:cubicBezTo>
                          <a:pt x="147726" y="32724"/>
                          <a:pt x="138843" y="26179"/>
                          <a:pt x="131831" y="28049"/>
                        </a:cubicBezTo>
                        <a:cubicBezTo>
                          <a:pt x="124819" y="29919"/>
                          <a:pt x="127623" y="35997"/>
                          <a:pt x="117806" y="39269"/>
                        </a:cubicBezTo>
                        <a:cubicBezTo>
                          <a:pt x="107989" y="42541"/>
                          <a:pt x="86952" y="45813"/>
                          <a:pt x="72928" y="47683"/>
                        </a:cubicBezTo>
                        <a:cubicBezTo>
                          <a:pt x="58903" y="49553"/>
                          <a:pt x="44879" y="47216"/>
                          <a:pt x="33659" y="50488"/>
                        </a:cubicBezTo>
                        <a:cubicBezTo>
                          <a:pt x="22439" y="53760"/>
                          <a:pt x="11220" y="62643"/>
                          <a:pt x="5610" y="67318"/>
                        </a:cubicBezTo>
                        <a:cubicBezTo>
                          <a:pt x="0" y="71993"/>
                          <a:pt x="0" y="75265"/>
                          <a:pt x="0" y="78537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0" name="Полилиния 129"/>
                  <p:cNvSpPr/>
                  <p:nvPr/>
                </p:nvSpPr>
                <p:spPr>
                  <a:xfrm>
                    <a:off x="6431652" y="5085293"/>
                    <a:ext cx="204758" cy="78537"/>
                  </a:xfrm>
                  <a:custGeom>
                    <a:avLst/>
                    <a:gdLst>
                      <a:gd name="connsiteX0" fmla="*/ 204758 w 204758"/>
                      <a:gd name="connsiteY0" fmla="*/ 0 h 78537"/>
                      <a:gd name="connsiteX1" fmla="*/ 159880 w 204758"/>
                      <a:gd name="connsiteY1" fmla="*/ 28049 h 78537"/>
                      <a:gd name="connsiteX2" fmla="*/ 131831 w 204758"/>
                      <a:gd name="connsiteY2" fmla="*/ 28049 h 78537"/>
                      <a:gd name="connsiteX3" fmla="*/ 117806 w 204758"/>
                      <a:gd name="connsiteY3" fmla="*/ 39269 h 78537"/>
                      <a:gd name="connsiteX4" fmla="*/ 72928 w 204758"/>
                      <a:gd name="connsiteY4" fmla="*/ 47683 h 78537"/>
                      <a:gd name="connsiteX5" fmla="*/ 33659 w 204758"/>
                      <a:gd name="connsiteY5" fmla="*/ 50488 h 78537"/>
                      <a:gd name="connsiteX6" fmla="*/ 5610 w 204758"/>
                      <a:gd name="connsiteY6" fmla="*/ 67318 h 78537"/>
                      <a:gd name="connsiteX7" fmla="*/ 0 w 204758"/>
                      <a:gd name="connsiteY7" fmla="*/ 78537 h 78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04758" h="78537">
                        <a:moveTo>
                          <a:pt x="204758" y="0"/>
                        </a:moveTo>
                        <a:cubicBezTo>
                          <a:pt x="188396" y="11687"/>
                          <a:pt x="172034" y="23374"/>
                          <a:pt x="159880" y="28049"/>
                        </a:cubicBezTo>
                        <a:cubicBezTo>
                          <a:pt x="147726" y="32724"/>
                          <a:pt x="138843" y="26179"/>
                          <a:pt x="131831" y="28049"/>
                        </a:cubicBezTo>
                        <a:cubicBezTo>
                          <a:pt x="124819" y="29919"/>
                          <a:pt x="127623" y="35997"/>
                          <a:pt x="117806" y="39269"/>
                        </a:cubicBezTo>
                        <a:cubicBezTo>
                          <a:pt x="107989" y="42541"/>
                          <a:pt x="86952" y="45813"/>
                          <a:pt x="72928" y="47683"/>
                        </a:cubicBezTo>
                        <a:cubicBezTo>
                          <a:pt x="58903" y="49553"/>
                          <a:pt x="44879" y="47216"/>
                          <a:pt x="33659" y="50488"/>
                        </a:cubicBezTo>
                        <a:cubicBezTo>
                          <a:pt x="22439" y="53760"/>
                          <a:pt x="11220" y="62643"/>
                          <a:pt x="5610" y="67318"/>
                        </a:cubicBezTo>
                        <a:cubicBezTo>
                          <a:pt x="0" y="71993"/>
                          <a:pt x="0" y="75265"/>
                          <a:pt x="0" y="78537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1" name="Полилиния 130"/>
                  <p:cNvSpPr/>
                  <p:nvPr/>
                </p:nvSpPr>
                <p:spPr>
                  <a:xfrm>
                    <a:off x="6421370" y="5066598"/>
                    <a:ext cx="204758" cy="78537"/>
                  </a:xfrm>
                  <a:custGeom>
                    <a:avLst/>
                    <a:gdLst>
                      <a:gd name="connsiteX0" fmla="*/ 204758 w 204758"/>
                      <a:gd name="connsiteY0" fmla="*/ 0 h 78537"/>
                      <a:gd name="connsiteX1" fmla="*/ 159880 w 204758"/>
                      <a:gd name="connsiteY1" fmla="*/ 28049 h 78537"/>
                      <a:gd name="connsiteX2" fmla="*/ 131831 w 204758"/>
                      <a:gd name="connsiteY2" fmla="*/ 28049 h 78537"/>
                      <a:gd name="connsiteX3" fmla="*/ 117806 w 204758"/>
                      <a:gd name="connsiteY3" fmla="*/ 39269 h 78537"/>
                      <a:gd name="connsiteX4" fmla="*/ 72928 w 204758"/>
                      <a:gd name="connsiteY4" fmla="*/ 47683 h 78537"/>
                      <a:gd name="connsiteX5" fmla="*/ 33659 w 204758"/>
                      <a:gd name="connsiteY5" fmla="*/ 50488 h 78537"/>
                      <a:gd name="connsiteX6" fmla="*/ 5610 w 204758"/>
                      <a:gd name="connsiteY6" fmla="*/ 67318 h 78537"/>
                      <a:gd name="connsiteX7" fmla="*/ 0 w 204758"/>
                      <a:gd name="connsiteY7" fmla="*/ 78537 h 7853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04758" h="78537">
                        <a:moveTo>
                          <a:pt x="204758" y="0"/>
                        </a:moveTo>
                        <a:cubicBezTo>
                          <a:pt x="188396" y="11687"/>
                          <a:pt x="172034" y="23374"/>
                          <a:pt x="159880" y="28049"/>
                        </a:cubicBezTo>
                        <a:cubicBezTo>
                          <a:pt x="147726" y="32724"/>
                          <a:pt x="138843" y="26179"/>
                          <a:pt x="131831" y="28049"/>
                        </a:cubicBezTo>
                        <a:cubicBezTo>
                          <a:pt x="124819" y="29919"/>
                          <a:pt x="127623" y="35997"/>
                          <a:pt x="117806" y="39269"/>
                        </a:cubicBezTo>
                        <a:cubicBezTo>
                          <a:pt x="107989" y="42541"/>
                          <a:pt x="86952" y="45813"/>
                          <a:pt x="72928" y="47683"/>
                        </a:cubicBezTo>
                        <a:cubicBezTo>
                          <a:pt x="58903" y="49553"/>
                          <a:pt x="44879" y="47216"/>
                          <a:pt x="33659" y="50488"/>
                        </a:cubicBezTo>
                        <a:cubicBezTo>
                          <a:pt x="22439" y="53760"/>
                          <a:pt x="11220" y="62643"/>
                          <a:pt x="5610" y="67318"/>
                        </a:cubicBezTo>
                        <a:cubicBezTo>
                          <a:pt x="0" y="71993"/>
                          <a:pt x="0" y="75265"/>
                          <a:pt x="0" y="78537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2" name="Полилиния 131"/>
                  <p:cNvSpPr/>
                  <p:nvPr/>
                </p:nvSpPr>
                <p:spPr>
                  <a:xfrm>
                    <a:off x="6624622" y="5055141"/>
                    <a:ext cx="366144" cy="19873"/>
                  </a:xfrm>
                  <a:custGeom>
                    <a:avLst/>
                    <a:gdLst>
                      <a:gd name="connsiteX0" fmla="*/ 366144 w 366144"/>
                      <a:gd name="connsiteY0" fmla="*/ 19873 h 19873"/>
                      <a:gd name="connsiteX1" fmla="*/ 301631 w 366144"/>
                      <a:gd name="connsiteY1" fmla="*/ 14264 h 19873"/>
                      <a:gd name="connsiteX2" fmla="*/ 262362 w 366144"/>
                      <a:gd name="connsiteY2" fmla="*/ 239 h 19873"/>
                      <a:gd name="connsiteX3" fmla="*/ 234313 w 366144"/>
                      <a:gd name="connsiteY3" fmla="*/ 5849 h 19873"/>
                      <a:gd name="connsiteX4" fmla="*/ 189435 w 366144"/>
                      <a:gd name="connsiteY4" fmla="*/ 11459 h 19873"/>
                      <a:gd name="connsiteX5" fmla="*/ 141751 w 366144"/>
                      <a:gd name="connsiteY5" fmla="*/ 11459 h 19873"/>
                      <a:gd name="connsiteX6" fmla="*/ 85653 w 366144"/>
                      <a:gd name="connsiteY6" fmla="*/ 5849 h 19873"/>
                      <a:gd name="connsiteX7" fmla="*/ 37970 w 366144"/>
                      <a:gd name="connsiteY7" fmla="*/ 5849 h 19873"/>
                      <a:gd name="connsiteX8" fmla="*/ 4311 w 366144"/>
                      <a:gd name="connsiteY8" fmla="*/ 11459 h 19873"/>
                      <a:gd name="connsiteX9" fmla="*/ 1506 w 366144"/>
                      <a:gd name="connsiteY9" fmla="*/ 17069 h 198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66144" h="19873">
                        <a:moveTo>
                          <a:pt x="366144" y="19873"/>
                        </a:moveTo>
                        <a:cubicBezTo>
                          <a:pt x="342536" y="18704"/>
                          <a:pt x="318928" y="17536"/>
                          <a:pt x="301631" y="14264"/>
                        </a:cubicBezTo>
                        <a:cubicBezTo>
                          <a:pt x="284334" y="10992"/>
                          <a:pt x="273582" y="1641"/>
                          <a:pt x="262362" y="239"/>
                        </a:cubicBezTo>
                        <a:cubicBezTo>
                          <a:pt x="251142" y="-1164"/>
                          <a:pt x="246467" y="3979"/>
                          <a:pt x="234313" y="5849"/>
                        </a:cubicBezTo>
                        <a:cubicBezTo>
                          <a:pt x="222159" y="7719"/>
                          <a:pt x="204862" y="10524"/>
                          <a:pt x="189435" y="11459"/>
                        </a:cubicBezTo>
                        <a:cubicBezTo>
                          <a:pt x="174008" y="12394"/>
                          <a:pt x="159048" y="12394"/>
                          <a:pt x="141751" y="11459"/>
                        </a:cubicBezTo>
                        <a:cubicBezTo>
                          <a:pt x="124454" y="10524"/>
                          <a:pt x="102950" y="6784"/>
                          <a:pt x="85653" y="5849"/>
                        </a:cubicBezTo>
                        <a:cubicBezTo>
                          <a:pt x="68356" y="4914"/>
                          <a:pt x="51527" y="4914"/>
                          <a:pt x="37970" y="5849"/>
                        </a:cubicBezTo>
                        <a:cubicBezTo>
                          <a:pt x="24413" y="6784"/>
                          <a:pt x="4311" y="11459"/>
                          <a:pt x="4311" y="11459"/>
                        </a:cubicBezTo>
                        <a:cubicBezTo>
                          <a:pt x="-1766" y="13329"/>
                          <a:pt x="-130" y="15199"/>
                          <a:pt x="1506" y="17069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3" name="Полилиния 132"/>
                  <p:cNvSpPr/>
                  <p:nvPr/>
                </p:nvSpPr>
                <p:spPr>
                  <a:xfrm>
                    <a:off x="6628361" y="5033631"/>
                    <a:ext cx="366144" cy="19873"/>
                  </a:xfrm>
                  <a:custGeom>
                    <a:avLst/>
                    <a:gdLst>
                      <a:gd name="connsiteX0" fmla="*/ 366144 w 366144"/>
                      <a:gd name="connsiteY0" fmla="*/ 19873 h 19873"/>
                      <a:gd name="connsiteX1" fmla="*/ 301631 w 366144"/>
                      <a:gd name="connsiteY1" fmla="*/ 14264 h 19873"/>
                      <a:gd name="connsiteX2" fmla="*/ 262362 w 366144"/>
                      <a:gd name="connsiteY2" fmla="*/ 239 h 19873"/>
                      <a:gd name="connsiteX3" fmla="*/ 234313 w 366144"/>
                      <a:gd name="connsiteY3" fmla="*/ 5849 h 19873"/>
                      <a:gd name="connsiteX4" fmla="*/ 189435 w 366144"/>
                      <a:gd name="connsiteY4" fmla="*/ 11459 h 19873"/>
                      <a:gd name="connsiteX5" fmla="*/ 141751 w 366144"/>
                      <a:gd name="connsiteY5" fmla="*/ 11459 h 19873"/>
                      <a:gd name="connsiteX6" fmla="*/ 85653 w 366144"/>
                      <a:gd name="connsiteY6" fmla="*/ 5849 h 19873"/>
                      <a:gd name="connsiteX7" fmla="*/ 37970 w 366144"/>
                      <a:gd name="connsiteY7" fmla="*/ 5849 h 19873"/>
                      <a:gd name="connsiteX8" fmla="*/ 4311 w 366144"/>
                      <a:gd name="connsiteY8" fmla="*/ 11459 h 19873"/>
                      <a:gd name="connsiteX9" fmla="*/ 1506 w 366144"/>
                      <a:gd name="connsiteY9" fmla="*/ 17069 h 198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66144" h="19873">
                        <a:moveTo>
                          <a:pt x="366144" y="19873"/>
                        </a:moveTo>
                        <a:cubicBezTo>
                          <a:pt x="342536" y="18704"/>
                          <a:pt x="318928" y="17536"/>
                          <a:pt x="301631" y="14264"/>
                        </a:cubicBezTo>
                        <a:cubicBezTo>
                          <a:pt x="284334" y="10992"/>
                          <a:pt x="273582" y="1641"/>
                          <a:pt x="262362" y="239"/>
                        </a:cubicBezTo>
                        <a:cubicBezTo>
                          <a:pt x="251142" y="-1164"/>
                          <a:pt x="246467" y="3979"/>
                          <a:pt x="234313" y="5849"/>
                        </a:cubicBezTo>
                        <a:cubicBezTo>
                          <a:pt x="222159" y="7719"/>
                          <a:pt x="204862" y="10524"/>
                          <a:pt x="189435" y="11459"/>
                        </a:cubicBezTo>
                        <a:cubicBezTo>
                          <a:pt x="174008" y="12394"/>
                          <a:pt x="159048" y="12394"/>
                          <a:pt x="141751" y="11459"/>
                        </a:cubicBezTo>
                        <a:cubicBezTo>
                          <a:pt x="124454" y="10524"/>
                          <a:pt x="102950" y="6784"/>
                          <a:pt x="85653" y="5849"/>
                        </a:cubicBezTo>
                        <a:cubicBezTo>
                          <a:pt x="68356" y="4914"/>
                          <a:pt x="51527" y="4914"/>
                          <a:pt x="37970" y="5849"/>
                        </a:cubicBezTo>
                        <a:cubicBezTo>
                          <a:pt x="24413" y="6784"/>
                          <a:pt x="4311" y="11459"/>
                          <a:pt x="4311" y="11459"/>
                        </a:cubicBezTo>
                        <a:cubicBezTo>
                          <a:pt x="-1766" y="13329"/>
                          <a:pt x="-130" y="15199"/>
                          <a:pt x="1506" y="17069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4" name="Полилиния 133"/>
                  <p:cNvSpPr/>
                  <p:nvPr/>
                </p:nvSpPr>
                <p:spPr>
                  <a:xfrm>
                    <a:off x="6626488" y="5079445"/>
                    <a:ext cx="366144" cy="19873"/>
                  </a:xfrm>
                  <a:custGeom>
                    <a:avLst/>
                    <a:gdLst>
                      <a:gd name="connsiteX0" fmla="*/ 366144 w 366144"/>
                      <a:gd name="connsiteY0" fmla="*/ 19873 h 19873"/>
                      <a:gd name="connsiteX1" fmla="*/ 301631 w 366144"/>
                      <a:gd name="connsiteY1" fmla="*/ 14264 h 19873"/>
                      <a:gd name="connsiteX2" fmla="*/ 262362 w 366144"/>
                      <a:gd name="connsiteY2" fmla="*/ 239 h 19873"/>
                      <a:gd name="connsiteX3" fmla="*/ 234313 w 366144"/>
                      <a:gd name="connsiteY3" fmla="*/ 5849 h 19873"/>
                      <a:gd name="connsiteX4" fmla="*/ 189435 w 366144"/>
                      <a:gd name="connsiteY4" fmla="*/ 11459 h 19873"/>
                      <a:gd name="connsiteX5" fmla="*/ 141751 w 366144"/>
                      <a:gd name="connsiteY5" fmla="*/ 11459 h 19873"/>
                      <a:gd name="connsiteX6" fmla="*/ 85653 w 366144"/>
                      <a:gd name="connsiteY6" fmla="*/ 5849 h 19873"/>
                      <a:gd name="connsiteX7" fmla="*/ 37970 w 366144"/>
                      <a:gd name="connsiteY7" fmla="*/ 5849 h 19873"/>
                      <a:gd name="connsiteX8" fmla="*/ 4311 w 366144"/>
                      <a:gd name="connsiteY8" fmla="*/ 11459 h 19873"/>
                      <a:gd name="connsiteX9" fmla="*/ 1506 w 366144"/>
                      <a:gd name="connsiteY9" fmla="*/ 17069 h 198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366144" h="19873">
                        <a:moveTo>
                          <a:pt x="366144" y="19873"/>
                        </a:moveTo>
                        <a:cubicBezTo>
                          <a:pt x="342536" y="18704"/>
                          <a:pt x="318928" y="17536"/>
                          <a:pt x="301631" y="14264"/>
                        </a:cubicBezTo>
                        <a:cubicBezTo>
                          <a:pt x="284334" y="10992"/>
                          <a:pt x="273582" y="1641"/>
                          <a:pt x="262362" y="239"/>
                        </a:cubicBezTo>
                        <a:cubicBezTo>
                          <a:pt x="251142" y="-1164"/>
                          <a:pt x="246467" y="3979"/>
                          <a:pt x="234313" y="5849"/>
                        </a:cubicBezTo>
                        <a:cubicBezTo>
                          <a:pt x="222159" y="7719"/>
                          <a:pt x="204862" y="10524"/>
                          <a:pt x="189435" y="11459"/>
                        </a:cubicBezTo>
                        <a:cubicBezTo>
                          <a:pt x="174008" y="12394"/>
                          <a:pt x="159048" y="12394"/>
                          <a:pt x="141751" y="11459"/>
                        </a:cubicBezTo>
                        <a:cubicBezTo>
                          <a:pt x="124454" y="10524"/>
                          <a:pt x="102950" y="6784"/>
                          <a:pt x="85653" y="5849"/>
                        </a:cubicBezTo>
                        <a:cubicBezTo>
                          <a:pt x="68356" y="4914"/>
                          <a:pt x="51527" y="4914"/>
                          <a:pt x="37970" y="5849"/>
                        </a:cubicBezTo>
                        <a:cubicBezTo>
                          <a:pt x="24413" y="6784"/>
                          <a:pt x="4311" y="11459"/>
                          <a:pt x="4311" y="11459"/>
                        </a:cubicBezTo>
                        <a:cubicBezTo>
                          <a:pt x="-1766" y="13329"/>
                          <a:pt x="-130" y="15199"/>
                          <a:pt x="1506" y="17069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5" name="Полилиния 134"/>
                  <p:cNvSpPr/>
                  <p:nvPr/>
                </p:nvSpPr>
                <p:spPr>
                  <a:xfrm>
                    <a:off x="6977673" y="5025456"/>
                    <a:ext cx="92562" cy="28588"/>
                  </a:xfrm>
                  <a:custGeom>
                    <a:avLst/>
                    <a:gdLst>
                      <a:gd name="connsiteX0" fmla="*/ 92562 w 92562"/>
                      <a:gd name="connsiteY0" fmla="*/ 0 h 28588"/>
                      <a:gd name="connsiteX1" fmla="*/ 42074 w 92562"/>
                      <a:gd name="connsiteY1" fmla="*/ 22440 h 28588"/>
                      <a:gd name="connsiteX2" fmla="*/ 16829 w 92562"/>
                      <a:gd name="connsiteY2" fmla="*/ 28049 h 28588"/>
                      <a:gd name="connsiteX3" fmla="*/ 0 w 92562"/>
                      <a:gd name="connsiteY3" fmla="*/ 28049 h 285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562" h="28588">
                        <a:moveTo>
                          <a:pt x="92562" y="0"/>
                        </a:moveTo>
                        <a:cubicBezTo>
                          <a:pt x="73629" y="8882"/>
                          <a:pt x="54696" y="17765"/>
                          <a:pt x="42074" y="22440"/>
                        </a:cubicBezTo>
                        <a:cubicBezTo>
                          <a:pt x="29452" y="27115"/>
                          <a:pt x="23841" y="27114"/>
                          <a:pt x="16829" y="28049"/>
                        </a:cubicBezTo>
                        <a:cubicBezTo>
                          <a:pt x="9817" y="28984"/>
                          <a:pt x="4908" y="28516"/>
                          <a:pt x="0" y="28049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6" name="Полилиния 135"/>
                  <p:cNvSpPr/>
                  <p:nvPr/>
                </p:nvSpPr>
                <p:spPr>
                  <a:xfrm>
                    <a:off x="6981408" y="5071269"/>
                    <a:ext cx="92562" cy="28588"/>
                  </a:xfrm>
                  <a:custGeom>
                    <a:avLst/>
                    <a:gdLst>
                      <a:gd name="connsiteX0" fmla="*/ 92562 w 92562"/>
                      <a:gd name="connsiteY0" fmla="*/ 0 h 28588"/>
                      <a:gd name="connsiteX1" fmla="*/ 42074 w 92562"/>
                      <a:gd name="connsiteY1" fmla="*/ 22440 h 28588"/>
                      <a:gd name="connsiteX2" fmla="*/ 16829 w 92562"/>
                      <a:gd name="connsiteY2" fmla="*/ 28049 h 28588"/>
                      <a:gd name="connsiteX3" fmla="*/ 0 w 92562"/>
                      <a:gd name="connsiteY3" fmla="*/ 28049 h 2858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92562" h="28588">
                        <a:moveTo>
                          <a:pt x="92562" y="0"/>
                        </a:moveTo>
                        <a:cubicBezTo>
                          <a:pt x="73629" y="8882"/>
                          <a:pt x="54696" y="17765"/>
                          <a:pt x="42074" y="22440"/>
                        </a:cubicBezTo>
                        <a:cubicBezTo>
                          <a:pt x="29452" y="27115"/>
                          <a:pt x="23841" y="27114"/>
                          <a:pt x="16829" y="28049"/>
                        </a:cubicBezTo>
                        <a:cubicBezTo>
                          <a:pt x="9817" y="28984"/>
                          <a:pt x="4908" y="28516"/>
                          <a:pt x="0" y="28049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7" name="Полилиния 136"/>
                  <p:cNvSpPr/>
                  <p:nvPr/>
                </p:nvSpPr>
                <p:spPr>
                  <a:xfrm>
                    <a:off x="6128562" y="3904432"/>
                    <a:ext cx="796756" cy="956474"/>
                  </a:xfrm>
                  <a:custGeom>
                    <a:avLst/>
                    <a:gdLst>
                      <a:gd name="connsiteX0" fmla="*/ 333946 w 796756"/>
                      <a:gd name="connsiteY0" fmla="*/ 0 h 956474"/>
                      <a:gd name="connsiteX1" fmla="*/ 277848 w 796756"/>
                      <a:gd name="connsiteY1" fmla="*/ 36464 h 956474"/>
                      <a:gd name="connsiteX2" fmla="*/ 258213 w 796756"/>
                      <a:gd name="connsiteY2" fmla="*/ 56098 h 956474"/>
                      <a:gd name="connsiteX3" fmla="*/ 232969 w 796756"/>
                      <a:gd name="connsiteY3" fmla="*/ 84147 h 956474"/>
                      <a:gd name="connsiteX4" fmla="*/ 196505 w 796756"/>
                      <a:gd name="connsiteY4" fmla="*/ 109391 h 956474"/>
                      <a:gd name="connsiteX5" fmla="*/ 162847 w 796756"/>
                      <a:gd name="connsiteY5" fmla="*/ 137440 h 956474"/>
                      <a:gd name="connsiteX6" fmla="*/ 120773 w 796756"/>
                      <a:gd name="connsiteY6" fmla="*/ 165489 h 956474"/>
                      <a:gd name="connsiteX7" fmla="*/ 98334 w 796756"/>
                      <a:gd name="connsiteY7" fmla="*/ 199148 h 956474"/>
                      <a:gd name="connsiteX8" fmla="*/ 73090 w 796756"/>
                      <a:gd name="connsiteY8" fmla="*/ 244027 h 956474"/>
                      <a:gd name="connsiteX9" fmla="*/ 61870 w 796756"/>
                      <a:gd name="connsiteY9" fmla="*/ 297320 h 956474"/>
                      <a:gd name="connsiteX10" fmla="*/ 56260 w 796756"/>
                      <a:gd name="connsiteY10" fmla="*/ 330979 h 956474"/>
                      <a:gd name="connsiteX11" fmla="*/ 39431 w 796756"/>
                      <a:gd name="connsiteY11" fmla="*/ 359028 h 956474"/>
                      <a:gd name="connsiteX12" fmla="*/ 19796 w 796756"/>
                      <a:gd name="connsiteY12" fmla="*/ 378662 h 956474"/>
                      <a:gd name="connsiteX13" fmla="*/ 5772 w 796756"/>
                      <a:gd name="connsiteY13" fmla="*/ 395492 h 956474"/>
                      <a:gd name="connsiteX14" fmla="*/ 162 w 796756"/>
                      <a:gd name="connsiteY14" fmla="*/ 423541 h 956474"/>
                      <a:gd name="connsiteX15" fmla="*/ 11382 w 796756"/>
                      <a:gd name="connsiteY15" fmla="*/ 457200 h 956474"/>
                      <a:gd name="connsiteX16" fmla="*/ 42236 w 796756"/>
                      <a:gd name="connsiteY16" fmla="*/ 504883 h 956474"/>
                      <a:gd name="connsiteX17" fmla="*/ 95529 w 796756"/>
                      <a:gd name="connsiteY17" fmla="*/ 552567 h 956474"/>
                      <a:gd name="connsiteX18" fmla="*/ 154432 w 796756"/>
                      <a:gd name="connsiteY18" fmla="*/ 614275 h 956474"/>
                      <a:gd name="connsiteX19" fmla="*/ 185286 w 796756"/>
                      <a:gd name="connsiteY19" fmla="*/ 667568 h 956474"/>
                      <a:gd name="connsiteX20" fmla="*/ 232969 w 796756"/>
                      <a:gd name="connsiteY20" fmla="*/ 701227 h 956474"/>
                      <a:gd name="connsiteX21" fmla="*/ 249799 w 796756"/>
                      <a:gd name="connsiteY21" fmla="*/ 715251 h 956474"/>
                      <a:gd name="connsiteX22" fmla="*/ 277848 w 796756"/>
                      <a:gd name="connsiteY22" fmla="*/ 718056 h 956474"/>
                      <a:gd name="connsiteX23" fmla="*/ 297482 w 796756"/>
                      <a:gd name="connsiteY23" fmla="*/ 746105 h 956474"/>
                      <a:gd name="connsiteX24" fmla="*/ 328336 w 796756"/>
                      <a:gd name="connsiteY24" fmla="*/ 760130 h 956474"/>
                      <a:gd name="connsiteX25" fmla="*/ 361995 w 796756"/>
                      <a:gd name="connsiteY25" fmla="*/ 760130 h 956474"/>
                      <a:gd name="connsiteX26" fmla="*/ 392849 w 796756"/>
                      <a:gd name="connsiteY26" fmla="*/ 790984 h 956474"/>
                      <a:gd name="connsiteX27" fmla="*/ 496631 w 796756"/>
                      <a:gd name="connsiteY27" fmla="*/ 827448 h 956474"/>
                      <a:gd name="connsiteX28" fmla="*/ 558339 w 796756"/>
                      <a:gd name="connsiteY28" fmla="*/ 833058 h 956474"/>
                      <a:gd name="connsiteX29" fmla="*/ 597607 w 796756"/>
                      <a:gd name="connsiteY29" fmla="*/ 833058 h 956474"/>
                      <a:gd name="connsiteX30" fmla="*/ 617242 w 796756"/>
                      <a:gd name="connsiteY30" fmla="*/ 849887 h 956474"/>
                      <a:gd name="connsiteX31" fmla="*/ 648096 w 796756"/>
                      <a:gd name="connsiteY31" fmla="*/ 872326 h 956474"/>
                      <a:gd name="connsiteX32" fmla="*/ 673340 w 796756"/>
                      <a:gd name="connsiteY32" fmla="*/ 891961 h 956474"/>
                      <a:gd name="connsiteX33" fmla="*/ 701389 w 796756"/>
                      <a:gd name="connsiteY33" fmla="*/ 897570 h 956474"/>
                      <a:gd name="connsiteX34" fmla="*/ 723828 w 796756"/>
                      <a:gd name="connsiteY34" fmla="*/ 894766 h 956474"/>
                      <a:gd name="connsiteX35" fmla="*/ 751877 w 796756"/>
                      <a:gd name="connsiteY35" fmla="*/ 920010 h 956474"/>
                      <a:gd name="connsiteX36" fmla="*/ 771512 w 796756"/>
                      <a:gd name="connsiteY36" fmla="*/ 939644 h 956474"/>
                      <a:gd name="connsiteX37" fmla="*/ 796756 w 796756"/>
                      <a:gd name="connsiteY37" fmla="*/ 956474 h 956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796756" h="956474">
                        <a:moveTo>
                          <a:pt x="333946" y="0"/>
                        </a:moveTo>
                        <a:cubicBezTo>
                          <a:pt x="312208" y="13557"/>
                          <a:pt x="290470" y="27114"/>
                          <a:pt x="277848" y="36464"/>
                        </a:cubicBezTo>
                        <a:cubicBezTo>
                          <a:pt x="265226" y="45814"/>
                          <a:pt x="265693" y="48151"/>
                          <a:pt x="258213" y="56098"/>
                        </a:cubicBezTo>
                        <a:cubicBezTo>
                          <a:pt x="250733" y="64045"/>
                          <a:pt x="243254" y="75265"/>
                          <a:pt x="232969" y="84147"/>
                        </a:cubicBezTo>
                        <a:cubicBezTo>
                          <a:pt x="222684" y="93029"/>
                          <a:pt x="208192" y="100509"/>
                          <a:pt x="196505" y="109391"/>
                        </a:cubicBezTo>
                        <a:cubicBezTo>
                          <a:pt x="184818" y="118273"/>
                          <a:pt x="175469" y="128090"/>
                          <a:pt x="162847" y="137440"/>
                        </a:cubicBezTo>
                        <a:cubicBezTo>
                          <a:pt x="150225" y="146790"/>
                          <a:pt x="131525" y="155204"/>
                          <a:pt x="120773" y="165489"/>
                        </a:cubicBezTo>
                        <a:cubicBezTo>
                          <a:pt x="110021" y="175774"/>
                          <a:pt x="106281" y="186058"/>
                          <a:pt x="98334" y="199148"/>
                        </a:cubicBezTo>
                        <a:cubicBezTo>
                          <a:pt x="90387" y="212238"/>
                          <a:pt x="79167" y="227665"/>
                          <a:pt x="73090" y="244027"/>
                        </a:cubicBezTo>
                        <a:cubicBezTo>
                          <a:pt x="67013" y="260389"/>
                          <a:pt x="64675" y="282828"/>
                          <a:pt x="61870" y="297320"/>
                        </a:cubicBezTo>
                        <a:cubicBezTo>
                          <a:pt x="59065" y="311812"/>
                          <a:pt x="60000" y="320694"/>
                          <a:pt x="56260" y="330979"/>
                        </a:cubicBezTo>
                        <a:cubicBezTo>
                          <a:pt x="52520" y="341264"/>
                          <a:pt x="45508" y="351081"/>
                          <a:pt x="39431" y="359028"/>
                        </a:cubicBezTo>
                        <a:cubicBezTo>
                          <a:pt x="33354" y="366975"/>
                          <a:pt x="25406" y="372585"/>
                          <a:pt x="19796" y="378662"/>
                        </a:cubicBezTo>
                        <a:cubicBezTo>
                          <a:pt x="14186" y="384739"/>
                          <a:pt x="9044" y="388012"/>
                          <a:pt x="5772" y="395492"/>
                        </a:cubicBezTo>
                        <a:cubicBezTo>
                          <a:pt x="2500" y="402972"/>
                          <a:pt x="-773" y="413256"/>
                          <a:pt x="162" y="423541"/>
                        </a:cubicBezTo>
                        <a:cubicBezTo>
                          <a:pt x="1097" y="433826"/>
                          <a:pt x="4370" y="443643"/>
                          <a:pt x="11382" y="457200"/>
                        </a:cubicBezTo>
                        <a:cubicBezTo>
                          <a:pt x="18394" y="470757"/>
                          <a:pt x="28211" y="488989"/>
                          <a:pt x="42236" y="504883"/>
                        </a:cubicBezTo>
                        <a:cubicBezTo>
                          <a:pt x="56260" y="520778"/>
                          <a:pt x="76830" y="534335"/>
                          <a:pt x="95529" y="552567"/>
                        </a:cubicBezTo>
                        <a:cubicBezTo>
                          <a:pt x="114228" y="570799"/>
                          <a:pt x="139473" y="595108"/>
                          <a:pt x="154432" y="614275"/>
                        </a:cubicBezTo>
                        <a:cubicBezTo>
                          <a:pt x="169391" y="633442"/>
                          <a:pt x="172196" y="653076"/>
                          <a:pt x="185286" y="667568"/>
                        </a:cubicBezTo>
                        <a:cubicBezTo>
                          <a:pt x="198375" y="682060"/>
                          <a:pt x="222217" y="693280"/>
                          <a:pt x="232969" y="701227"/>
                        </a:cubicBezTo>
                        <a:cubicBezTo>
                          <a:pt x="243721" y="709174"/>
                          <a:pt x="242319" y="712446"/>
                          <a:pt x="249799" y="715251"/>
                        </a:cubicBezTo>
                        <a:cubicBezTo>
                          <a:pt x="257279" y="718056"/>
                          <a:pt x="269901" y="712914"/>
                          <a:pt x="277848" y="718056"/>
                        </a:cubicBezTo>
                        <a:cubicBezTo>
                          <a:pt x="285795" y="723198"/>
                          <a:pt x="289068" y="739093"/>
                          <a:pt x="297482" y="746105"/>
                        </a:cubicBezTo>
                        <a:cubicBezTo>
                          <a:pt x="305896" y="753117"/>
                          <a:pt x="317584" y="757793"/>
                          <a:pt x="328336" y="760130"/>
                        </a:cubicBezTo>
                        <a:cubicBezTo>
                          <a:pt x="339088" y="762468"/>
                          <a:pt x="351243" y="754988"/>
                          <a:pt x="361995" y="760130"/>
                        </a:cubicBezTo>
                        <a:cubicBezTo>
                          <a:pt x="372747" y="765272"/>
                          <a:pt x="370410" y="779764"/>
                          <a:pt x="392849" y="790984"/>
                        </a:cubicBezTo>
                        <a:cubicBezTo>
                          <a:pt x="415288" y="802204"/>
                          <a:pt x="469049" y="820436"/>
                          <a:pt x="496631" y="827448"/>
                        </a:cubicBezTo>
                        <a:cubicBezTo>
                          <a:pt x="524213" y="834460"/>
                          <a:pt x="541510" y="832123"/>
                          <a:pt x="558339" y="833058"/>
                        </a:cubicBezTo>
                        <a:cubicBezTo>
                          <a:pt x="575168" y="833993"/>
                          <a:pt x="587790" y="830253"/>
                          <a:pt x="597607" y="833058"/>
                        </a:cubicBezTo>
                        <a:cubicBezTo>
                          <a:pt x="607424" y="835863"/>
                          <a:pt x="608827" y="843342"/>
                          <a:pt x="617242" y="849887"/>
                        </a:cubicBezTo>
                        <a:cubicBezTo>
                          <a:pt x="625657" y="856432"/>
                          <a:pt x="638746" y="865314"/>
                          <a:pt x="648096" y="872326"/>
                        </a:cubicBezTo>
                        <a:cubicBezTo>
                          <a:pt x="657446" y="879338"/>
                          <a:pt x="664458" y="887754"/>
                          <a:pt x="673340" y="891961"/>
                        </a:cubicBezTo>
                        <a:cubicBezTo>
                          <a:pt x="682222" y="896168"/>
                          <a:pt x="692974" y="897102"/>
                          <a:pt x="701389" y="897570"/>
                        </a:cubicBezTo>
                        <a:cubicBezTo>
                          <a:pt x="709804" y="898038"/>
                          <a:pt x="715413" y="891026"/>
                          <a:pt x="723828" y="894766"/>
                        </a:cubicBezTo>
                        <a:cubicBezTo>
                          <a:pt x="732243" y="898506"/>
                          <a:pt x="743930" y="912530"/>
                          <a:pt x="751877" y="920010"/>
                        </a:cubicBezTo>
                        <a:cubicBezTo>
                          <a:pt x="759824" y="927490"/>
                          <a:pt x="764032" y="933567"/>
                          <a:pt x="771512" y="939644"/>
                        </a:cubicBezTo>
                        <a:cubicBezTo>
                          <a:pt x="778992" y="945721"/>
                          <a:pt x="787874" y="951097"/>
                          <a:pt x="796756" y="956474"/>
                        </a:cubicBezTo>
                      </a:path>
                    </a:pathLst>
                  </a:custGeom>
                  <a:ln w="76200">
                    <a:solidFill>
                      <a:srgbClr val="007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38" name="Полилиния 137"/>
                  <p:cNvSpPr/>
                  <p:nvPr/>
                </p:nvSpPr>
                <p:spPr>
                  <a:xfrm>
                    <a:off x="6124819" y="3900682"/>
                    <a:ext cx="796756" cy="956474"/>
                  </a:xfrm>
                  <a:custGeom>
                    <a:avLst/>
                    <a:gdLst>
                      <a:gd name="connsiteX0" fmla="*/ 333946 w 796756"/>
                      <a:gd name="connsiteY0" fmla="*/ 0 h 956474"/>
                      <a:gd name="connsiteX1" fmla="*/ 277848 w 796756"/>
                      <a:gd name="connsiteY1" fmla="*/ 36464 h 956474"/>
                      <a:gd name="connsiteX2" fmla="*/ 258213 w 796756"/>
                      <a:gd name="connsiteY2" fmla="*/ 56098 h 956474"/>
                      <a:gd name="connsiteX3" fmla="*/ 232969 w 796756"/>
                      <a:gd name="connsiteY3" fmla="*/ 84147 h 956474"/>
                      <a:gd name="connsiteX4" fmla="*/ 196505 w 796756"/>
                      <a:gd name="connsiteY4" fmla="*/ 109391 h 956474"/>
                      <a:gd name="connsiteX5" fmla="*/ 162847 w 796756"/>
                      <a:gd name="connsiteY5" fmla="*/ 137440 h 956474"/>
                      <a:gd name="connsiteX6" fmla="*/ 120773 w 796756"/>
                      <a:gd name="connsiteY6" fmla="*/ 165489 h 956474"/>
                      <a:gd name="connsiteX7" fmla="*/ 98334 w 796756"/>
                      <a:gd name="connsiteY7" fmla="*/ 199148 h 956474"/>
                      <a:gd name="connsiteX8" fmla="*/ 73090 w 796756"/>
                      <a:gd name="connsiteY8" fmla="*/ 244027 h 956474"/>
                      <a:gd name="connsiteX9" fmla="*/ 61870 w 796756"/>
                      <a:gd name="connsiteY9" fmla="*/ 297320 h 956474"/>
                      <a:gd name="connsiteX10" fmla="*/ 56260 w 796756"/>
                      <a:gd name="connsiteY10" fmla="*/ 330979 h 956474"/>
                      <a:gd name="connsiteX11" fmla="*/ 39431 w 796756"/>
                      <a:gd name="connsiteY11" fmla="*/ 359028 h 956474"/>
                      <a:gd name="connsiteX12" fmla="*/ 19796 w 796756"/>
                      <a:gd name="connsiteY12" fmla="*/ 378662 h 956474"/>
                      <a:gd name="connsiteX13" fmla="*/ 5772 w 796756"/>
                      <a:gd name="connsiteY13" fmla="*/ 395492 h 956474"/>
                      <a:gd name="connsiteX14" fmla="*/ 162 w 796756"/>
                      <a:gd name="connsiteY14" fmla="*/ 423541 h 956474"/>
                      <a:gd name="connsiteX15" fmla="*/ 11382 w 796756"/>
                      <a:gd name="connsiteY15" fmla="*/ 457200 h 956474"/>
                      <a:gd name="connsiteX16" fmla="*/ 42236 w 796756"/>
                      <a:gd name="connsiteY16" fmla="*/ 504883 h 956474"/>
                      <a:gd name="connsiteX17" fmla="*/ 95529 w 796756"/>
                      <a:gd name="connsiteY17" fmla="*/ 552567 h 956474"/>
                      <a:gd name="connsiteX18" fmla="*/ 154432 w 796756"/>
                      <a:gd name="connsiteY18" fmla="*/ 614275 h 956474"/>
                      <a:gd name="connsiteX19" fmla="*/ 185286 w 796756"/>
                      <a:gd name="connsiteY19" fmla="*/ 667568 h 956474"/>
                      <a:gd name="connsiteX20" fmla="*/ 232969 w 796756"/>
                      <a:gd name="connsiteY20" fmla="*/ 701227 h 956474"/>
                      <a:gd name="connsiteX21" fmla="*/ 249799 w 796756"/>
                      <a:gd name="connsiteY21" fmla="*/ 715251 h 956474"/>
                      <a:gd name="connsiteX22" fmla="*/ 277848 w 796756"/>
                      <a:gd name="connsiteY22" fmla="*/ 718056 h 956474"/>
                      <a:gd name="connsiteX23" fmla="*/ 297482 w 796756"/>
                      <a:gd name="connsiteY23" fmla="*/ 746105 h 956474"/>
                      <a:gd name="connsiteX24" fmla="*/ 328336 w 796756"/>
                      <a:gd name="connsiteY24" fmla="*/ 760130 h 956474"/>
                      <a:gd name="connsiteX25" fmla="*/ 361995 w 796756"/>
                      <a:gd name="connsiteY25" fmla="*/ 760130 h 956474"/>
                      <a:gd name="connsiteX26" fmla="*/ 392849 w 796756"/>
                      <a:gd name="connsiteY26" fmla="*/ 790984 h 956474"/>
                      <a:gd name="connsiteX27" fmla="*/ 496631 w 796756"/>
                      <a:gd name="connsiteY27" fmla="*/ 827448 h 956474"/>
                      <a:gd name="connsiteX28" fmla="*/ 558339 w 796756"/>
                      <a:gd name="connsiteY28" fmla="*/ 833058 h 956474"/>
                      <a:gd name="connsiteX29" fmla="*/ 597607 w 796756"/>
                      <a:gd name="connsiteY29" fmla="*/ 833058 h 956474"/>
                      <a:gd name="connsiteX30" fmla="*/ 617242 w 796756"/>
                      <a:gd name="connsiteY30" fmla="*/ 849887 h 956474"/>
                      <a:gd name="connsiteX31" fmla="*/ 648096 w 796756"/>
                      <a:gd name="connsiteY31" fmla="*/ 872326 h 956474"/>
                      <a:gd name="connsiteX32" fmla="*/ 673340 w 796756"/>
                      <a:gd name="connsiteY32" fmla="*/ 891961 h 956474"/>
                      <a:gd name="connsiteX33" fmla="*/ 701389 w 796756"/>
                      <a:gd name="connsiteY33" fmla="*/ 897570 h 956474"/>
                      <a:gd name="connsiteX34" fmla="*/ 723828 w 796756"/>
                      <a:gd name="connsiteY34" fmla="*/ 894766 h 956474"/>
                      <a:gd name="connsiteX35" fmla="*/ 751877 w 796756"/>
                      <a:gd name="connsiteY35" fmla="*/ 920010 h 956474"/>
                      <a:gd name="connsiteX36" fmla="*/ 771512 w 796756"/>
                      <a:gd name="connsiteY36" fmla="*/ 939644 h 956474"/>
                      <a:gd name="connsiteX37" fmla="*/ 796756 w 796756"/>
                      <a:gd name="connsiteY37" fmla="*/ 956474 h 9564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796756" h="956474">
                        <a:moveTo>
                          <a:pt x="333946" y="0"/>
                        </a:moveTo>
                        <a:cubicBezTo>
                          <a:pt x="312208" y="13557"/>
                          <a:pt x="290470" y="27114"/>
                          <a:pt x="277848" y="36464"/>
                        </a:cubicBezTo>
                        <a:cubicBezTo>
                          <a:pt x="265226" y="45814"/>
                          <a:pt x="265693" y="48151"/>
                          <a:pt x="258213" y="56098"/>
                        </a:cubicBezTo>
                        <a:cubicBezTo>
                          <a:pt x="250733" y="64045"/>
                          <a:pt x="243254" y="75265"/>
                          <a:pt x="232969" y="84147"/>
                        </a:cubicBezTo>
                        <a:cubicBezTo>
                          <a:pt x="222684" y="93029"/>
                          <a:pt x="208192" y="100509"/>
                          <a:pt x="196505" y="109391"/>
                        </a:cubicBezTo>
                        <a:cubicBezTo>
                          <a:pt x="184818" y="118273"/>
                          <a:pt x="175469" y="128090"/>
                          <a:pt x="162847" y="137440"/>
                        </a:cubicBezTo>
                        <a:cubicBezTo>
                          <a:pt x="150225" y="146790"/>
                          <a:pt x="131525" y="155204"/>
                          <a:pt x="120773" y="165489"/>
                        </a:cubicBezTo>
                        <a:cubicBezTo>
                          <a:pt x="110021" y="175774"/>
                          <a:pt x="106281" y="186058"/>
                          <a:pt x="98334" y="199148"/>
                        </a:cubicBezTo>
                        <a:cubicBezTo>
                          <a:pt x="90387" y="212238"/>
                          <a:pt x="79167" y="227665"/>
                          <a:pt x="73090" y="244027"/>
                        </a:cubicBezTo>
                        <a:cubicBezTo>
                          <a:pt x="67013" y="260389"/>
                          <a:pt x="64675" y="282828"/>
                          <a:pt x="61870" y="297320"/>
                        </a:cubicBezTo>
                        <a:cubicBezTo>
                          <a:pt x="59065" y="311812"/>
                          <a:pt x="60000" y="320694"/>
                          <a:pt x="56260" y="330979"/>
                        </a:cubicBezTo>
                        <a:cubicBezTo>
                          <a:pt x="52520" y="341264"/>
                          <a:pt x="45508" y="351081"/>
                          <a:pt x="39431" y="359028"/>
                        </a:cubicBezTo>
                        <a:cubicBezTo>
                          <a:pt x="33354" y="366975"/>
                          <a:pt x="25406" y="372585"/>
                          <a:pt x="19796" y="378662"/>
                        </a:cubicBezTo>
                        <a:cubicBezTo>
                          <a:pt x="14186" y="384739"/>
                          <a:pt x="9044" y="388012"/>
                          <a:pt x="5772" y="395492"/>
                        </a:cubicBezTo>
                        <a:cubicBezTo>
                          <a:pt x="2500" y="402972"/>
                          <a:pt x="-773" y="413256"/>
                          <a:pt x="162" y="423541"/>
                        </a:cubicBezTo>
                        <a:cubicBezTo>
                          <a:pt x="1097" y="433826"/>
                          <a:pt x="4370" y="443643"/>
                          <a:pt x="11382" y="457200"/>
                        </a:cubicBezTo>
                        <a:cubicBezTo>
                          <a:pt x="18394" y="470757"/>
                          <a:pt x="28211" y="488989"/>
                          <a:pt x="42236" y="504883"/>
                        </a:cubicBezTo>
                        <a:cubicBezTo>
                          <a:pt x="56260" y="520778"/>
                          <a:pt x="76830" y="534335"/>
                          <a:pt x="95529" y="552567"/>
                        </a:cubicBezTo>
                        <a:cubicBezTo>
                          <a:pt x="114228" y="570799"/>
                          <a:pt x="139473" y="595108"/>
                          <a:pt x="154432" y="614275"/>
                        </a:cubicBezTo>
                        <a:cubicBezTo>
                          <a:pt x="169391" y="633442"/>
                          <a:pt x="172196" y="653076"/>
                          <a:pt x="185286" y="667568"/>
                        </a:cubicBezTo>
                        <a:cubicBezTo>
                          <a:pt x="198375" y="682060"/>
                          <a:pt x="222217" y="693280"/>
                          <a:pt x="232969" y="701227"/>
                        </a:cubicBezTo>
                        <a:cubicBezTo>
                          <a:pt x="243721" y="709174"/>
                          <a:pt x="242319" y="712446"/>
                          <a:pt x="249799" y="715251"/>
                        </a:cubicBezTo>
                        <a:cubicBezTo>
                          <a:pt x="257279" y="718056"/>
                          <a:pt x="269901" y="712914"/>
                          <a:pt x="277848" y="718056"/>
                        </a:cubicBezTo>
                        <a:cubicBezTo>
                          <a:pt x="285795" y="723198"/>
                          <a:pt x="289068" y="739093"/>
                          <a:pt x="297482" y="746105"/>
                        </a:cubicBezTo>
                        <a:cubicBezTo>
                          <a:pt x="305896" y="753117"/>
                          <a:pt x="317584" y="757793"/>
                          <a:pt x="328336" y="760130"/>
                        </a:cubicBezTo>
                        <a:cubicBezTo>
                          <a:pt x="339088" y="762468"/>
                          <a:pt x="351243" y="754988"/>
                          <a:pt x="361995" y="760130"/>
                        </a:cubicBezTo>
                        <a:cubicBezTo>
                          <a:pt x="372747" y="765272"/>
                          <a:pt x="370410" y="779764"/>
                          <a:pt x="392849" y="790984"/>
                        </a:cubicBezTo>
                        <a:cubicBezTo>
                          <a:pt x="415288" y="802204"/>
                          <a:pt x="469049" y="820436"/>
                          <a:pt x="496631" y="827448"/>
                        </a:cubicBezTo>
                        <a:cubicBezTo>
                          <a:pt x="524213" y="834460"/>
                          <a:pt x="541510" y="832123"/>
                          <a:pt x="558339" y="833058"/>
                        </a:cubicBezTo>
                        <a:cubicBezTo>
                          <a:pt x="575168" y="833993"/>
                          <a:pt x="587790" y="830253"/>
                          <a:pt x="597607" y="833058"/>
                        </a:cubicBezTo>
                        <a:cubicBezTo>
                          <a:pt x="607424" y="835863"/>
                          <a:pt x="608827" y="843342"/>
                          <a:pt x="617242" y="849887"/>
                        </a:cubicBezTo>
                        <a:cubicBezTo>
                          <a:pt x="625657" y="856432"/>
                          <a:pt x="638746" y="865314"/>
                          <a:pt x="648096" y="872326"/>
                        </a:cubicBezTo>
                        <a:cubicBezTo>
                          <a:pt x="657446" y="879338"/>
                          <a:pt x="664458" y="887754"/>
                          <a:pt x="673340" y="891961"/>
                        </a:cubicBezTo>
                        <a:cubicBezTo>
                          <a:pt x="682222" y="896168"/>
                          <a:pt x="692974" y="897102"/>
                          <a:pt x="701389" y="897570"/>
                        </a:cubicBezTo>
                        <a:cubicBezTo>
                          <a:pt x="709804" y="898038"/>
                          <a:pt x="715413" y="891026"/>
                          <a:pt x="723828" y="894766"/>
                        </a:cubicBezTo>
                        <a:cubicBezTo>
                          <a:pt x="732243" y="898506"/>
                          <a:pt x="743930" y="912530"/>
                          <a:pt x="751877" y="920010"/>
                        </a:cubicBezTo>
                        <a:cubicBezTo>
                          <a:pt x="759824" y="927490"/>
                          <a:pt x="764032" y="933567"/>
                          <a:pt x="771512" y="939644"/>
                        </a:cubicBezTo>
                        <a:cubicBezTo>
                          <a:pt x="778992" y="945721"/>
                          <a:pt x="787874" y="951097"/>
                          <a:pt x="796756" y="956474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39" name="Полилиния 138"/>
                  <p:cNvSpPr/>
                  <p:nvPr/>
                </p:nvSpPr>
                <p:spPr>
                  <a:xfrm>
                    <a:off x="6148204" y="3924066"/>
                    <a:ext cx="788423" cy="922815"/>
                  </a:xfrm>
                  <a:custGeom>
                    <a:avLst/>
                    <a:gdLst>
                      <a:gd name="connsiteX0" fmla="*/ 322719 w 788423"/>
                      <a:gd name="connsiteY0" fmla="*/ 0 h 922815"/>
                      <a:gd name="connsiteX1" fmla="*/ 230157 w 788423"/>
                      <a:gd name="connsiteY1" fmla="*/ 72928 h 922815"/>
                      <a:gd name="connsiteX2" fmla="*/ 190888 w 788423"/>
                      <a:gd name="connsiteY2" fmla="*/ 109392 h 922815"/>
                      <a:gd name="connsiteX3" fmla="*/ 140400 w 788423"/>
                      <a:gd name="connsiteY3" fmla="*/ 145855 h 922815"/>
                      <a:gd name="connsiteX4" fmla="*/ 103936 w 788423"/>
                      <a:gd name="connsiteY4" fmla="*/ 176709 h 922815"/>
                      <a:gd name="connsiteX5" fmla="*/ 73082 w 788423"/>
                      <a:gd name="connsiteY5" fmla="*/ 232808 h 922815"/>
                      <a:gd name="connsiteX6" fmla="*/ 59057 w 788423"/>
                      <a:gd name="connsiteY6" fmla="*/ 294516 h 922815"/>
                      <a:gd name="connsiteX7" fmla="*/ 47838 w 788423"/>
                      <a:gd name="connsiteY7" fmla="*/ 333784 h 922815"/>
                      <a:gd name="connsiteX8" fmla="*/ 22594 w 788423"/>
                      <a:gd name="connsiteY8" fmla="*/ 364638 h 922815"/>
                      <a:gd name="connsiteX9" fmla="*/ 154 w 788423"/>
                      <a:gd name="connsiteY9" fmla="*/ 389882 h 922815"/>
                      <a:gd name="connsiteX10" fmla="*/ 14179 w 788423"/>
                      <a:gd name="connsiteY10" fmla="*/ 437566 h 922815"/>
                      <a:gd name="connsiteX11" fmla="*/ 42228 w 788423"/>
                      <a:gd name="connsiteY11" fmla="*/ 479640 h 922815"/>
                      <a:gd name="connsiteX12" fmla="*/ 89911 w 788423"/>
                      <a:gd name="connsiteY12" fmla="*/ 524518 h 922815"/>
                      <a:gd name="connsiteX13" fmla="*/ 151619 w 788423"/>
                      <a:gd name="connsiteY13" fmla="*/ 594641 h 922815"/>
                      <a:gd name="connsiteX14" fmla="*/ 171254 w 788423"/>
                      <a:gd name="connsiteY14" fmla="*/ 622690 h 922815"/>
                      <a:gd name="connsiteX15" fmla="*/ 199303 w 788423"/>
                      <a:gd name="connsiteY15" fmla="*/ 650739 h 922815"/>
                      <a:gd name="connsiteX16" fmla="*/ 232962 w 788423"/>
                      <a:gd name="connsiteY16" fmla="*/ 670373 h 922815"/>
                      <a:gd name="connsiteX17" fmla="*/ 258206 w 788423"/>
                      <a:gd name="connsiteY17" fmla="*/ 681593 h 922815"/>
                      <a:gd name="connsiteX18" fmla="*/ 272230 w 788423"/>
                      <a:gd name="connsiteY18" fmla="*/ 681593 h 922815"/>
                      <a:gd name="connsiteX19" fmla="*/ 294670 w 788423"/>
                      <a:gd name="connsiteY19" fmla="*/ 709642 h 922815"/>
                      <a:gd name="connsiteX20" fmla="*/ 308694 w 788423"/>
                      <a:gd name="connsiteY20" fmla="*/ 718057 h 922815"/>
                      <a:gd name="connsiteX21" fmla="*/ 331133 w 788423"/>
                      <a:gd name="connsiteY21" fmla="*/ 718057 h 922815"/>
                      <a:gd name="connsiteX22" fmla="*/ 356378 w 788423"/>
                      <a:gd name="connsiteY22" fmla="*/ 729276 h 922815"/>
                      <a:gd name="connsiteX23" fmla="*/ 381622 w 788423"/>
                      <a:gd name="connsiteY23" fmla="*/ 748911 h 922815"/>
                      <a:gd name="connsiteX24" fmla="*/ 429305 w 788423"/>
                      <a:gd name="connsiteY24" fmla="*/ 774155 h 922815"/>
                      <a:gd name="connsiteX25" fmla="*/ 507843 w 788423"/>
                      <a:gd name="connsiteY25" fmla="*/ 793789 h 922815"/>
                      <a:gd name="connsiteX26" fmla="*/ 555526 w 788423"/>
                      <a:gd name="connsiteY26" fmla="*/ 790984 h 922815"/>
                      <a:gd name="connsiteX27" fmla="*/ 586380 w 788423"/>
                      <a:gd name="connsiteY27" fmla="*/ 796594 h 922815"/>
                      <a:gd name="connsiteX28" fmla="*/ 614429 w 788423"/>
                      <a:gd name="connsiteY28" fmla="*/ 813424 h 922815"/>
                      <a:gd name="connsiteX29" fmla="*/ 631259 w 788423"/>
                      <a:gd name="connsiteY29" fmla="*/ 833058 h 922815"/>
                      <a:gd name="connsiteX30" fmla="*/ 659308 w 788423"/>
                      <a:gd name="connsiteY30" fmla="*/ 849887 h 922815"/>
                      <a:gd name="connsiteX31" fmla="*/ 673332 w 788423"/>
                      <a:gd name="connsiteY31" fmla="*/ 855497 h 922815"/>
                      <a:gd name="connsiteX32" fmla="*/ 698576 w 788423"/>
                      <a:gd name="connsiteY32" fmla="*/ 855497 h 922815"/>
                      <a:gd name="connsiteX33" fmla="*/ 718211 w 788423"/>
                      <a:gd name="connsiteY33" fmla="*/ 855497 h 922815"/>
                      <a:gd name="connsiteX34" fmla="*/ 751870 w 788423"/>
                      <a:gd name="connsiteY34" fmla="*/ 891961 h 922815"/>
                      <a:gd name="connsiteX35" fmla="*/ 782724 w 788423"/>
                      <a:gd name="connsiteY35" fmla="*/ 917205 h 922815"/>
                      <a:gd name="connsiteX36" fmla="*/ 788333 w 788423"/>
                      <a:gd name="connsiteY36" fmla="*/ 922815 h 9228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</a:cxnLst>
                    <a:rect l="l" t="t" r="r" b="b"/>
                    <a:pathLst>
                      <a:path w="788423" h="922815">
                        <a:moveTo>
                          <a:pt x="322719" y="0"/>
                        </a:moveTo>
                        <a:cubicBezTo>
                          <a:pt x="287424" y="27348"/>
                          <a:pt x="252129" y="54696"/>
                          <a:pt x="230157" y="72928"/>
                        </a:cubicBezTo>
                        <a:cubicBezTo>
                          <a:pt x="208185" y="91160"/>
                          <a:pt x="205847" y="97238"/>
                          <a:pt x="190888" y="109392"/>
                        </a:cubicBezTo>
                        <a:cubicBezTo>
                          <a:pt x="175928" y="121547"/>
                          <a:pt x="154892" y="134636"/>
                          <a:pt x="140400" y="145855"/>
                        </a:cubicBezTo>
                        <a:cubicBezTo>
                          <a:pt x="125908" y="157074"/>
                          <a:pt x="115156" y="162217"/>
                          <a:pt x="103936" y="176709"/>
                        </a:cubicBezTo>
                        <a:cubicBezTo>
                          <a:pt x="92716" y="191201"/>
                          <a:pt x="80562" y="213174"/>
                          <a:pt x="73082" y="232808"/>
                        </a:cubicBezTo>
                        <a:cubicBezTo>
                          <a:pt x="65602" y="252443"/>
                          <a:pt x="63264" y="277687"/>
                          <a:pt x="59057" y="294516"/>
                        </a:cubicBezTo>
                        <a:cubicBezTo>
                          <a:pt x="54850" y="311345"/>
                          <a:pt x="53915" y="322097"/>
                          <a:pt x="47838" y="333784"/>
                        </a:cubicBezTo>
                        <a:cubicBezTo>
                          <a:pt x="41761" y="345471"/>
                          <a:pt x="30541" y="355288"/>
                          <a:pt x="22594" y="364638"/>
                        </a:cubicBezTo>
                        <a:cubicBezTo>
                          <a:pt x="14647" y="373988"/>
                          <a:pt x="1556" y="377727"/>
                          <a:pt x="154" y="389882"/>
                        </a:cubicBezTo>
                        <a:cubicBezTo>
                          <a:pt x="-1249" y="402037"/>
                          <a:pt x="7167" y="422606"/>
                          <a:pt x="14179" y="437566"/>
                        </a:cubicBezTo>
                        <a:cubicBezTo>
                          <a:pt x="21191" y="452526"/>
                          <a:pt x="29606" y="465148"/>
                          <a:pt x="42228" y="479640"/>
                        </a:cubicBezTo>
                        <a:cubicBezTo>
                          <a:pt x="54850" y="494132"/>
                          <a:pt x="71679" y="505351"/>
                          <a:pt x="89911" y="524518"/>
                        </a:cubicBezTo>
                        <a:cubicBezTo>
                          <a:pt x="108143" y="543685"/>
                          <a:pt x="138062" y="578279"/>
                          <a:pt x="151619" y="594641"/>
                        </a:cubicBezTo>
                        <a:cubicBezTo>
                          <a:pt x="165176" y="611003"/>
                          <a:pt x="163307" y="613340"/>
                          <a:pt x="171254" y="622690"/>
                        </a:cubicBezTo>
                        <a:cubicBezTo>
                          <a:pt x="179201" y="632040"/>
                          <a:pt x="189018" y="642792"/>
                          <a:pt x="199303" y="650739"/>
                        </a:cubicBezTo>
                        <a:cubicBezTo>
                          <a:pt x="209588" y="658686"/>
                          <a:pt x="223145" y="665231"/>
                          <a:pt x="232962" y="670373"/>
                        </a:cubicBezTo>
                        <a:cubicBezTo>
                          <a:pt x="242779" y="675515"/>
                          <a:pt x="251661" y="679723"/>
                          <a:pt x="258206" y="681593"/>
                        </a:cubicBezTo>
                        <a:cubicBezTo>
                          <a:pt x="264751" y="683463"/>
                          <a:pt x="266153" y="676918"/>
                          <a:pt x="272230" y="681593"/>
                        </a:cubicBezTo>
                        <a:cubicBezTo>
                          <a:pt x="278307" y="686268"/>
                          <a:pt x="288593" y="703565"/>
                          <a:pt x="294670" y="709642"/>
                        </a:cubicBezTo>
                        <a:cubicBezTo>
                          <a:pt x="300747" y="715719"/>
                          <a:pt x="302617" y="716655"/>
                          <a:pt x="308694" y="718057"/>
                        </a:cubicBezTo>
                        <a:cubicBezTo>
                          <a:pt x="314771" y="719460"/>
                          <a:pt x="323186" y="716187"/>
                          <a:pt x="331133" y="718057"/>
                        </a:cubicBezTo>
                        <a:cubicBezTo>
                          <a:pt x="339080" y="719927"/>
                          <a:pt x="347963" y="724134"/>
                          <a:pt x="356378" y="729276"/>
                        </a:cubicBezTo>
                        <a:cubicBezTo>
                          <a:pt x="364793" y="734418"/>
                          <a:pt x="369468" y="741431"/>
                          <a:pt x="381622" y="748911"/>
                        </a:cubicBezTo>
                        <a:cubicBezTo>
                          <a:pt x="393776" y="756391"/>
                          <a:pt x="408268" y="766675"/>
                          <a:pt x="429305" y="774155"/>
                        </a:cubicBezTo>
                        <a:cubicBezTo>
                          <a:pt x="450342" y="781635"/>
                          <a:pt x="486806" y="790984"/>
                          <a:pt x="507843" y="793789"/>
                        </a:cubicBezTo>
                        <a:cubicBezTo>
                          <a:pt x="528880" y="796594"/>
                          <a:pt x="542437" y="790517"/>
                          <a:pt x="555526" y="790984"/>
                        </a:cubicBezTo>
                        <a:cubicBezTo>
                          <a:pt x="568615" y="791451"/>
                          <a:pt x="576563" y="792854"/>
                          <a:pt x="586380" y="796594"/>
                        </a:cubicBezTo>
                        <a:cubicBezTo>
                          <a:pt x="596197" y="800334"/>
                          <a:pt x="606949" y="807347"/>
                          <a:pt x="614429" y="813424"/>
                        </a:cubicBezTo>
                        <a:cubicBezTo>
                          <a:pt x="621909" y="819501"/>
                          <a:pt x="623779" y="826981"/>
                          <a:pt x="631259" y="833058"/>
                        </a:cubicBezTo>
                        <a:cubicBezTo>
                          <a:pt x="638739" y="839135"/>
                          <a:pt x="652296" y="846147"/>
                          <a:pt x="659308" y="849887"/>
                        </a:cubicBezTo>
                        <a:cubicBezTo>
                          <a:pt x="666320" y="853627"/>
                          <a:pt x="666787" y="854562"/>
                          <a:pt x="673332" y="855497"/>
                        </a:cubicBezTo>
                        <a:cubicBezTo>
                          <a:pt x="679877" y="856432"/>
                          <a:pt x="698576" y="855497"/>
                          <a:pt x="698576" y="855497"/>
                        </a:cubicBezTo>
                        <a:cubicBezTo>
                          <a:pt x="706056" y="855497"/>
                          <a:pt x="709329" y="849420"/>
                          <a:pt x="718211" y="855497"/>
                        </a:cubicBezTo>
                        <a:cubicBezTo>
                          <a:pt x="727093" y="861574"/>
                          <a:pt x="741118" y="881676"/>
                          <a:pt x="751870" y="891961"/>
                        </a:cubicBezTo>
                        <a:cubicBezTo>
                          <a:pt x="762622" y="902246"/>
                          <a:pt x="782724" y="917205"/>
                          <a:pt x="782724" y="917205"/>
                        </a:cubicBezTo>
                        <a:cubicBezTo>
                          <a:pt x="788801" y="922347"/>
                          <a:pt x="788567" y="922581"/>
                          <a:pt x="788333" y="922815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0" name="Полилиния 139"/>
                  <p:cNvSpPr/>
                  <p:nvPr/>
                </p:nvSpPr>
                <p:spPr>
                  <a:xfrm>
                    <a:off x="6103480" y="3884798"/>
                    <a:ext cx="819033" cy="995742"/>
                  </a:xfrm>
                  <a:custGeom>
                    <a:avLst/>
                    <a:gdLst>
                      <a:gd name="connsiteX0" fmla="*/ 345004 w 819033"/>
                      <a:gd name="connsiteY0" fmla="*/ 0 h 995742"/>
                      <a:gd name="connsiteX1" fmla="*/ 288905 w 819033"/>
                      <a:gd name="connsiteY1" fmla="*/ 36463 h 995742"/>
                      <a:gd name="connsiteX2" fmla="*/ 244027 w 819033"/>
                      <a:gd name="connsiteY2" fmla="*/ 89757 h 995742"/>
                      <a:gd name="connsiteX3" fmla="*/ 213173 w 819033"/>
                      <a:gd name="connsiteY3" fmla="*/ 109391 h 995742"/>
                      <a:gd name="connsiteX4" fmla="*/ 168294 w 819033"/>
                      <a:gd name="connsiteY4" fmla="*/ 140245 h 995742"/>
                      <a:gd name="connsiteX5" fmla="*/ 129026 w 819033"/>
                      <a:gd name="connsiteY5" fmla="*/ 173904 h 995742"/>
                      <a:gd name="connsiteX6" fmla="*/ 92562 w 819033"/>
                      <a:gd name="connsiteY6" fmla="*/ 227197 h 995742"/>
                      <a:gd name="connsiteX7" fmla="*/ 67318 w 819033"/>
                      <a:gd name="connsiteY7" fmla="*/ 322564 h 995742"/>
                      <a:gd name="connsiteX8" fmla="*/ 53293 w 819033"/>
                      <a:gd name="connsiteY8" fmla="*/ 361833 h 995742"/>
                      <a:gd name="connsiteX9" fmla="*/ 19634 w 819033"/>
                      <a:gd name="connsiteY9" fmla="*/ 401101 h 995742"/>
                      <a:gd name="connsiteX10" fmla="*/ 0 w 819033"/>
                      <a:gd name="connsiteY10" fmla="*/ 440370 h 995742"/>
                      <a:gd name="connsiteX11" fmla="*/ 19634 w 819033"/>
                      <a:gd name="connsiteY11" fmla="*/ 493663 h 995742"/>
                      <a:gd name="connsiteX12" fmla="*/ 50488 w 819033"/>
                      <a:gd name="connsiteY12" fmla="*/ 544152 h 995742"/>
                      <a:gd name="connsiteX13" fmla="*/ 98172 w 819033"/>
                      <a:gd name="connsiteY13" fmla="*/ 577811 h 995742"/>
                      <a:gd name="connsiteX14" fmla="*/ 143050 w 819033"/>
                      <a:gd name="connsiteY14" fmla="*/ 617079 h 995742"/>
                      <a:gd name="connsiteX15" fmla="*/ 171099 w 819033"/>
                      <a:gd name="connsiteY15" fmla="*/ 653543 h 995742"/>
                      <a:gd name="connsiteX16" fmla="*/ 190734 w 819033"/>
                      <a:gd name="connsiteY16" fmla="*/ 701227 h 995742"/>
                      <a:gd name="connsiteX17" fmla="*/ 230002 w 819033"/>
                      <a:gd name="connsiteY17" fmla="*/ 723666 h 995742"/>
                      <a:gd name="connsiteX18" fmla="*/ 255246 w 819033"/>
                      <a:gd name="connsiteY18" fmla="*/ 743300 h 995742"/>
                      <a:gd name="connsiteX19" fmla="*/ 269271 w 819033"/>
                      <a:gd name="connsiteY19" fmla="*/ 757325 h 995742"/>
                      <a:gd name="connsiteX20" fmla="*/ 294515 w 819033"/>
                      <a:gd name="connsiteY20" fmla="*/ 757325 h 995742"/>
                      <a:gd name="connsiteX21" fmla="*/ 308540 w 819033"/>
                      <a:gd name="connsiteY21" fmla="*/ 779764 h 995742"/>
                      <a:gd name="connsiteX22" fmla="*/ 336589 w 819033"/>
                      <a:gd name="connsiteY22" fmla="*/ 796593 h 995742"/>
                      <a:gd name="connsiteX23" fmla="*/ 367443 w 819033"/>
                      <a:gd name="connsiteY23" fmla="*/ 802203 h 995742"/>
                      <a:gd name="connsiteX24" fmla="*/ 387077 w 819033"/>
                      <a:gd name="connsiteY24" fmla="*/ 816228 h 995742"/>
                      <a:gd name="connsiteX25" fmla="*/ 429151 w 819033"/>
                      <a:gd name="connsiteY25" fmla="*/ 835862 h 995742"/>
                      <a:gd name="connsiteX26" fmla="*/ 479639 w 819033"/>
                      <a:gd name="connsiteY26" fmla="*/ 861106 h 995742"/>
                      <a:gd name="connsiteX27" fmla="*/ 544152 w 819033"/>
                      <a:gd name="connsiteY27" fmla="*/ 872326 h 995742"/>
                      <a:gd name="connsiteX28" fmla="*/ 611470 w 819033"/>
                      <a:gd name="connsiteY28" fmla="*/ 877936 h 995742"/>
                      <a:gd name="connsiteX29" fmla="*/ 639519 w 819033"/>
                      <a:gd name="connsiteY29" fmla="*/ 889155 h 995742"/>
                      <a:gd name="connsiteX30" fmla="*/ 687202 w 819033"/>
                      <a:gd name="connsiteY30" fmla="*/ 922814 h 995742"/>
                      <a:gd name="connsiteX31" fmla="*/ 715251 w 819033"/>
                      <a:gd name="connsiteY31" fmla="*/ 939644 h 995742"/>
                      <a:gd name="connsiteX32" fmla="*/ 734886 w 819033"/>
                      <a:gd name="connsiteY32" fmla="*/ 942449 h 995742"/>
                      <a:gd name="connsiteX33" fmla="*/ 748910 w 819033"/>
                      <a:gd name="connsiteY33" fmla="*/ 942449 h 995742"/>
                      <a:gd name="connsiteX34" fmla="*/ 774154 w 819033"/>
                      <a:gd name="connsiteY34" fmla="*/ 964888 h 995742"/>
                      <a:gd name="connsiteX35" fmla="*/ 793789 w 819033"/>
                      <a:gd name="connsiteY35" fmla="*/ 984522 h 995742"/>
                      <a:gd name="connsiteX36" fmla="*/ 813423 w 819033"/>
                      <a:gd name="connsiteY36" fmla="*/ 992937 h 995742"/>
                      <a:gd name="connsiteX37" fmla="*/ 819033 w 819033"/>
                      <a:gd name="connsiteY37" fmla="*/ 995742 h 99574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819033" h="995742">
                        <a:moveTo>
                          <a:pt x="345004" y="0"/>
                        </a:moveTo>
                        <a:cubicBezTo>
                          <a:pt x="325369" y="10752"/>
                          <a:pt x="305734" y="21504"/>
                          <a:pt x="288905" y="36463"/>
                        </a:cubicBezTo>
                        <a:cubicBezTo>
                          <a:pt x="272075" y="51423"/>
                          <a:pt x="256649" y="77602"/>
                          <a:pt x="244027" y="89757"/>
                        </a:cubicBezTo>
                        <a:cubicBezTo>
                          <a:pt x="231405" y="101912"/>
                          <a:pt x="225795" y="100976"/>
                          <a:pt x="213173" y="109391"/>
                        </a:cubicBezTo>
                        <a:cubicBezTo>
                          <a:pt x="200551" y="117806"/>
                          <a:pt x="182318" y="129493"/>
                          <a:pt x="168294" y="140245"/>
                        </a:cubicBezTo>
                        <a:cubicBezTo>
                          <a:pt x="154270" y="150997"/>
                          <a:pt x="141648" y="159412"/>
                          <a:pt x="129026" y="173904"/>
                        </a:cubicBezTo>
                        <a:cubicBezTo>
                          <a:pt x="116404" y="188396"/>
                          <a:pt x="102847" y="202421"/>
                          <a:pt x="92562" y="227197"/>
                        </a:cubicBezTo>
                        <a:cubicBezTo>
                          <a:pt x="82277" y="251973"/>
                          <a:pt x="73863" y="300125"/>
                          <a:pt x="67318" y="322564"/>
                        </a:cubicBezTo>
                        <a:cubicBezTo>
                          <a:pt x="60773" y="345003"/>
                          <a:pt x="61240" y="348744"/>
                          <a:pt x="53293" y="361833"/>
                        </a:cubicBezTo>
                        <a:cubicBezTo>
                          <a:pt x="45346" y="374922"/>
                          <a:pt x="28516" y="388012"/>
                          <a:pt x="19634" y="401101"/>
                        </a:cubicBezTo>
                        <a:cubicBezTo>
                          <a:pt x="10752" y="414191"/>
                          <a:pt x="0" y="424943"/>
                          <a:pt x="0" y="440370"/>
                        </a:cubicBezTo>
                        <a:cubicBezTo>
                          <a:pt x="0" y="455797"/>
                          <a:pt x="11219" y="476366"/>
                          <a:pt x="19634" y="493663"/>
                        </a:cubicBezTo>
                        <a:cubicBezTo>
                          <a:pt x="28049" y="510960"/>
                          <a:pt x="37398" y="530127"/>
                          <a:pt x="50488" y="544152"/>
                        </a:cubicBezTo>
                        <a:cubicBezTo>
                          <a:pt x="63578" y="558177"/>
                          <a:pt x="82745" y="565657"/>
                          <a:pt x="98172" y="577811"/>
                        </a:cubicBezTo>
                        <a:cubicBezTo>
                          <a:pt x="113599" y="589966"/>
                          <a:pt x="130896" y="604457"/>
                          <a:pt x="143050" y="617079"/>
                        </a:cubicBezTo>
                        <a:cubicBezTo>
                          <a:pt x="155204" y="629701"/>
                          <a:pt x="163152" y="639518"/>
                          <a:pt x="171099" y="653543"/>
                        </a:cubicBezTo>
                        <a:cubicBezTo>
                          <a:pt x="179046" y="667568"/>
                          <a:pt x="180917" y="689540"/>
                          <a:pt x="190734" y="701227"/>
                        </a:cubicBezTo>
                        <a:cubicBezTo>
                          <a:pt x="200551" y="712914"/>
                          <a:pt x="219250" y="716654"/>
                          <a:pt x="230002" y="723666"/>
                        </a:cubicBezTo>
                        <a:cubicBezTo>
                          <a:pt x="240754" y="730678"/>
                          <a:pt x="248701" y="737690"/>
                          <a:pt x="255246" y="743300"/>
                        </a:cubicBezTo>
                        <a:cubicBezTo>
                          <a:pt x="261791" y="748910"/>
                          <a:pt x="262726" y="754987"/>
                          <a:pt x="269271" y="757325"/>
                        </a:cubicBezTo>
                        <a:cubicBezTo>
                          <a:pt x="275816" y="759663"/>
                          <a:pt x="287970" y="753585"/>
                          <a:pt x="294515" y="757325"/>
                        </a:cubicBezTo>
                        <a:cubicBezTo>
                          <a:pt x="301060" y="761065"/>
                          <a:pt x="301528" y="773219"/>
                          <a:pt x="308540" y="779764"/>
                        </a:cubicBezTo>
                        <a:cubicBezTo>
                          <a:pt x="315552" y="786309"/>
                          <a:pt x="326772" y="792853"/>
                          <a:pt x="336589" y="796593"/>
                        </a:cubicBezTo>
                        <a:cubicBezTo>
                          <a:pt x="346406" y="800333"/>
                          <a:pt x="359028" y="798931"/>
                          <a:pt x="367443" y="802203"/>
                        </a:cubicBezTo>
                        <a:cubicBezTo>
                          <a:pt x="375858" y="805475"/>
                          <a:pt x="376792" y="810618"/>
                          <a:pt x="387077" y="816228"/>
                        </a:cubicBezTo>
                        <a:cubicBezTo>
                          <a:pt x="397362" y="821838"/>
                          <a:pt x="413724" y="828382"/>
                          <a:pt x="429151" y="835862"/>
                        </a:cubicBezTo>
                        <a:cubicBezTo>
                          <a:pt x="444578" y="843342"/>
                          <a:pt x="460472" y="855029"/>
                          <a:pt x="479639" y="861106"/>
                        </a:cubicBezTo>
                        <a:cubicBezTo>
                          <a:pt x="498806" y="867183"/>
                          <a:pt x="522180" y="869521"/>
                          <a:pt x="544152" y="872326"/>
                        </a:cubicBezTo>
                        <a:cubicBezTo>
                          <a:pt x="566124" y="875131"/>
                          <a:pt x="595576" y="875131"/>
                          <a:pt x="611470" y="877936"/>
                        </a:cubicBezTo>
                        <a:cubicBezTo>
                          <a:pt x="627365" y="880741"/>
                          <a:pt x="626897" y="881675"/>
                          <a:pt x="639519" y="889155"/>
                        </a:cubicBezTo>
                        <a:cubicBezTo>
                          <a:pt x="652141" y="896635"/>
                          <a:pt x="674580" y="914399"/>
                          <a:pt x="687202" y="922814"/>
                        </a:cubicBezTo>
                        <a:cubicBezTo>
                          <a:pt x="699824" y="931229"/>
                          <a:pt x="707304" y="936372"/>
                          <a:pt x="715251" y="939644"/>
                        </a:cubicBezTo>
                        <a:cubicBezTo>
                          <a:pt x="723198" y="942917"/>
                          <a:pt x="729276" y="941982"/>
                          <a:pt x="734886" y="942449"/>
                        </a:cubicBezTo>
                        <a:cubicBezTo>
                          <a:pt x="740496" y="942916"/>
                          <a:pt x="742366" y="938709"/>
                          <a:pt x="748910" y="942449"/>
                        </a:cubicBezTo>
                        <a:cubicBezTo>
                          <a:pt x="755454" y="946189"/>
                          <a:pt x="766674" y="957876"/>
                          <a:pt x="774154" y="964888"/>
                        </a:cubicBezTo>
                        <a:cubicBezTo>
                          <a:pt x="781634" y="971900"/>
                          <a:pt x="787244" y="979847"/>
                          <a:pt x="793789" y="984522"/>
                        </a:cubicBezTo>
                        <a:cubicBezTo>
                          <a:pt x="800334" y="989197"/>
                          <a:pt x="813423" y="992937"/>
                          <a:pt x="813423" y="992937"/>
                        </a:cubicBezTo>
                        <a:cubicBezTo>
                          <a:pt x="817630" y="994807"/>
                          <a:pt x="818331" y="995274"/>
                          <a:pt x="819033" y="995742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1" name="Полилиния 140"/>
                  <p:cNvSpPr/>
                  <p:nvPr/>
                </p:nvSpPr>
                <p:spPr>
                  <a:xfrm>
                    <a:off x="6198847" y="5161031"/>
                    <a:ext cx="14024" cy="129025"/>
                  </a:xfrm>
                  <a:custGeom>
                    <a:avLst/>
                    <a:gdLst>
                      <a:gd name="connsiteX0" fmla="*/ 14024 w 14024"/>
                      <a:gd name="connsiteY0" fmla="*/ 0 h 129025"/>
                      <a:gd name="connsiteX1" fmla="*/ 0 w 14024"/>
                      <a:gd name="connsiteY1" fmla="*/ 129025 h 129025"/>
                      <a:gd name="connsiteX2" fmla="*/ 0 w 14024"/>
                      <a:gd name="connsiteY2" fmla="*/ 129025 h 129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4024" h="129025">
                        <a:moveTo>
                          <a:pt x="14024" y="0"/>
                        </a:moveTo>
                        <a:lnTo>
                          <a:pt x="0" y="129025"/>
                        </a:lnTo>
                        <a:lnTo>
                          <a:pt x="0" y="129025"/>
                        </a:lnTo>
                      </a:path>
                    </a:pathLst>
                  </a:custGeom>
                  <a:noFill/>
                  <a:ln w="762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2" name="Полилиния 141"/>
                  <p:cNvSpPr/>
                  <p:nvPr/>
                </p:nvSpPr>
                <p:spPr>
                  <a:xfrm>
                    <a:off x="6200415" y="5164766"/>
                    <a:ext cx="12749" cy="129025"/>
                  </a:xfrm>
                  <a:custGeom>
                    <a:avLst/>
                    <a:gdLst>
                      <a:gd name="connsiteX0" fmla="*/ 14024 w 14024"/>
                      <a:gd name="connsiteY0" fmla="*/ 0 h 129025"/>
                      <a:gd name="connsiteX1" fmla="*/ 0 w 14024"/>
                      <a:gd name="connsiteY1" fmla="*/ 129025 h 129025"/>
                      <a:gd name="connsiteX2" fmla="*/ 0 w 14024"/>
                      <a:gd name="connsiteY2" fmla="*/ 129025 h 1290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4024" h="129025">
                        <a:moveTo>
                          <a:pt x="14024" y="0"/>
                        </a:moveTo>
                        <a:lnTo>
                          <a:pt x="0" y="129025"/>
                        </a:lnTo>
                        <a:lnTo>
                          <a:pt x="0" y="129025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3" name="Полилиния 142"/>
                  <p:cNvSpPr/>
                  <p:nvPr/>
                </p:nvSpPr>
                <p:spPr>
                  <a:xfrm>
                    <a:off x="5299638" y="5116133"/>
                    <a:ext cx="1150944" cy="416600"/>
                  </a:xfrm>
                  <a:custGeom>
                    <a:avLst/>
                    <a:gdLst>
                      <a:gd name="connsiteX0" fmla="*/ 1150944 w 1150944"/>
                      <a:gd name="connsiteY0" fmla="*/ 0 h 416600"/>
                      <a:gd name="connsiteX1" fmla="*/ 1108578 w 1150944"/>
                      <a:gd name="connsiteY1" fmla="*/ 31775 h 416600"/>
                      <a:gd name="connsiteX2" fmla="*/ 1059151 w 1150944"/>
                      <a:gd name="connsiteY2" fmla="*/ 70610 h 416600"/>
                      <a:gd name="connsiteX3" fmla="*/ 1002663 w 1150944"/>
                      <a:gd name="connsiteY3" fmla="*/ 102385 h 416600"/>
                      <a:gd name="connsiteX4" fmla="*/ 956766 w 1150944"/>
                      <a:gd name="connsiteY4" fmla="*/ 141220 h 416600"/>
                      <a:gd name="connsiteX5" fmla="*/ 886156 w 1150944"/>
                      <a:gd name="connsiteY5" fmla="*/ 180056 h 416600"/>
                      <a:gd name="connsiteX6" fmla="*/ 833199 w 1150944"/>
                      <a:gd name="connsiteY6" fmla="*/ 187117 h 416600"/>
                      <a:gd name="connsiteX7" fmla="*/ 794363 w 1150944"/>
                      <a:gd name="connsiteY7" fmla="*/ 172995 h 416600"/>
                      <a:gd name="connsiteX8" fmla="*/ 741406 w 1150944"/>
                      <a:gd name="connsiteY8" fmla="*/ 176525 h 416600"/>
                      <a:gd name="connsiteX9" fmla="*/ 684918 w 1150944"/>
                      <a:gd name="connsiteY9" fmla="*/ 151812 h 416600"/>
                      <a:gd name="connsiteX10" fmla="*/ 635491 w 1150944"/>
                      <a:gd name="connsiteY10" fmla="*/ 144751 h 416600"/>
                      <a:gd name="connsiteX11" fmla="*/ 547228 w 1150944"/>
                      <a:gd name="connsiteY11" fmla="*/ 155342 h 416600"/>
                      <a:gd name="connsiteX12" fmla="*/ 480149 w 1150944"/>
                      <a:gd name="connsiteY12" fmla="*/ 180056 h 416600"/>
                      <a:gd name="connsiteX13" fmla="*/ 437783 w 1150944"/>
                      <a:gd name="connsiteY13" fmla="*/ 204769 h 416600"/>
                      <a:gd name="connsiteX14" fmla="*/ 388356 w 1150944"/>
                      <a:gd name="connsiteY14" fmla="*/ 229483 h 416600"/>
                      <a:gd name="connsiteX15" fmla="*/ 324807 w 1150944"/>
                      <a:gd name="connsiteY15" fmla="*/ 264788 h 416600"/>
                      <a:gd name="connsiteX16" fmla="*/ 282441 w 1150944"/>
                      <a:gd name="connsiteY16" fmla="*/ 303623 h 416600"/>
                      <a:gd name="connsiteX17" fmla="*/ 236544 w 1150944"/>
                      <a:gd name="connsiteY17" fmla="*/ 338928 h 416600"/>
                      <a:gd name="connsiteX18" fmla="*/ 187117 w 1150944"/>
                      <a:gd name="connsiteY18" fmla="*/ 335398 h 416600"/>
                      <a:gd name="connsiteX19" fmla="*/ 137690 w 1150944"/>
                      <a:gd name="connsiteY19" fmla="*/ 331867 h 416600"/>
                      <a:gd name="connsiteX20" fmla="*/ 105915 w 1150944"/>
                      <a:gd name="connsiteY20" fmla="*/ 353050 h 416600"/>
                      <a:gd name="connsiteX21" fmla="*/ 52958 w 1150944"/>
                      <a:gd name="connsiteY21" fmla="*/ 384825 h 416600"/>
                      <a:gd name="connsiteX22" fmla="*/ 28244 w 1150944"/>
                      <a:gd name="connsiteY22" fmla="*/ 398947 h 416600"/>
                      <a:gd name="connsiteX23" fmla="*/ 0 w 1150944"/>
                      <a:gd name="connsiteY23" fmla="*/ 416600 h 41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150944" h="416600">
                        <a:moveTo>
                          <a:pt x="1150944" y="0"/>
                        </a:moveTo>
                        <a:cubicBezTo>
                          <a:pt x="1137410" y="10003"/>
                          <a:pt x="1123877" y="20007"/>
                          <a:pt x="1108578" y="31775"/>
                        </a:cubicBezTo>
                        <a:cubicBezTo>
                          <a:pt x="1093279" y="43543"/>
                          <a:pt x="1076803" y="58842"/>
                          <a:pt x="1059151" y="70610"/>
                        </a:cubicBezTo>
                        <a:cubicBezTo>
                          <a:pt x="1041499" y="82378"/>
                          <a:pt x="1019727" y="90617"/>
                          <a:pt x="1002663" y="102385"/>
                        </a:cubicBezTo>
                        <a:cubicBezTo>
                          <a:pt x="985599" y="114153"/>
                          <a:pt x="976184" y="128275"/>
                          <a:pt x="956766" y="141220"/>
                        </a:cubicBezTo>
                        <a:cubicBezTo>
                          <a:pt x="937348" y="154165"/>
                          <a:pt x="906751" y="172406"/>
                          <a:pt x="886156" y="180056"/>
                        </a:cubicBezTo>
                        <a:cubicBezTo>
                          <a:pt x="865561" y="187706"/>
                          <a:pt x="848498" y="188294"/>
                          <a:pt x="833199" y="187117"/>
                        </a:cubicBezTo>
                        <a:cubicBezTo>
                          <a:pt x="817900" y="185940"/>
                          <a:pt x="809662" y="174760"/>
                          <a:pt x="794363" y="172995"/>
                        </a:cubicBezTo>
                        <a:cubicBezTo>
                          <a:pt x="779064" y="171230"/>
                          <a:pt x="759647" y="180056"/>
                          <a:pt x="741406" y="176525"/>
                        </a:cubicBezTo>
                        <a:cubicBezTo>
                          <a:pt x="723165" y="172994"/>
                          <a:pt x="702570" y="157108"/>
                          <a:pt x="684918" y="151812"/>
                        </a:cubicBezTo>
                        <a:cubicBezTo>
                          <a:pt x="667265" y="146516"/>
                          <a:pt x="658439" y="144163"/>
                          <a:pt x="635491" y="144751"/>
                        </a:cubicBezTo>
                        <a:cubicBezTo>
                          <a:pt x="612543" y="145339"/>
                          <a:pt x="573118" y="149458"/>
                          <a:pt x="547228" y="155342"/>
                        </a:cubicBezTo>
                        <a:cubicBezTo>
                          <a:pt x="521338" y="161226"/>
                          <a:pt x="498390" y="171818"/>
                          <a:pt x="480149" y="180056"/>
                        </a:cubicBezTo>
                        <a:cubicBezTo>
                          <a:pt x="461908" y="188294"/>
                          <a:pt x="453082" y="196531"/>
                          <a:pt x="437783" y="204769"/>
                        </a:cubicBezTo>
                        <a:cubicBezTo>
                          <a:pt x="422484" y="213007"/>
                          <a:pt x="407185" y="219480"/>
                          <a:pt x="388356" y="229483"/>
                        </a:cubicBezTo>
                        <a:cubicBezTo>
                          <a:pt x="369527" y="239486"/>
                          <a:pt x="342459" y="252431"/>
                          <a:pt x="324807" y="264788"/>
                        </a:cubicBezTo>
                        <a:cubicBezTo>
                          <a:pt x="307155" y="277145"/>
                          <a:pt x="297151" y="291266"/>
                          <a:pt x="282441" y="303623"/>
                        </a:cubicBezTo>
                        <a:cubicBezTo>
                          <a:pt x="267730" y="315980"/>
                          <a:pt x="252431" y="333632"/>
                          <a:pt x="236544" y="338928"/>
                        </a:cubicBezTo>
                        <a:cubicBezTo>
                          <a:pt x="220657" y="344224"/>
                          <a:pt x="187117" y="335398"/>
                          <a:pt x="187117" y="335398"/>
                        </a:cubicBezTo>
                        <a:cubicBezTo>
                          <a:pt x="170641" y="334221"/>
                          <a:pt x="151224" y="328925"/>
                          <a:pt x="137690" y="331867"/>
                        </a:cubicBezTo>
                        <a:cubicBezTo>
                          <a:pt x="124156" y="334809"/>
                          <a:pt x="120037" y="344224"/>
                          <a:pt x="105915" y="353050"/>
                        </a:cubicBezTo>
                        <a:cubicBezTo>
                          <a:pt x="91793" y="361876"/>
                          <a:pt x="65903" y="377176"/>
                          <a:pt x="52958" y="384825"/>
                        </a:cubicBezTo>
                        <a:cubicBezTo>
                          <a:pt x="40013" y="392474"/>
                          <a:pt x="37070" y="393651"/>
                          <a:pt x="28244" y="398947"/>
                        </a:cubicBezTo>
                        <a:cubicBezTo>
                          <a:pt x="19418" y="404243"/>
                          <a:pt x="9709" y="410421"/>
                          <a:pt x="0" y="416600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4" name="Полилиния 143"/>
                  <p:cNvSpPr/>
                  <p:nvPr/>
                </p:nvSpPr>
                <p:spPr>
                  <a:xfrm>
                    <a:off x="6226896" y="5166641"/>
                    <a:ext cx="8415" cy="72927"/>
                  </a:xfrm>
                  <a:custGeom>
                    <a:avLst/>
                    <a:gdLst>
                      <a:gd name="connsiteX0" fmla="*/ 8415 w 8415"/>
                      <a:gd name="connsiteY0" fmla="*/ 0 h 72927"/>
                      <a:gd name="connsiteX1" fmla="*/ 0 w 8415"/>
                      <a:gd name="connsiteY1" fmla="*/ 72927 h 7292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8415" h="72927">
                        <a:moveTo>
                          <a:pt x="8415" y="0"/>
                        </a:moveTo>
                        <a:lnTo>
                          <a:pt x="0" y="72927"/>
                        </a:ln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5" name="Полилиния 144"/>
                  <p:cNvSpPr/>
                  <p:nvPr/>
                </p:nvSpPr>
                <p:spPr>
                  <a:xfrm>
                    <a:off x="6187627" y="5155421"/>
                    <a:ext cx="5610" cy="103781"/>
                  </a:xfrm>
                  <a:custGeom>
                    <a:avLst/>
                    <a:gdLst>
                      <a:gd name="connsiteX0" fmla="*/ 5610 w 5610"/>
                      <a:gd name="connsiteY0" fmla="*/ 0 h 103781"/>
                      <a:gd name="connsiteX1" fmla="*/ 0 w 5610"/>
                      <a:gd name="connsiteY1" fmla="*/ 103781 h 1037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610" h="103781">
                        <a:moveTo>
                          <a:pt x="5610" y="0"/>
                        </a:moveTo>
                        <a:lnTo>
                          <a:pt x="0" y="103781"/>
                        </a:ln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6" name="Полилиния 145"/>
                  <p:cNvSpPr/>
                  <p:nvPr/>
                </p:nvSpPr>
                <p:spPr>
                  <a:xfrm>
                    <a:off x="6210066" y="4597244"/>
                    <a:ext cx="108888" cy="572201"/>
                  </a:xfrm>
                  <a:custGeom>
                    <a:avLst/>
                    <a:gdLst>
                      <a:gd name="connsiteX0" fmla="*/ 98172 w 108888"/>
                      <a:gd name="connsiteY0" fmla="*/ 0 h 572201"/>
                      <a:gd name="connsiteX1" fmla="*/ 95367 w 108888"/>
                      <a:gd name="connsiteY1" fmla="*/ 84147 h 572201"/>
                      <a:gd name="connsiteX2" fmla="*/ 100977 w 108888"/>
                      <a:gd name="connsiteY2" fmla="*/ 123416 h 572201"/>
                      <a:gd name="connsiteX3" fmla="*/ 106587 w 108888"/>
                      <a:gd name="connsiteY3" fmla="*/ 168294 h 572201"/>
                      <a:gd name="connsiteX4" fmla="*/ 106587 w 108888"/>
                      <a:gd name="connsiteY4" fmla="*/ 193539 h 572201"/>
                      <a:gd name="connsiteX5" fmla="*/ 78537 w 108888"/>
                      <a:gd name="connsiteY5" fmla="*/ 227198 h 572201"/>
                      <a:gd name="connsiteX6" fmla="*/ 67318 w 108888"/>
                      <a:gd name="connsiteY6" fmla="*/ 241222 h 572201"/>
                      <a:gd name="connsiteX7" fmla="*/ 30854 w 108888"/>
                      <a:gd name="connsiteY7" fmla="*/ 266466 h 572201"/>
                      <a:gd name="connsiteX8" fmla="*/ 14025 w 108888"/>
                      <a:gd name="connsiteY8" fmla="*/ 274881 h 572201"/>
                      <a:gd name="connsiteX9" fmla="*/ 33659 w 108888"/>
                      <a:gd name="connsiteY9" fmla="*/ 297320 h 572201"/>
                      <a:gd name="connsiteX10" fmla="*/ 56098 w 108888"/>
                      <a:gd name="connsiteY10" fmla="*/ 325369 h 572201"/>
                      <a:gd name="connsiteX11" fmla="*/ 78537 w 108888"/>
                      <a:gd name="connsiteY11" fmla="*/ 350613 h 572201"/>
                      <a:gd name="connsiteX12" fmla="*/ 89757 w 108888"/>
                      <a:gd name="connsiteY12" fmla="*/ 375858 h 572201"/>
                      <a:gd name="connsiteX13" fmla="*/ 89757 w 108888"/>
                      <a:gd name="connsiteY13" fmla="*/ 406712 h 572201"/>
                      <a:gd name="connsiteX14" fmla="*/ 89757 w 108888"/>
                      <a:gd name="connsiteY14" fmla="*/ 440371 h 572201"/>
                      <a:gd name="connsiteX15" fmla="*/ 84147 w 108888"/>
                      <a:gd name="connsiteY15" fmla="*/ 476834 h 572201"/>
                      <a:gd name="connsiteX16" fmla="*/ 78537 w 108888"/>
                      <a:gd name="connsiteY16" fmla="*/ 499274 h 572201"/>
                      <a:gd name="connsiteX17" fmla="*/ 50488 w 108888"/>
                      <a:gd name="connsiteY17" fmla="*/ 532933 h 572201"/>
                      <a:gd name="connsiteX18" fmla="*/ 44879 w 108888"/>
                      <a:gd name="connsiteY18" fmla="*/ 546957 h 572201"/>
                      <a:gd name="connsiteX19" fmla="*/ 8415 w 108888"/>
                      <a:gd name="connsiteY19" fmla="*/ 552567 h 572201"/>
                      <a:gd name="connsiteX20" fmla="*/ 0 w 108888"/>
                      <a:gd name="connsiteY20" fmla="*/ 572201 h 5722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108888" h="572201">
                        <a:moveTo>
                          <a:pt x="98172" y="0"/>
                        </a:moveTo>
                        <a:cubicBezTo>
                          <a:pt x="96535" y="31789"/>
                          <a:pt x="94899" y="63578"/>
                          <a:pt x="95367" y="84147"/>
                        </a:cubicBezTo>
                        <a:cubicBezTo>
                          <a:pt x="95835" y="104716"/>
                          <a:pt x="99107" y="109392"/>
                          <a:pt x="100977" y="123416"/>
                        </a:cubicBezTo>
                        <a:cubicBezTo>
                          <a:pt x="102847" y="137440"/>
                          <a:pt x="105652" y="156607"/>
                          <a:pt x="106587" y="168294"/>
                        </a:cubicBezTo>
                        <a:cubicBezTo>
                          <a:pt x="107522" y="179981"/>
                          <a:pt x="111262" y="183722"/>
                          <a:pt x="106587" y="193539"/>
                        </a:cubicBezTo>
                        <a:cubicBezTo>
                          <a:pt x="101912" y="203356"/>
                          <a:pt x="85082" y="219251"/>
                          <a:pt x="78537" y="227198"/>
                        </a:cubicBezTo>
                        <a:cubicBezTo>
                          <a:pt x="71992" y="235145"/>
                          <a:pt x="75265" y="234677"/>
                          <a:pt x="67318" y="241222"/>
                        </a:cubicBezTo>
                        <a:cubicBezTo>
                          <a:pt x="59371" y="247767"/>
                          <a:pt x="39736" y="260856"/>
                          <a:pt x="30854" y="266466"/>
                        </a:cubicBezTo>
                        <a:cubicBezTo>
                          <a:pt x="21972" y="272076"/>
                          <a:pt x="13557" y="269739"/>
                          <a:pt x="14025" y="274881"/>
                        </a:cubicBezTo>
                        <a:cubicBezTo>
                          <a:pt x="14492" y="280023"/>
                          <a:pt x="26647" y="288905"/>
                          <a:pt x="33659" y="297320"/>
                        </a:cubicBezTo>
                        <a:cubicBezTo>
                          <a:pt x="40671" y="305735"/>
                          <a:pt x="48618" y="316487"/>
                          <a:pt x="56098" y="325369"/>
                        </a:cubicBezTo>
                        <a:cubicBezTo>
                          <a:pt x="63578" y="334251"/>
                          <a:pt x="72927" y="342198"/>
                          <a:pt x="78537" y="350613"/>
                        </a:cubicBezTo>
                        <a:cubicBezTo>
                          <a:pt x="84147" y="359028"/>
                          <a:pt x="87887" y="366508"/>
                          <a:pt x="89757" y="375858"/>
                        </a:cubicBezTo>
                        <a:cubicBezTo>
                          <a:pt x="91627" y="385208"/>
                          <a:pt x="89757" y="406712"/>
                          <a:pt x="89757" y="406712"/>
                        </a:cubicBezTo>
                        <a:cubicBezTo>
                          <a:pt x="89757" y="417464"/>
                          <a:pt x="90692" y="428684"/>
                          <a:pt x="89757" y="440371"/>
                        </a:cubicBezTo>
                        <a:cubicBezTo>
                          <a:pt x="88822" y="452058"/>
                          <a:pt x="86017" y="467017"/>
                          <a:pt x="84147" y="476834"/>
                        </a:cubicBezTo>
                        <a:cubicBezTo>
                          <a:pt x="82277" y="486651"/>
                          <a:pt x="84147" y="489924"/>
                          <a:pt x="78537" y="499274"/>
                        </a:cubicBezTo>
                        <a:cubicBezTo>
                          <a:pt x="72927" y="508624"/>
                          <a:pt x="56098" y="524986"/>
                          <a:pt x="50488" y="532933"/>
                        </a:cubicBezTo>
                        <a:cubicBezTo>
                          <a:pt x="44878" y="540880"/>
                          <a:pt x="51891" y="543685"/>
                          <a:pt x="44879" y="546957"/>
                        </a:cubicBezTo>
                        <a:cubicBezTo>
                          <a:pt x="37867" y="550229"/>
                          <a:pt x="15895" y="548360"/>
                          <a:pt x="8415" y="552567"/>
                        </a:cubicBezTo>
                        <a:cubicBezTo>
                          <a:pt x="935" y="556774"/>
                          <a:pt x="467" y="564487"/>
                          <a:pt x="0" y="572201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7" name="Полилиния 146"/>
                  <p:cNvSpPr/>
                  <p:nvPr/>
                </p:nvSpPr>
                <p:spPr>
                  <a:xfrm>
                    <a:off x="6210066" y="4608464"/>
                    <a:ext cx="107149" cy="572201"/>
                  </a:xfrm>
                  <a:custGeom>
                    <a:avLst/>
                    <a:gdLst>
                      <a:gd name="connsiteX0" fmla="*/ 95367 w 107149"/>
                      <a:gd name="connsiteY0" fmla="*/ 0 h 572201"/>
                      <a:gd name="connsiteX1" fmla="*/ 98172 w 107149"/>
                      <a:gd name="connsiteY1" fmla="*/ 103781 h 572201"/>
                      <a:gd name="connsiteX2" fmla="*/ 103782 w 107149"/>
                      <a:gd name="connsiteY2" fmla="*/ 143050 h 572201"/>
                      <a:gd name="connsiteX3" fmla="*/ 106587 w 107149"/>
                      <a:gd name="connsiteY3" fmla="*/ 171099 h 572201"/>
                      <a:gd name="connsiteX4" fmla="*/ 92562 w 107149"/>
                      <a:gd name="connsiteY4" fmla="*/ 193538 h 572201"/>
                      <a:gd name="connsiteX5" fmla="*/ 72928 w 107149"/>
                      <a:gd name="connsiteY5" fmla="*/ 224392 h 572201"/>
                      <a:gd name="connsiteX6" fmla="*/ 33659 w 107149"/>
                      <a:gd name="connsiteY6" fmla="*/ 249637 h 572201"/>
                      <a:gd name="connsiteX7" fmla="*/ 16830 w 107149"/>
                      <a:gd name="connsiteY7" fmla="*/ 263661 h 572201"/>
                      <a:gd name="connsiteX8" fmla="*/ 36464 w 107149"/>
                      <a:gd name="connsiteY8" fmla="*/ 291710 h 572201"/>
                      <a:gd name="connsiteX9" fmla="*/ 67318 w 107149"/>
                      <a:gd name="connsiteY9" fmla="*/ 333784 h 572201"/>
                      <a:gd name="connsiteX10" fmla="*/ 86952 w 107149"/>
                      <a:gd name="connsiteY10" fmla="*/ 387077 h 572201"/>
                      <a:gd name="connsiteX11" fmla="*/ 92562 w 107149"/>
                      <a:gd name="connsiteY11" fmla="*/ 437565 h 572201"/>
                      <a:gd name="connsiteX12" fmla="*/ 84147 w 107149"/>
                      <a:gd name="connsiteY12" fmla="*/ 485249 h 572201"/>
                      <a:gd name="connsiteX13" fmla="*/ 56098 w 107149"/>
                      <a:gd name="connsiteY13" fmla="*/ 513298 h 572201"/>
                      <a:gd name="connsiteX14" fmla="*/ 33659 w 107149"/>
                      <a:gd name="connsiteY14" fmla="*/ 527323 h 572201"/>
                      <a:gd name="connsiteX15" fmla="*/ 11220 w 107149"/>
                      <a:gd name="connsiteY15" fmla="*/ 549762 h 572201"/>
                      <a:gd name="connsiteX16" fmla="*/ 2805 w 107149"/>
                      <a:gd name="connsiteY16" fmla="*/ 566591 h 572201"/>
                      <a:gd name="connsiteX17" fmla="*/ 0 w 107149"/>
                      <a:gd name="connsiteY17" fmla="*/ 572201 h 5722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7149" h="572201">
                        <a:moveTo>
                          <a:pt x="95367" y="0"/>
                        </a:moveTo>
                        <a:cubicBezTo>
                          <a:pt x="96068" y="39969"/>
                          <a:pt x="96770" y="79939"/>
                          <a:pt x="98172" y="103781"/>
                        </a:cubicBezTo>
                        <a:cubicBezTo>
                          <a:pt x="99574" y="127623"/>
                          <a:pt x="102380" y="131830"/>
                          <a:pt x="103782" y="143050"/>
                        </a:cubicBezTo>
                        <a:cubicBezTo>
                          <a:pt x="105185" y="154270"/>
                          <a:pt x="108457" y="162684"/>
                          <a:pt x="106587" y="171099"/>
                        </a:cubicBezTo>
                        <a:cubicBezTo>
                          <a:pt x="104717" y="179514"/>
                          <a:pt x="98172" y="184656"/>
                          <a:pt x="92562" y="193538"/>
                        </a:cubicBezTo>
                        <a:cubicBezTo>
                          <a:pt x="86952" y="202420"/>
                          <a:pt x="82745" y="215042"/>
                          <a:pt x="72928" y="224392"/>
                        </a:cubicBezTo>
                        <a:cubicBezTo>
                          <a:pt x="63111" y="233742"/>
                          <a:pt x="43009" y="243092"/>
                          <a:pt x="33659" y="249637"/>
                        </a:cubicBezTo>
                        <a:cubicBezTo>
                          <a:pt x="24309" y="256182"/>
                          <a:pt x="16363" y="256649"/>
                          <a:pt x="16830" y="263661"/>
                        </a:cubicBezTo>
                        <a:cubicBezTo>
                          <a:pt x="17297" y="270673"/>
                          <a:pt x="28049" y="280023"/>
                          <a:pt x="36464" y="291710"/>
                        </a:cubicBezTo>
                        <a:cubicBezTo>
                          <a:pt x="44879" y="303397"/>
                          <a:pt x="58903" y="317889"/>
                          <a:pt x="67318" y="333784"/>
                        </a:cubicBezTo>
                        <a:cubicBezTo>
                          <a:pt x="75733" y="349679"/>
                          <a:pt x="82745" y="369780"/>
                          <a:pt x="86952" y="387077"/>
                        </a:cubicBezTo>
                        <a:cubicBezTo>
                          <a:pt x="91159" y="404374"/>
                          <a:pt x="93029" y="421203"/>
                          <a:pt x="92562" y="437565"/>
                        </a:cubicBezTo>
                        <a:cubicBezTo>
                          <a:pt x="92094" y="453927"/>
                          <a:pt x="90224" y="472627"/>
                          <a:pt x="84147" y="485249"/>
                        </a:cubicBezTo>
                        <a:cubicBezTo>
                          <a:pt x="78070" y="497871"/>
                          <a:pt x="64512" y="506286"/>
                          <a:pt x="56098" y="513298"/>
                        </a:cubicBezTo>
                        <a:cubicBezTo>
                          <a:pt x="47684" y="520310"/>
                          <a:pt x="41139" y="521246"/>
                          <a:pt x="33659" y="527323"/>
                        </a:cubicBezTo>
                        <a:cubicBezTo>
                          <a:pt x="26179" y="533400"/>
                          <a:pt x="16362" y="543217"/>
                          <a:pt x="11220" y="549762"/>
                        </a:cubicBezTo>
                        <a:cubicBezTo>
                          <a:pt x="6078" y="556307"/>
                          <a:pt x="2805" y="566591"/>
                          <a:pt x="2805" y="566591"/>
                        </a:cubicBezTo>
                        <a:lnTo>
                          <a:pt x="0" y="572201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8" name="Блок-схема: узел 147"/>
                  <p:cNvSpPr/>
                  <p:nvPr/>
                </p:nvSpPr>
                <p:spPr>
                  <a:xfrm>
                    <a:off x="6287648" y="454611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49" name="Блок-схема: узел 148"/>
                  <p:cNvSpPr/>
                  <p:nvPr/>
                </p:nvSpPr>
                <p:spPr>
                  <a:xfrm>
                    <a:off x="1948330" y="4447459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50" name="Блок-схема: узел 149"/>
                  <p:cNvSpPr/>
                  <p:nvPr/>
                </p:nvSpPr>
                <p:spPr>
                  <a:xfrm>
                    <a:off x="8245559" y="363378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51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2190524" y="2320579"/>
                    <a:ext cx="354484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Мартұқ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2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13778" y="2145476"/>
                    <a:ext cx="38993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аскала</a:t>
                    </a:r>
                  </a:p>
                </p:txBody>
              </p:sp>
              <p:sp>
                <p:nvSpPr>
                  <p:cNvPr id="153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956775" y="3572741"/>
                    <a:ext cx="396284" cy="150798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тырау</a:t>
                    </a:r>
                  </a:p>
                </p:txBody>
              </p:sp>
              <p:sp>
                <p:nvSpPr>
                  <p:cNvPr id="154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354441" y="3288657"/>
                    <a:ext cx="360000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Доссор</a:t>
                    </a:r>
                  </a:p>
                </p:txBody>
              </p:sp>
              <p:sp>
                <p:nvSpPr>
                  <p:cNvPr id="155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354442" y="4092174"/>
                    <a:ext cx="424473" cy="225838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Бейнеу</a:t>
                    </a:r>
                  </a:p>
                </p:txBody>
              </p:sp>
              <p:sp>
                <p:nvSpPr>
                  <p:cNvPr id="156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61602" y="4438151"/>
                    <a:ext cx="30297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қтау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011959" y="4341509"/>
                    <a:ext cx="322851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Шетпе</a:t>
                    </a:r>
                  </a:p>
                </p:txBody>
              </p:sp>
              <p:sp>
                <p:nvSpPr>
                  <p:cNvPr id="158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42925" y="4780694"/>
                    <a:ext cx="401914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Жетібай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59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198409" y="4838816"/>
                    <a:ext cx="512984" cy="164395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Жаңаөзе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795834" y="4542308"/>
                    <a:ext cx="38993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қжигит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1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3779860" y="4747284"/>
                    <a:ext cx="523636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ызылорда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2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331775" y="5506711"/>
                    <a:ext cx="492022" cy="132255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ШЫМКЕНТ</a:t>
                    </a:r>
                  </a:p>
                </p:txBody>
              </p:sp>
              <p:sp>
                <p:nvSpPr>
                  <p:cNvPr id="163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439178" y="5160866"/>
                    <a:ext cx="28397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араз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4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057900" y="5359155"/>
                    <a:ext cx="312373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Мерке</a:t>
                    </a:r>
                  </a:p>
                </p:txBody>
              </p:sp>
              <p:sp>
                <p:nvSpPr>
                  <p:cNvPr id="165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152368" y="5058364"/>
                    <a:ext cx="396000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ЛМАТЫ</a:t>
                    </a:r>
                  </a:p>
                </p:txBody>
              </p:sp>
              <p:sp>
                <p:nvSpPr>
                  <p:cNvPr id="166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684396" y="4534409"/>
                    <a:ext cx="55333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Бұрылбайтал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504835" y="3854323"/>
                    <a:ext cx="396449" cy="87878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Балқаш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8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729263" y="4403911"/>
                    <a:ext cx="33506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орғас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69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710020" y="4352258"/>
                    <a:ext cx="556364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алдықорга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523197" y="4838814"/>
                    <a:ext cx="350249" cy="98666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ұрты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1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450068" y="3872526"/>
                    <a:ext cx="362628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Үшарал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2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8152361" y="4194038"/>
                    <a:ext cx="346658" cy="92930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Достық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3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270977" y="3561754"/>
                    <a:ext cx="451007" cy="148078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аскескен</a:t>
                    </a:r>
                  </a:p>
                </p:txBody>
              </p:sp>
              <p:sp>
                <p:nvSpPr>
                  <p:cNvPr id="174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8343889" y="3613666"/>
                    <a:ext cx="350539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Бақты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5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8580863" y="3062699"/>
                    <a:ext cx="619458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Майқапшағай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6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901659" y="2761553"/>
                    <a:ext cx="403464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албатау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7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082674" y="2543217"/>
                    <a:ext cx="31940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Семей</a:t>
                    </a:r>
                  </a:p>
                </p:txBody>
              </p:sp>
              <p:sp>
                <p:nvSpPr>
                  <p:cNvPr id="178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314529" y="1879049"/>
                    <a:ext cx="404682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Щучинск</a:t>
                    </a:r>
                  </a:p>
                </p:txBody>
              </p:sp>
              <p:sp>
                <p:nvSpPr>
                  <p:cNvPr id="179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4635870" y="2010536"/>
                    <a:ext cx="426832" cy="140641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Зеренді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107198" y="1253968"/>
                    <a:ext cx="65454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Петропавловл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81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3069982" y="2050610"/>
                    <a:ext cx="475388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Денисовка</a:t>
                    </a:r>
                  </a:p>
                </p:txBody>
              </p:sp>
              <p:sp>
                <p:nvSpPr>
                  <p:cNvPr id="182" name="Полилиния 181"/>
                  <p:cNvSpPr/>
                  <p:nvPr/>
                </p:nvSpPr>
                <p:spPr>
                  <a:xfrm>
                    <a:off x="1298157" y="4485700"/>
                    <a:ext cx="183615" cy="84463"/>
                  </a:xfrm>
                  <a:custGeom>
                    <a:avLst/>
                    <a:gdLst>
                      <a:gd name="connsiteX0" fmla="*/ 0 w 183615"/>
                      <a:gd name="connsiteY0" fmla="*/ 84463 h 84463"/>
                      <a:gd name="connsiteX1" fmla="*/ 183615 w 183615"/>
                      <a:gd name="connsiteY1" fmla="*/ 0 h 84463"/>
                      <a:gd name="connsiteX2" fmla="*/ 183615 w 183615"/>
                      <a:gd name="connsiteY2" fmla="*/ 0 h 84463"/>
                      <a:gd name="connsiteX3" fmla="*/ 183615 w 183615"/>
                      <a:gd name="connsiteY3" fmla="*/ 0 h 844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3615" h="84463">
                        <a:moveTo>
                          <a:pt x="0" y="84463"/>
                        </a:moveTo>
                        <a:lnTo>
                          <a:pt x="183615" y="0"/>
                        </a:lnTo>
                        <a:lnTo>
                          <a:pt x="183615" y="0"/>
                        </a:lnTo>
                        <a:lnTo>
                          <a:pt x="183615" y="0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83" name="Полилиния 182"/>
                  <p:cNvSpPr/>
                  <p:nvPr/>
                </p:nvSpPr>
                <p:spPr>
                  <a:xfrm>
                    <a:off x="5986087" y="3008342"/>
                    <a:ext cx="462741" cy="911001"/>
                  </a:xfrm>
                  <a:custGeom>
                    <a:avLst/>
                    <a:gdLst>
                      <a:gd name="connsiteX0" fmla="*/ 146 w 459045"/>
                      <a:gd name="connsiteY0" fmla="*/ 0 h 826020"/>
                      <a:gd name="connsiteX1" fmla="*/ 3545 w 459045"/>
                      <a:gd name="connsiteY1" fmla="*/ 54388 h 826020"/>
                      <a:gd name="connsiteX2" fmla="*/ 23940 w 459045"/>
                      <a:gd name="connsiteY2" fmla="*/ 91780 h 826020"/>
                      <a:gd name="connsiteX3" fmla="*/ 54534 w 459045"/>
                      <a:gd name="connsiteY3" fmla="*/ 132571 h 826020"/>
                      <a:gd name="connsiteX4" fmla="*/ 68131 w 459045"/>
                      <a:gd name="connsiteY4" fmla="*/ 146168 h 826020"/>
                      <a:gd name="connsiteX5" fmla="*/ 78328 w 459045"/>
                      <a:gd name="connsiteY5" fmla="*/ 176762 h 826020"/>
                      <a:gd name="connsiteX6" fmla="*/ 88526 w 459045"/>
                      <a:gd name="connsiteY6" fmla="*/ 214154 h 826020"/>
                      <a:gd name="connsiteX7" fmla="*/ 81728 w 459045"/>
                      <a:gd name="connsiteY7" fmla="*/ 231150 h 826020"/>
                      <a:gd name="connsiteX8" fmla="*/ 102123 w 459045"/>
                      <a:gd name="connsiteY8" fmla="*/ 265142 h 826020"/>
                      <a:gd name="connsiteX9" fmla="*/ 102123 w 459045"/>
                      <a:gd name="connsiteY9" fmla="*/ 305933 h 826020"/>
                      <a:gd name="connsiteX10" fmla="*/ 115720 w 459045"/>
                      <a:gd name="connsiteY10" fmla="*/ 339926 h 826020"/>
                      <a:gd name="connsiteX11" fmla="*/ 132717 w 459045"/>
                      <a:gd name="connsiteY11" fmla="*/ 356922 h 826020"/>
                      <a:gd name="connsiteX12" fmla="*/ 146314 w 459045"/>
                      <a:gd name="connsiteY12" fmla="*/ 390915 h 826020"/>
                      <a:gd name="connsiteX13" fmla="*/ 139515 w 459045"/>
                      <a:gd name="connsiteY13" fmla="*/ 418109 h 826020"/>
                      <a:gd name="connsiteX14" fmla="*/ 156511 w 459045"/>
                      <a:gd name="connsiteY14" fmla="*/ 441904 h 826020"/>
                      <a:gd name="connsiteX15" fmla="*/ 183705 w 459045"/>
                      <a:gd name="connsiteY15" fmla="*/ 479296 h 826020"/>
                      <a:gd name="connsiteX16" fmla="*/ 207500 w 459045"/>
                      <a:gd name="connsiteY16" fmla="*/ 499691 h 826020"/>
                      <a:gd name="connsiteX17" fmla="*/ 224496 w 459045"/>
                      <a:gd name="connsiteY17" fmla="*/ 537083 h 826020"/>
                      <a:gd name="connsiteX18" fmla="*/ 251690 w 459045"/>
                      <a:gd name="connsiteY18" fmla="*/ 577874 h 826020"/>
                      <a:gd name="connsiteX19" fmla="*/ 309478 w 459045"/>
                      <a:gd name="connsiteY19" fmla="*/ 605068 h 826020"/>
                      <a:gd name="connsiteX20" fmla="*/ 323075 w 459045"/>
                      <a:gd name="connsiteY20" fmla="*/ 635661 h 826020"/>
                      <a:gd name="connsiteX21" fmla="*/ 370664 w 459045"/>
                      <a:gd name="connsiteY21" fmla="*/ 662855 h 826020"/>
                      <a:gd name="connsiteX22" fmla="*/ 411456 w 459045"/>
                      <a:gd name="connsiteY22" fmla="*/ 686650 h 826020"/>
                      <a:gd name="connsiteX23" fmla="*/ 425053 w 459045"/>
                      <a:gd name="connsiteY23" fmla="*/ 720643 h 826020"/>
                      <a:gd name="connsiteX24" fmla="*/ 448847 w 459045"/>
                      <a:gd name="connsiteY24" fmla="*/ 781829 h 826020"/>
                      <a:gd name="connsiteX25" fmla="*/ 459045 w 459045"/>
                      <a:gd name="connsiteY25" fmla="*/ 826020 h 826020"/>
                      <a:gd name="connsiteX0" fmla="*/ 146 w 449285"/>
                      <a:gd name="connsiteY0" fmla="*/ 0 h 866811"/>
                      <a:gd name="connsiteX1" fmla="*/ 3545 w 449285"/>
                      <a:gd name="connsiteY1" fmla="*/ 54388 h 866811"/>
                      <a:gd name="connsiteX2" fmla="*/ 23940 w 449285"/>
                      <a:gd name="connsiteY2" fmla="*/ 91780 h 866811"/>
                      <a:gd name="connsiteX3" fmla="*/ 54534 w 449285"/>
                      <a:gd name="connsiteY3" fmla="*/ 132571 h 866811"/>
                      <a:gd name="connsiteX4" fmla="*/ 68131 w 449285"/>
                      <a:gd name="connsiteY4" fmla="*/ 146168 h 866811"/>
                      <a:gd name="connsiteX5" fmla="*/ 78328 w 449285"/>
                      <a:gd name="connsiteY5" fmla="*/ 176762 h 866811"/>
                      <a:gd name="connsiteX6" fmla="*/ 88526 w 449285"/>
                      <a:gd name="connsiteY6" fmla="*/ 214154 h 866811"/>
                      <a:gd name="connsiteX7" fmla="*/ 81728 w 449285"/>
                      <a:gd name="connsiteY7" fmla="*/ 231150 h 866811"/>
                      <a:gd name="connsiteX8" fmla="*/ 102123 w 449285"/>
                      <a:gd name="connsiteY8" fmla="*/ 265142 h 866811"/>
                      <a:gd name="connsiteX9" fmla="*/ 102123 w 449285"/>
                      <a:gd name="connsiteY9" fmla="*/ 305933 h 866811"/>
                      <a:gd name="connsiteX10" fmla="*/ 115720 w 449285"/>
                      <a:gd name="connsiteY10" fmla="*/ 339926 h 866811"/>
                      <a:gd name="connsiteX11" fmla="*/ 132717 w 449285"/>
                      <a:gd name="connsiteY11" fmla="*/ 356922 h 866811"/>
                      <a:gd name="connsiteX12" fmla="*/ 146314 w 449285"/>
                      <a:gd name="connsiteY12" fmla="*/ 390915 h 866811"/>
                      <a:gd name="connsiteX13" fmla="*/ 139515 w 449285"/>
                      <a:gd name="connsiteY13" fmla="*/ 418109 h 866811"/>
                      <a:gd name="connsiteX14" fmla="*/ 156511 w 449285"/>
                      <a:gd name="connsiteY14" fmla="*/ 441904 h 866811"/>
                      <a:gd name="connsiteX15" fmla="*/ 183705 w 449285"/>
                      <a:gd name="connsiteY15" fmla="*/ 479296 h 866811"/>
                      <a:gd name="connsiteX16" fmla="*/ 207500 w 449285"/>
                      <a:gd name="connsiteY16" fmla="*/ 499691 h 866811"/>
                      <a:gd name="connsiteX17" fmla="*/ 224496 w 449285"/>
                      <a:gd name="connsiteY17" fmla="*/ 537083 h 866811"/>
                      <a:gd name="connsiteX18" fmla="*/ 251690 w 449285"/>
                      <a:gd name="connsiteY18" fmla="*/ 577874 h 866811"/>
                      <a:gd name="connsiteX19" fmla="*/ 309478 w 449285"/>
                      <a:gd name="connsiteY19" fmla="*/ 605068 h 866811"/>
                      <a:gd name="connsiteX20" fmla="*/ 323075 w 449285"/>
                      <a:gd name="connsiteY20" fmla="*/ 635661 h 866811"/>
                      <a:gd name="connsiteX21" fmla="*/ 370664 w 449285"/>
                      <a:gd name="connsiteY21" fmla="*/ 662855 h 866811"/>
                      <a:gd name="connsiteX22" fmla="*/ 411456 w 449285"/>
                      <a:gd name="connsiteY22" fmla="*/ 686650 h 866811"/>
                      <a:gd name="connsiteX23" fmla="*/ 425053 w 449285"/>
                      <a:gd name="connsiteY23" fmla="*/ 720643 h 866811"/>
                      <a:gd name="connsiteX24" fmla="*/ 448847 w 449285"/>
                      <a:gd name="connsiteY24" fmla="*/ 781829 h 866811"/>
                      <a:gd name="connsiteX25" fmla="*/ 442049 w 449285"/>
                      <a:gd name="connsiteY25" fmla="*/ 866811 h 866811"/>
                      <a:gd name="connsiteX0" fmla="*/ 5 w 462741"/>
                      <a:gd name="connsiteY0" fmla="*/ 0 h 911001"/>
                      <a:gd name="connsiteX1" fmla="*/ 17001 w 462741"/>
                      <a:gd name="connsiteY1" fmla="*/ 98578 h 911001"/>
                      <a:gd name="connsiteX2" fmla="*/ 37396 w 462741"/>
                      <a:gd name="connsiteY2" fmla="*/ 135970 h 911001"/>
                      <a:gd name="connsiteX3" fmla="*/ 67990 w 462741"/>
                      <a:gd name="connsiteY3" fmla="*/ 176761 h 911001"/>
                      <a:gd name="connsiteX4" fmla="*/ 81587 w 462741"/>
                      <a:gd name="connsiteY4" fmla="*/ 190358 h 911001"/>
                      <a:gd name="connsiteX5" fmla="*/ 91784 w 462741"/>
                      <a:gd name="connsiteY5" fmla="*/ 220952 h 911001"/>
                      <a:gd name="connsiteX6" fmla="*/ 101982 w 462741"/>
                      <a:gd name="connsiteY6" fmla="*/ 258344 h 911001"/>
                      <a:gd name="connsiteX7" fmla="*/ 95184 w 462741"/>
                      <a:gd name="connsiteY7" fmla="*/ 275340 h 911001"/>
                      <a:gd name="connsiteX8" fmla="*/ 115579 w 462741"/>
                      <a:gd name="connsiteY8" fmla="*/ 309332 h 911001"/>
                      <a:gd name="connsiteX9" fmla="*/ 115579 w 462741"/>
                      <a:gd name="connsiteY9" fmla="*/ 350123 h 911001"/>
                      <a:gd name="connsiteX10" fmla="*/ 129176 w 462741"/>
                      <a:gd name="connsiteY10" fmla="*/ 384116 h 911001"/>
                      <a:gd name="connsiteX11" fmla="*/ 146173 w 462741"/>
                      <a:gd name="connsiteY11" fmla="*/ 401112 h 911001"/>
                      <a:gd name="connsiteX12" fmla="*/ 159770 w 462741"/>
                      <a:gd name="connsiteY12" fmla="*/ 435105 h 911001"/>
                      <a:gd name="connsiteX13" fmla="*/ 152971 w 462741"/>
                      <a:gd name="connsiteY13" fmla="*/ 462299 h 911001"/>
                      <a:gd name="connsiteX14" fmla="*/ 169967 w 462741"/>
                      <a:gd name="connsiteY14" fmla="*/ 486094 h 911001"/>
                      <a:gd name="connsiteX15" fmla="*/ 197161 w 462741"/>
                      <a:gd name="connsiteY15" fmla="*/ 523486 h 911001"/>
                      <a:gd name="connsiteX16" fmla="*/ 220956 w 462741"/>
                      <a:gd name="connsiteY16" fmla="*/ 543881 h 911001"/>
                      <a:gd name="connsiteX17" fmla="*/ 237952 w 462741"/>
                      <a:gd name="connsiteY17" fmla="*/ 581273 h 911001"/>
                      <a:gd name="connsiteX18" fmla="*/ 265146 w 462741"/>
                      <a:gd name="connsiteY18" fmla="*/ 622064 h 911001"/>
                      <a:gd name="connsiteX19" fmla="*/ 322934 w 462741"/>
                      <a:gd name="connsiteY19" fmla="*/ 649258 h 911001"/>
                      <a:gd name="connsiteX20" fmla="*/ 336531 w 462741"/>
                      <a:gd name="connsiteY20" fmla="*/ 679851 h 911001"/>
                      <a:gd name="connsiteX21" fmla="*/ 384120 w 462741"/>
                      <a:gd name="connsiteY21" fmla="*/ 707045 h 911001"/>
                      <a:gd name="connsiteX22" fmla="*/ 424912 w 462741"/>
                      <a:gd name="connsiteY22" fmla="*/ 730840 h 911001"/>
                      <a:gd name="connsiteX23" fmla="*/ 438509 w 462741"/>
                      <a:gd name="connsiteY23" fmla="*/ 764833 h 911001"/>
                      <a:gd name="connsiteX24" fmla="*/ 462303 w 462741"/>
                      <a:gd name="connsiteY24" fmla="*/ 826019 h 911001"/>
                      <a:gd name="connsiteX25" fmla="*/ 455505 w 462741"/>
                      <a:gd name="connsiteY25" fmla="*/ 911001 h 91100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62741" h="911001">
                        <a:moveTo>
                          <a:pt x="5" y="0"/>
                        </a:moveTo>
                        <a:cubicBezTo>
                          <a:pt x="-279" y="19545"/>
                          <a:pt x="10769" y="75916"/>
                          <a:pt x="17001" y="98578"/>
                        </a:cubicBezTo>
                        <a:cubicBezTo>
                          <a:pt x="23233" y="121240"/>
                          <a:pt x="28898" y="122940"/>
                          <a:pt x="37396" y="135970"/>
                        </a:cubicBezTo>
                        <a:cubicBezTo>
                          <a:pt x="45894" y="149000"/>
                          <a:pt x="60625" y="167696"/>
                          <a:pt x="67990" y="176761"/>
                        </a:cubicBezTo>
                        <a:cubicBezTo>
                          <a:pt x="75355" y="185826"/>
                          <a:pt x="77621" y="182993"/>
                          <a:pt x="81587" y="190358"/>
                        </a:cubicBezTo>
                        <a:cubicBezTo>
                          <a:pt x="85553" y="197723"/>
                          <a:pt x="88385" y="209621"/>
                          <a:pt x="91784" y="220952"/>
                        </a:cubicBezTo>
                        <a:cubicBezTo>
                          <a:pt x="95183" y="232283"/>
                          <a:pt x="101415" y="249279"/>
                          <a:pt x="101982" y="258344"/>
                        </a:cubicBezTo>
                        <a:cubicBezTo>
                          <a:pt x="102549" y="267409"/>
                          <a:pt x="92918" y="266842"/>
                          <a:pt x="95184" y="275340"/>
                        </a:cubicBezTo>
                        <a:cubicBezTo>
                          <a:pt x="97450" y="283838"/>
                          <a:pt x="112180" y="296868"/>
                          <a:pt x="115579" y="309332"/>
                        </a:cubicBezTo>
                        <a:cubicBezTo>
                          <a:pt x="118978" y="321796"/>
                          <a:pt x="113313" y="337659"/>
                          <a:pt x="115579" y="350123"/>
                        </a:cubicBezTo>
                        <a:cubicBezTo>
                          <a:pt x="117845" y="362587"/>
                          <a:pt x="124077" y="375618"/>
                          <a:pt x="129176" y="384116"/>
                        </a:cubicBezTo>
                        <a:cubicBezTo>
                          <a:pt x="134275" y="392614"/>
                          <a:pt x="141074" y="392614"/>
                          <a:pt x="146173" y="401112"/>
                        </a:cubicBezTo>
                        <a:cubicBezTo>
                          <a:pt x="151272" y="409610"/>
                          <a:pt x="158637" y="424907"/>
                          <a:pt x="159770" y="435105"/>
                        </a:cubicBezTo>
                        <a:cubicBezTo>
                          <a:pt x="160903" y="445303"/>
                          <a:pt x="151272" y="453801"/>
                          <a:pt x="152971" y="462299"/>
                        </a:cubicBezTo>
                        <a:cubicBezTo>
                          <a:pt x="154670" y="470797"/>
                          <a:pt x="169967" y="486094"/>
                          <a:pt x="169967" y="486094"/>
                        </a:cubicBezTo>
                        <a:cubicBezTo>
                          <a:pt x="177332" y="496292"/>
                          <a:pt x="188663" y="513855"/>
                          <a:pt x="197161" y="523486"/>
                        </a:cubicBezTo>
                        <a:cubicBezTo>
                          <a:pt x="205659" y="533117"/>
                          <a:pt x="214158" y="534250"/>
                          <a:pt x="220956" y="543881"/>
                        </a:cubicBezTo>
                        <a:cubicBezTo>
                          <a:pt x="227754" y="553512"/>
                          <a:pt x="230587" y="568243"/>
                          <a:pt x="237952" y="581273"/>
                        </a:cubicBezTo>
                        <a:cubicBezTo>
                          <a:pt x="245317" y="594304"/>
                          <a:pt x="250982" y="610733"/>
                          <a:pt x="265146" y="622064"/>
                        </a:cubicBezTo>
                        <a:cubicBezTo>
                          <a:pt x="279310" y="633395"/>
                          <a:pt x="311037" y="639627"/>
                          <a:pt x="322934" y="649258"/>
                        </a:cubicBezTo>
                        <a:cubicBezTo>
                          <a:pt x="334831" y="658889"/>
                          <a:pt x="326333" y="670220"/>
                          <a:pt x="336531" y="679851"/>
                        </a:cubicBezTo>
                        <a:cubicBezTo>
                          <a:pt x="346729" y="689482"/>
                          <a:pt x="384120" y="707045"/>
                          <a:pt x="384120" y="707045"/>
                        </a:cubicBezTo>
                        <a:cubicBezTo>
                          <a:pt x="398850" y="715543"/>
                          <a:pt x="415847" y="721209"/>
                          <a:pt x="424912" y="730840"/>
                        </a:cubicBezTo>
                        <a:cubicBezTo>
                          <a:pt x="433977" y="740471"/>
                          <a:pt x="432277" y="748970"/>
                          <a:pt x="438509" y="764833"/>
                        </a:cubicBezTo>
                        <a:cubicBezTo>
                          <a:pt x="444741" y="780696"/>
                          <a:pt x="459470" y="801658"/>
                          <a:pt x="462303" y="826019"/>
                        </a:cubicBezTo>
                        <a:cubicBezTo>
                          <a:pt x="465136" y="850380"/>
                          <a:pt x="453238" y="897687"/>
                          <a:pt x="455505" y="911001"/>
                        </a:cubicBezTo>
                      </a:path>
                    </a:pathLst>
                  </a:custGeom>
                  <a:ln w="76200">
                    <a:solidFill>
                      <a:srgbClr val="007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4" name="Полилиния 183"/>
                  <p:cNvSpPr/>
                  <p:nvPr/>
                </p:nvSpPr>
                <p:spPr>
                  <a:xfrm>
                    <a:off x="5995153" y="3043182"/>
                    <a:ext cx="459045" cy="826020"/>
                  </a:xfrm>
                  <a:custGeom>
                    <a:avLst/>
                    <a:gdLst>
                      <a:gd name="connsiteX0" fmla="*/ 146 w 459045"/>
                      <a:gd name="connsiteY0" fmla="*/ 0 h 826020"/>
                      <a:gd name="connsiteX1" fmla="*/ 3545 w 459045"/>
                      <a:gd name="connsiteY1" fmla="*/ 54388 h 826020"/>
                      <a:gd name="connsiteX2" fmla="*/ 23940 w 459045"/>
                      <a:gd name="connsiteY2" fmla="*/ 91780 h 826020"/>
                      <a:gd name="connsiteX3" fmla="*/ 54534 w 459045"/>
                      <a:gd name="connsiteY3" fmla="*/ 132571 h 826020"/>
                      <a:gd name="connsiteX4" fmla="*/ 68131 w 459045"/>
                      <a:gd name="connsiteY4" fmla="*/ 146168 h 826020"/>
                      <a:gd name="connsiteX5" fmla="*/ 78328 w 459045"/>
                      <a:gd name="connsiteY5" fmla="*/ 176762 h 826020"/>
                      <a:gd name="connsiteX6" fmla="*/ 88526 w 459045"/>
                      <a:gd name="connsiteY6" fmla="*/ 214154 h 826020"/>
                      <a:gd name="connsiteX7" fmla="*/ 81728 w 459045"/>
                      <a:gd name="connsiteY7" fmla="*/ 231150 h 826020"/>
                      <a:gd name="connsiteX8" fmla="*/ 102123 w 459045"/>
                      <a:gd name="connsiteY8" fmla="*/ 265142 h 826020"/>
                      <a:gd name="connsiteX9" fmla="*/ 102123 w 459045"/>
                      <a:gd name="connsiteY9" fmla="*/ 305933 h 826020"/>
                      <a:gd name="connsiteX10" fmla="*/ 115720 w 459045"/>
                      <a:gd name="connsiteY10" fmla="*/ 339926 h 826020"/>
                      <a:gd name="connsiteX11" fmla="*/ 132717 w 459045"/>
                      <a:gd name="connsiteY11" fmla="*/ 356922 h 826020"/>
                      <a:gd name="connsiteX12" fmla="*/ 146314 w 459045"/>
                      <a:gd name="connsiteY12" fmla="*/ 390915 h 826020"/>
                      <a:gd name="connsiteX13" fmla="*/ 139515 w 459045"/>
                      <a:gd name="connsiteY13" fmla="*/ 418109 h 826020"/>
                      <a:gd name="connsiteX14" fmla="*/ 156511 w 459045"/>
                      <a:gd name="connsiteY14" fmla="*/ 441904 h 826020"/>
                      <a:gd name="connsiteX15" fmla="*/ 183705 w 459045"/>
                      <a:gd name="connsiteY15" fmla="*/ 479296 h 826020"/>
                      <a:gd name="connsiteX16" fmla="*/ 207500 w 459045"/>
                      <a:gd name="connsiteY16" fmla="*/ 499691 h 826020"/>
                      <a:gd name="connsiteX17" fmla="*/ 224496 w 459045"/>
                      <a:gd name="connsiteY17" fmla="*/ 537083 h 826020"/>
                      <a:gd name="connsiteX18" fmla="*/ 251690 w 459045"/>
                      <a:gd name="connsiteY18" fmla="*/ 577874 h 826020"/>
                      <a:gd name="connsiteX19" fmla="*/ 309478 w 459045"/>
                      <a:gd name="connsiteY19" fmla="*/ 605068 h 826020"/>
                      <a:gd name="connsiteX20" fmla="*/ 323075 w 459045"/>
                      <a:gd name="connsiteY20" fmla="*/ 635661 h 826020"/>
                      <a:gd name="connsiteX21" fmla="*/ 370664 w 459045"/>
                      <a:gd name="connsiteY21" fmla="*/ 662855 h 826020"/>
                      <a:gd name="connsiteX22" fmla="*/ 411456 w 459045"/>
                      <a:gd name="connsiteY22" fmla="*/ 686650 h 826020"/>
                      <a:gd name="connsiteX23" fmla="*/ 425053 w 459045"/>
                      <a:gd name="connsiteY23" fmla="*/ 720643 h 826020"/>
                      <a:gd name="connsiteX24" fmla="*/ 448847 w 459045"/>
                      <a:gd name="connsiteY24" fmla="*/ 781829 h 826020"/>
                      <a:gd name="connsiteX25" fmla="*/ 459045 w 459045"/>
                      <a:gd name="connsiteY25" fmla="*/ 826020 h 8260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59045" h="826020">
                        <a:moveTo>
                          <a:pt x="146" y="0"/>
                        </a:moveTo>
                        <a:cubicBezTo>
                          <a:pt x="-138" y="19545"/>
                          <a:pt x="-421" y="39091"/>
                          <a:pt x="3545" y="54388"/>
                        </a:cubicBezTo>
                        <a:cubicBezTo>
                          <a:pt x="7511" y="69685"/>
                          <a:pt x="15442" y="78750"/>
                          <a:pt x="23940" y="91780"/>
                        </a:cubicBezTo>
                        <a:cubicBezTo>
                          <a:pt x="32438" y="104810"/>
                          <a:pt x="47169" y="123506"/>
                          <a:pt x="54534" y="132571"/>
                        </a:cubicBezTo>
                        <a:cubicBezTo>
                          <a:pt x="61899" y="141636"/>
                          <a:pt x="64165" y="138803"/>
                          <a:pt x="68131" y="146168"/>
                        </a:cubicBezTo>
                        <a:cubicBezTo>
                          <a:pt x="72097" y="153533"/>
                          <a:pt x="74929" y="165431"/>
                          <a:pt x="78328" y="176762"/>
                        </a:cubicBezTo>
                        <a:cubicBezTo>
                          <a:pt x="81727" y="188093"/>
                          <a:pt x="87959" y="205089"/>
                          <a:pt x="88526" y="214154"/>
                        </a:cubicBezTo>
                        <a:cubicBezTo>
                          <a:pt x="89093" y="223219"/>
                          <a:pt x="79462" y="222652"/>
                          <a:pt x="81728" y="231150"/>
                        </a:cubicBezTo>
                        <a:cubicBezTo>
                          <a:pt x="83994" y="239648"/>
                          <a:pt x="98724" y="252678"/>
                          <a:pt x="102123" y="265142"/>
                        </a:cubicBezTo>
                        <a:cubicBezTo>
                          <a:pt x="105522" y="277606"/>
                          <a:pt x="99857" y="293469"/>
                          <a:pt x="102123" y="305933"/>
                        </a:cubicBezTo>
                        <a:cubicBezTo>
                          <a:pt x="104389" y="318397"/>
                          <a:pt x="110621" y="331428"/>
                          <a:pt x="115720" y="339926"/>
                        </a:cubicBezTo>
                        <a:cubicBezTo>
                          <a:pt x="120819" y="348424"/>
                          <a:pt x="127618" y="348424"/>
                          <a:pt x="132717" y="356922"/>
                        </a:cubicBezTo>
                        <a:cubicBezTo>
                          <a:pt x="137816" y="365420"/>
                          <a:pt x="145181" y="380717"/>
                          <a:pt x="146314" y="390915"/>
                        </a:cubicBezTo>
                        <a:cubicBezTo>
                          <a:pt x="147447" y="401113"/>
                          <a:pt x="137816" y="409611"/>
                          <a:pt x="139515" y="418109"/>
                        </a:cubicBezTo>
                        <a:cubicBezTo>
                          <a:pt x="141214" y="426607"/>
                          <a:pt x="156511" y="441904"/>
                          <a:pt x="156511" y="441904"/>
                        </a:cubicBezTo>
                        <a:cubicBezTo>
                          <a:pt x="163876" y="452102"/>
                          <a:pt x="175207" y="469665"/>
                          <a:pt x="183705" y="479296"/>
                        </a:cubicBezTo>
                        <a:cubicBezTo>
                          <a:pt x="192203" y="488927"/>
                          <a:pt x="200702" y="490060"/>
                          <a:pt x="207500" y="499691"/>
                        </a:cubicBezTo>
                        <a:cubicBezTo>
                          <a:pt x="214298" y="509322"/>
                          <a:pt x="217131" y="524053"/>
                          <a:pt x="224496" y="537083"/>
                        </a:cubicBezTo>
                        <a:cubicBezTo>
                          <a:pt x="231861" y="550114"/>
                          <a:pt x="237526" y="566543"/>
                          <a:pt x="251690" y="577874"/>
                        </a:cubicBezTo>
                        <a:cubicBezTo>
                          <a:pt x="265854" y="589205"/>
                          <a:pt x="297581" y="595437"/>
                          <a:pt x="309478" y="605068"/>
                        </a:cubicBezTo>
                        <a:cubicBezTo>
                          <a:pt x="321375" y="614699"/>
                          <a:pt x="312877" y="626030"/>
                          <a:pt x="323075" y="635661"/>
                        </a:cubicBezTo>
                        <a:cubicBezTo>
                          <a:pt x="333273" y="645292"/>
                          <a:pt x="370664" y="662855"/>
                          <a:pt x="370664" y="662855"/>
                        </a:cubicBezTo>
                        <a:cubicBezTo>
                          <a:pt x="385394" y="671353"/>
                          <a:pt x="402391" y="677019"/>
                          <a:pt x="411456" y="686650"/>
                        </a:cubicBezTo>
                        <a:cubicBezTo>
                          <a:pt x="420521" y="696281"/>
                          <a:pt x="418821" y="704780"/>
                          <a:pt x="425053" y="720643"/>
                        </a:cubicBezTo>
                        <a:cubicBezTo>
                          <a:pt x="431285" y="736506"/>
                          <a:pt x="443182" y="764266"/>
                          <a:pt x="448847" y="781829"/>
                        </a:cubicBezTo>
                        <a:cubicBezTo>
                          <a:pt x="454512" y="799392"/>
                          <a:pt x="456778" y="812706"/>
                          <a:pt x="459045" y="826020"/>
                        </a:cubicBezTo>
                      </a:path>
                    </a:pathLst>
                  </a:custGeom>
                  <a:ln w="952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5" name="Полилиния 184"/>
                  <p:cNvSpPr/>
                  <p:nvPr/>
                </p:nvSpPr>
                <p:spPr>
                  <a:xfrm>
                    <a:off x="5977368" y="3058778"/>
                    <a:ext cx="459045" cy="826020"/>
                  </a:xfrm>
                  <a:custGeom>
                    <a:avLst/>
                    <a:gdLst>
                      <a:gd name="connsiteX0" fmla="*/ 146 w 459045"/>
                      <a:gd name="connsiteY0" fmla="*/ 0 h 826020"/>
                      <a:gd name="connsiteX1" fmla="*/ 3545 w 459045"/>
                      <a:gd name="connsiteY1" fmla="*/ 54388 h 826020"/>
                      <a:gd name="connsiteX2" fmla="*/ 23940 w 459045"/>
                      <a:gd name="connsiteY2" fmla="*/ 91780 h 826020"/>
                      <a:gd name="connsiteX3" fmla="*/ 54534 w 459045"/>
                      <a:gd name="connsiteY3" fmla="*/ 132571 h 826020"/>
                      <a:gd name="connsiteX4" fmla="*/ 68131 w 459045"/>
                      <a:gd name="connsiteY4" fmla="*/ 146168 h 826020"/>
                      <a:gd name="connsiteX5" fmla="*/ 78328 w 459045"/>
                      <a:gd name="connsiteY5" fmla="*/ 176762 h 826020"/>
                      <a:gd name="connsiteX6" fmla="*/ 88526 w 459045"/>
                      <a:gd name="connsiteY6" fmla="*/ 214154 h 826020"/>
                      <a:gd name="connsiteX7" fmla="*/ 81728 w 459045"/>
                      <a:gd name="connsiteY7" fmla="*/ 231150 h 826020"/>
                      <a:gd name="connsiteX8" fmla="*/ 102123 w 459045"/>
                      <a:gd name="connsiteY8" fmla="*/ 265142 h 826020"/>
                      <a:gd name="connsiteX9" fmla="*/ 102123 w 459045"/>
                      <a:gd name="connsiteY9" fmla="*/ 305933 h 826020"/>
                      <a:gd name="connsiteX10" fmla="*/ 115720 w 459045"/>
                      <a:gd name="connsiteY10" fmla="*/ 339926 h 826020"/>
                      <a:gd name="connsiteX11" fmla="*/ 132717 w 459045"/>
                      <a:gd name="connsiteY11" fmla="*/ 356922 h 826020"/>
                      <a:gd name="connsiteX12" fmla="*/ 146314 w 459045"/>
                      <a:gd name="connsiteY12" fmla="*/ 390915 h 826020"/>
                      <a:gd name="connsiteX13" fmla="*/ 139515 w 459045"/>
                      <a:gd name="connsiteY13" fmla="*/ 418109 h 826020"/>
                      <a:gd name="connsiteX14" fmla="*/ 156511 w 459045"/>
                      <a:gd name="connsiteY14" fmla="*/ 441904 h 826020"/>
                      <a:gd name="connsiteX15" fmla="*/ 183705 w 459045"/>
                      <a:gd name="connsiteY15" fmla="*/ 479296 h 826020"/>
                      <a:gd name="connsiteX16" fmla="*/ 207500 w 459045"/>
                      <a:gd name="connsiteY16" fmla="*/ 499691 h 826020"/>
                      <a:gd name="connsiteX17" fmla="*/ 224496 w 459045"/>
                      <a:gd name="connsiteY17" fmla="*/ 537083 h 826020"/>
                      <a:gd name="connsiteX18" fmla="*/ 251690 w 459045"/>
                      <a:gd name="connsiteY18" fmla="*/ 577874 h 826020"/>
                      <a:gd name="connsiteX19" fmla="*/ 309478 w 459045"/>
                      <a:gd name="connsiteY19" fmla="*/ 605068 h 826020"/>
                      <a:gd name="connsiteX20" fmla="*/ 323075 w 459045"/>
                      <a:gd name="connsiteY20" fmla="*/ 635661 h 826020"/>
                      <a:gd name="connsiteX21" fmla="*/ 370664 w 459045"/>
                      <a:gd name="connsiteY21" fmla="*/ 662855 h 826020"/>
                      <a:gd name="connsiteX22" fmla="*/ 411456 w 459045"/>
                      <a:gd name="connsiteY22" fmla="*/ 686650 h 826020"/>
                      <a:gd name="connsiteX23" fmla="*/ 425053 w 459045"/>
                      <a:gd name="connsiteY23" fmla="*/ 720643 h 826020"/>
                      <a:gd name="connsiteX24" fmla="*/ 448847 w 459045"/>
                      <a:gd name="connsiteY24" fmla="*/ 781829 h 826020"/>
                      <a:gd name="connsiteX25" fmla="*/ 459045 w 459045"/>
                      <a:gd name="connsiteY25" fmla="*/ 826020 h 8260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59045" h="826020">
                        <a:moveTo>
                          <a:pt x="146" y="0"/>
                        </a:moveTo>
                        <a:cubicBezTo>
                          <a:pt x="-138" y="19545"/>
                          <a:pt x="-421" y="39091"/>
                          <a:pt x="3545" y="54388"/>
                        </a:cubicBezTo>
                        <a:cubicBezTo>
                          <a:pt x="7511" y="69685"/>
                          <a:pt x="15442" y="78750"/>
                          <a:pt x="23940" y="91780"/>
                        </a:cubicBezTo>
                        <a:cubicBezTo>
                          <a:pt x="32438" y="104810"/>
                          <a:pt x="47169" y="123506"/>
                          <a:pt x="54534" y="132571"/>
                        </a:cubicBezTo>
                        <a:cubicBezTo>
                          <a:pt x="61899" y="141636"/>
                          <a:pt x="64165" y="138803"/>
                          <a:pt x="68131" y="146168"/>
                        </a:cubicBezTo>
                        <a:cubicBezTo>
                          <a:pt x="72097" y="153533"/>
                          <a:pt x="74929" y="165431"/>
                          <a:pt x="78328" y="176762"/>
                        </a:cubicBezTo>
                        <a:cubicBezTo>
                          <a:pt x="81727" y="188093"/>
                          <a:pt x="87959" y="205089"/>
                          <a:pt x="88526" y="214154"/>
                        </a:cubicBezTo>
                        <a:cubicBezTo>
                          <a:pt x="89093" y="223219"/>
                          <a:pt x="79462" y="222652"/>
                          <a:pt x="81728" y="231150"/>
                        </a:cubicBezTo>
                        <a:cubicBezTo>
                          <a:pt x="83994" y="239648"/>
                          <a:pt x="98724" y="252678"/>
                          <a:pt x="102123" y="265142"/>
                        </a:cubicBezTo>
                        <a:cubicBezTo>
                          <a:pt x="105522" y="277606"/>
                          <a:pt x="99857" y="293469"/>
                          <a:pt x="102123" y="305933"/>
                        </a:cubicBezTo>
                        <a:cubicBezTo>
                          <a:pt x="104389" y="318397"/>
                          <a:pt x="110621" y="331428"/>
                          <a:pt x="115720" y="339926"/>
                        </a:cubicBezTo>
                        <a:cubicBezTo>
                          <a:pt x="120819" y="348424"/>
                          <a:pt x="127618" y="348424"/>
                          <a:pt x="132717" y="356922"/>
                        </a:cubicBezTo>
                        <a:cubicBezTo>
                          <a:pt x="137816" y="365420"/>
                          <a:pt x="145181" y="380717"/>
                          <a:pt x="146314" y="390915"/>
                        </a:cubicBezTo>
                        <a:cubicBezTo>
                          <a:pt x="147447" y="401113"/>
                          <a:pt x="137816" y="409611"/>
                          <a:pt x="139515" y="418109"/>
                        </a:cubicBezTo>
                        <a:cubicBezTo>
                          <a:pt x="141214" y="426607"/>
                          <a:pt x="156511" y="441904"/>
                          <a:pt x="156511" y="441904"/>
                        </a:cubicBezTo>
                        <a:cubicBezTo>
                          <a:pt x="163876" y="452102"/>
                          <a:pt x="175207" y="469665"/>
                          <a:pt x="183705" y="479296"/>
                        </a:cubicBezTo>
                        <a:cubicBezTo>
                          <a:pt x="192203" y="488927"/>
                          <a:pt x="200702" y="490060"/>
                          <a:pt x="207500" y="499691"/>
                        </a:cubicBezTo>
                        <a:cubicBezTo>
                          <a:pt x="214298" y="509322"/>
                          <a:pt x="217131" y="524053"/>
                          <a:pt x="224496" y="537083"/>
                        </a:cubicBezTo>
                        <a:cubicBezTo>
                          <a:pt x="231861" y="550114"/>
                          <a:pt x="237526" y="566543"/>
                          <a:pt x="251690" y="577874"/>
                        </a:cubicBezTo>
                        <a:cubicBezTo>
                          <a:pt x="265854" y="589205"/>
                          <a:pt x="297581" y="595437"/>
                          <a:pt x="309478" y="605068"/>
                        </a:cubicBezTo>
                        <a:cubicBezTo>
                          <a:pt x="321375" y="614699"/>
                          <a:pt x="312877" y="626030"/>
                          <a:pt x="323075" y="635661"/>
                        </a:cubicBezTo>
                        <a:cubicBezTo>
                          <a:pt x="333273" y="645292"/>
                          <a:pt x="370664" y="662855"/>
                          <a:pt x="370664" y="662855"/>
                        </a:cubicBezTo>
                        <a:cubicBezTo>
                          <a:pt x="385394" y="671353"/>
                          <a:pt x="402391" y="677019"/>
                          <a:pt x="411456" y="686650"/>
                        </a:cubicBezTo>
                        <a:cubicBezTo>
                          <a:pt x="420521" y="696281"/>
                          <a:pt x="418821" y="704780"/>
                          <a:pt x="425053" y="720643"/>
                        </a:cubicBezTo>
                        <a:cubicBezTo>
                          <a:pt x="431285" y="736506"/>
                          <a:pt x="443182" y="764266"/>
                          <a:pt x="448847" y="781829"/>
                        </a:cubicBezTo>
                        <a:cubicBezTo>
                          <a:pt x="454512" y="799392"/>
                          <a:pt x="456778" y="812706"/>
                          <a:pt x="459045" y="826020"/>
                        </a:cubicBezTo>
                      </a:path>
                    </a:pathLst>
                  </a:custGeom>
                  <a:ln>
                    <a:solidFill>
                      <a:schemeClr val="bg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6" name="Полилиния 185"/>
                  <p:cNvSpPr/>
                  <p:nvPr/>
                </p:nvSpPr>
                <p:spPr>
                  <a:xfrm>
                    <a:off x="6020101" y="3034627"/>
                    <a:ext cx="459045" cy="826020"/>
                  </a:xfrm>
                  <a:custGeom>
                    <a:avLst/>
                    <a:gdLst>
                      <a:gd name="connsiteX0" fmla="*/ 146 w 459045"/>
                      <a:gd name="connsiteY0" fmla="*/ 0 h 826020"/>
                      <a:gd name="connsiteX1" fmla="*/ 3545 w 459045"/>
                      <a:gd name="connsiteY1" fmla="*/ 54388 h 826020"/>
                      <a:gd name="connsiteX2" fmla="*/ 23940 w 459045"/>
                      <a:gd name="connsiteY2" fmla="*/ 91780 h 826020"/>
                      <a:gd name="connsiteX3" fmla="*/ 54534 w 459045"/>
                      <a:gd name="connsiteY3" fmla="*/ 132571 h 826020"/>
                      <a:gd name="connsiteX4" fmla="*/ 68131 w 459045"/>
                      <a:gd name="connsiteY4" fmla="*/ 146168 h 826020"/>
                      <a:gd name="connsiteX5" fmla="*/ 78328 w 459045"/>
                      <a:gd name="connsiteY5" fmla="*/ 176762 h 826020"/>
                      <a:gd name="connsiteX6" fmla="*/ 88526 w 459045"/>
                      <a:gd name="connsiteY6" fmla="*/ 214154 h 826020"/>
                      <a:gd name="connsiteX7" fmla="*/ 81728 w 459045"/>
                      <a:gd name="connsiteY7" fmla="*/ 231150 h 826020"/>
                      <a:gd name="connsiteX8" fmla="*/ 102123 w 459045"/>
                      <a:gd name="connsiteY8" fmla="*/ 265142 h 826020"/>
                      <a:gd name="connsiteX9" fmla="*/ 102123 w 459045"/>
                      <a:gd name="connsiteY9" fmla="*/ 305933 h 826020"/>
                      <a:gd name="connsiteX10" fmla="*/ 115720 w 459045"/>
                      <a:gd name="connsiteY10" fmla="*/ 339926 h 826020"/>
                      <a:gd name="connsiteX11" fmla="*/ 132717 w 459045"/>
                      <a:gd name="connsiteY11" fmla="*/ 356922 h 826020"/>
                      <a:gd name="connsiteX12" fmla="*/ 146314 w 459045"/>
                      <a:gd name="connsiteY12" fmla="*/ 390915 h 826020"/>
                      <a:gd name="connsiteX13" fmla="*/ 139515 w 459045"/>
                      <a:gd name="connsiteY13" fmla="*/ 418109 h 826020"/>
                      <a:gd name="connsiteX14" fmla="*/ 156511 w 459045"/>
                      <a:gd name="connsiteY14" fmla="*/ 441904 h 826020"/>
                      <a:gd name="connsiteX15" fmla="*/ 183705 w 459045"/>
                      <a:gd name="connsiteY15" fmla="*/ 479296 h 826020"/>
                      <a:gd name="connsiteX16" fmla="*/ 207500 w 459045"/>
                      <a:gd name="connsiteY16" fmla="*/ 499691 h 826020"/>
                      <a:gd name="connsiteX17" fmla="*/ 224496 w 459045"/>
                      <a:gd name="connsiteY17" fmla="*/ 537083 h 826020"/>
                      <a:gd name="connsiteX18" fmla="*/ 251690 w 459045"/>
                      <a:gd name="connsiteY18" fmla="*/ 577874 h 826020"/>
                      <a:gd name="connsiteX19" fmla="*/ 309478 w 459045"/>
                      <a:gd name="connsiteY19" fmla="*/ 605068 h 826020"/>
                      <a:gd name="connsiteX20" fmla="*/ 323075 w 459045"/>
                      <a:gd name="connsiteY20" fmla="*/ 635661 h 826020"/>
                      <a:gd name="connsiteX21" fmla="*/ 370664 w 459045"/>
                      <a:gd name="connsiteY21" fmla="*/ 662855 h 826020"/>
                      <a:gd name="connsiteX22" fmla="*/ 411456 w 459045"/>
                      <a:gd name="connsiteY22" fmla="*/ 686650 h 826020"/>
                      <a:gd name="connsiteX23" fmla="*/ 425053 w 459045"/>
                      <a:gd name="connsiteY23" fmla="*/ 720643 h 826020"/>
                      <a:gd name="connsiteX24" fmla="*/ 448847 w 459045"/>
                      <a:gd name="connsiteY24" fmla="*/ 781829 h 826020"/>
                      <a:gd name="connsiteX25" fmla="*/ 459045 w 459045"/>
                      <a:gd name="connsiteY25" fmla="*/ 826020 h 82602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</a:cxnLst>
                    <a:rect l="l" t="t" r="r" b="b"/>
                    <a:pathLst>
                      <a:path w="459045" h="826020">
                        <a:moveTo>
                          <a:pt x="146" y="0"/>
                        </a:moveTo>
                        <a:cubicBezTo>
                          <a:pt x="-138" y="19545"/>
                          <a:pt x="-421" y="39091"/>
                          <a:pt x="3545" y="54388"/>
                        </a:cubicBezTo>
                        <a:cubicBezTo>
                          <a:pt x="7511" y="69685"/>
                          <a:pt x="15442" y="78750"/>
                          <a:pt x="23940" y="91780"/>
                        </a:cubicBezTo>
                        <a:cubicBezTo>
                          <a:pt x="32438" y="104810"/>
                          <a:pt x="47169" y="123506"/>
                          <a:pt x="54534" y="132571"/>
                        </a:cubicBezTo>
                        <a:cubicBezTo>
                          <a:pt x="61899" y="141636"/>
                          <a:pt x="64165" y="138803"/>
                          <a:pt x="68131" y="146168"/>
                        </a:cubicBezTo>
                        <a:cubicBezTo>
                          <a:pt x="72097" y="153533"/>
                          <a:pt x="74929" y="165431"/>
                          <a:pt x="78328" y="176762"/>
                        </a:cubicBezTo>
                        <a:cubicBezTo>
                          <a:pt x="81727" y="188093"/>
                          <a:pt x="87959" y="205089"/>
                          <a:pt x="88526" y="214154"/>
                        </a:cubicBezTo>
                        <a:cubicBezTo>
                          <a:pt x="89093" y="223219"/>
                          <a:pt x="79462" y="222652"/>
                          <a:pt x="81728" y="231150"/>
                        </a:cubicBezTo>
                        <a:cubicBezTo>
                          <a:pt x="83994" y="239648"/>
                          <a:pt x="98724" y="252678"/>
                          <a:pt x="102123" y="265142"/>
                        </a:cubicBezTo>
                        <a:cubicBezTo>
                          <a:pt x="105522" y="277606"/>
                          <a:pt x="99857" y="293469"/>
                          <a:pt x="102123" y="305933"/>
                        </a:cubicBezTo>
                        <a:cubicBezTo>
                          <a:pt x="104389" y="318397"/>
                          <a:pt x="110621" y="331428"/>
                          <a:pt x="115720" y="339926"/>
                        </a:cubicBezTo>
                        <a:cubicBezTo>
                          <a:pt x="120819" y="348424"/>
                          <a:pt x="127618" y="348424"/>
                          <a:pt x="132717" y="356922"/>
                        </a:cubicBezTo>
                        <a:cubicBezTo>
                          <a:pt x="137816" y="365420"/>
                          <a:pt x="145181" y="380717"/>
                          <a:pt x="146314" y="390915"/>
                        </a:cubicBezTo>
                        <a:cubicBezTo>
                          <a:pt x="147447" y="401113"/>
                          <a:pt x="137816" y="409611"/>
                          <a:pt x="139515" y="418109"/>
                        </a:cubicBezTo>
                        <a:cubicBezTo>
                          <a:pt x="141214" y="426607"/>
                          <a:pt x="156511" y="441904"/>
                          <a:pt x="156511" y="441904"/>
                        </a:cubicBezTo>
                        <a:cubicBezTo>
                          <a:pt x="163876" y="452102"/>
                          <a:pt x="175207" y="469665"/>
                          <a:pt x="183705" y="479296"/>
                        </a:cubicBezTo>
                        <a:cubicBezTo>
                          <a:pt x="192203" y="488927"/>
                          <a:pt x="200702" y="490060"/>
                          <a:pt x="207500" y="499691"/>
                        </a:cubicBezTo>
                        <a:cubicBezTo>
                          <a:pt x="214298" y="509322"/>
                          <a:pt x="217131" y="524053"/>
                          <a:pt x="224496" y="537083"/>
                        </a:cubicBezTo>
                        <a:cubicBezTo>
                          <a:pt x="231861" y="550114"/>
                          <a:pt x="237526" y="566543"/>
                          <a:pt x="251690" y="577874"/>
                        </a:cubicBezTo>
                        <a:cubicBezTo>
                          <a:pt x="265854" y="589205"/>
                          <a:pt x="297581" y="595437"/>
                          <a:pt x="309478" y="605068"/>
                        </a:cubicBezTo>
                        <a:cubicBezTo>
                          <a:pt x="321375" y="614699"/>
                          <a:pt x="312877" y="626030"/>
                          <a:pt x="323075" y="635661"/>
                        </a:cubicBezTo>
                        <a:cubicBezTo>
                          <a:pt x="333273" y="645292"/>
                          <a:pt x="370664" y="662855"/>
                          <a:pt x="370664" y="662855"/>
                        </a:cubicBezTo>
                        <a:cubicBezTo>
                          <a:pt x="385394" y="671353"/>
                          <a:pt x="402391" y="677019"/>
                          <a:pt x="411456" y="686650"/>
                        </a:cubicBezTo>
                        <a:cubicBezTo>
                          <a:pt x="420521" y="696281"/>
                          <a:pt x="418821" y="704780"/>
                          <a:pt x="425053" y="720643"/>
                        </a:cubicBezTo>
                        <a:cubicBezTo>
                          <a:pt x="431285" y="736506"/>
                          <a:pt x="443182" y="764266"/>
                          <a:pt x="448847" y="781829"/>
                        </a:cubicBezTo>
                        <a:cubicBezTo>
                          <a:pt x="454512" y="799392"/>
                          <a:pt x="456778" y="812706"/>
                          <a:pt x="459045" y="826020"/>
                        </a:cubicBezTo>
                      </a:path>
                    </a:pathLst>
                  </a:custGeom>
                  <a:ln>
                    <a:solidFill>
                      <a:schemeClr val="bg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7" name="Блок-схема: узел 186"/>
                  <p:cNvSpPr/>
                  <p:nvPr/>
                </p:nvSpPr>
                <p:spPr>
                  <a:xfrm>
                    <a:off x="6408473" y="3864702"/>
                    <a:ext cx="81766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88" name="Полилиния 187"/>
                  <p:cNvSpPr/>
                  <p:nvPr/>
                </p:nvSpPr>
                <p:spPr>
                  <a:xfrm>
                    <a:off x="6931819" y="4821129"/>
                    <a:ext cx="140494" cy="39002"/>
                  </a:xfrm>
                  <a:custGeom>
                    <a:avLst/>
                    <a:gdLst>
                      <a:gd name="connsiteX0" fmla="*/ 0 w 140494"/>
                      <a:gd name="connsiteY0" fmla="*/ 39002 h 39002"/>
                      <a:gd name="connsiteX1" fmla="*/ 71437 w 140494"/>
                      <a:gd name="connsiteY1" fmla="*/ 902 h 39002"/>
                      <a:gd name="connsiteX2" fmla="*/ 95250 w 140494"/>
                      <a:gd name="connsiteY2" fmla="*/ 12809 h 39002"/>
                      <a:gd name="connsiteX3" fmla="*/ 111919 w 140494"/>
                      <a:gd name="connsiteY3" fmla="*/ 22334 h 39002"/>
                      <a:gd name="connsiteX4" fmla="*/ 140494 w 140494"/>
                      <a:gd name="connsiteY4" fmla="*/ 31859 h 39002"/>
                      <a:gd name="connsiteX5" fmla="*/ 140494 w 140494"/>
                      <a:gd name="connsiteY5" fmla="*/ 31859 h 39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0494" h="39002">
                        <a:moveTo>
                          <a:pt x="0" y="39002"/>
                        </a:moveTo>
                        <a:cubicBezTo>
                          <a:pt x="27781" y="22134"/>
                          <a:pt x="55562" y="5267"/>
                          <a:pt x="71437" y="902"/>
                        </a:cubicBezTo>
                        <a:cubicBezTo>
                          <a:pt x="87312" y="-3464"/>
                          <a:pt x="88503" y="9237"/>
                          <a:pt x="95250" y="12809"/>
                        </a:cubicBezTo>
                        <a:cubicBezTo>
                          <a:pt x="101997" y="16381"/>
                          <a:pt x="104378" y="19159"/>
                          <a:pt x="111919" y="22334"/>
                        </a:cubicBezTo>
                        <a:cubicBezTo>
                          <a:pt x="119460" y="25509"/>
                          <a:pt x="140494" y="31859"/>
                          <a:pt x="140494" y="31859"/>
                        </a:cubicBezTo>
                        <a:lnTo>
                          <a:pt x="140494" y="31859"/>
                        </a:lnTo>
                      </a:path>
                    </a:pathLst>
                  </a:custGeom>
                  <a:ln w="76200">
                    <a:solidFill>
                      <a:srgbClr val="0070C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89" name="Полилиния 188"/>
                  <p:cNvSpPr/>
                  <p:nvPr/>
                </p:nvSpPr>
                <p:spPr>
                  <a:xfrm>
                    <a:off x="6933453" y="4820347"/>
                    <a:ext cx="140494" cy="39002"/>
                  </a:xfrm>
                  <a:custGeom>
                    <a:avLst/>
                    <a:gdLst>
                      <a:gd name="connsiteX0" fmla="*/ 0 w 140494"/>
                      <a:gd name="connsiteY0" fmla="*/ 39002 h 39002"/>
                      <a:gd name="connsiteX1" fmla="*/ 71437 w 140494"/>
                      <a:gd name="connsiteY1" fmla="*/ 902 h 39002"/>
                      <a:gd name="connsiteX2" fmla="*/ 95250 w 140494"/>
                      <a:gd name="connsiteY2" fmla="*/ 12809 h 39002"/>
                      <a:gd name="connsiteX3" fmla="*/ 111919 w 140494"/>
                      <a:gd name="connsiteY3" fmla="*/ 22334 h 39002"/>
                      <a:gd name="connsiteX4" fmla="*/ 140494 w 140494"/>
                      <a:gd name="connsiteY4" fmla="*/ 31859 h 39002"/>
                      <a:gd name="connsiteX5" fmla="*/ 140494 w 140494"/>
                      <a:gd name="connsiteY5" fmla="*/ 31859 h 39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0494" h="39002">
                        <a:moveTo>
                          <a:pt x="0" y="39002"/>
                        </a:moveTo>
                        <a:cubicBezTo>
                          <a:pt x="27781" y="22134"/>
                          <a:pt x="55562" y="5267"/>
                          <a:pt x="71437" y="902"/>
                        </a:cubicBezTo>
                        <a:cubicBezTo>
                          <a:pt x="87312" y="-3464"/>
                          <a:pt x="88503" y="9237"/>
                          <a:pt x="95250" y="12809"/>
                        </a:cubicBezTo>
                        <a:cubicBezTo>
                          <a:pt x="101997" y="16381"/>
                          <a:pt x="104378" y="19159"/>
                          <a:pt x="111919" y="22334"/>
                        </a:cubicBezTo>
                        <a:cubicBezTo>
                          <a:pt x="119460" y="25509"/>
                          <a:pt x="140494" y="31859"/>
                          <a:pt x="140494" y="31859"/>
                        </a:cubicBezTo>
                        <a:lnTo>
                          <a:pt x="140494" y="31859"/>
                        </a:lnTo>
                      </a:path>
                    </a:pathLst>
                  </a:cu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0" name="Полилиния 189"/>
                  <p:cNvSpPr/>
                  <p:nvPr/>
                </p:nvSpPr>
                <p:spPr>
                  <a:xfrm>
                    <a:off x="6933453" y="4793703"/>
                    <a:ext cx="140494" cy="39002"/>
                  </a:xfrm>
                  <a:custGeom>
                    <a:avLst/>
                    <a:gdLst>
                      <a:gd name="connsiteX0" fmla="*/ 0 w 140494"/>
                      <a:gd name="connsiteY0" fmla="*/ 39002 h 39002"/>
                      <a:gd name="connsiteX1" fmla="*/ 71437 w 140494"/>
                      <a:gd name="connsiteY1" fmla="*/ 902 h 39002"/>
                      <a:gd name="connsiteX2" fmla="*/ 95250 w 140494"/>
                      <a:gd name="connsiteY2" fmla="*/ 12809 h 39002"/>
                      <a:gd name="connsiteX3" fmla="*/ 111919 w 140494"/>
                      <a:gd name="connsiteY3" fmla="*/ 22334 h 39002"/>
                      <a:gd name="connsiteX4" fmla="*/ 140494 w 140494"/>
                      <a:gd name="connsiteY4" fmla="*/ 31859 h 39002"/>
                      <a:gd name="connsiteX5" fmla="*/ 140494 w 140494"/>
                      <a:gd name="connsiteY5" fmla="*/ 31859 h 39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0494" h="39002">
                        <a:moveTo>
                          <a:pt x="0" y="39002"/>
                        </a:moveTo>
                        <a:cubicBezTo>
                          <a:pt x="27781" y="22134"/>
                          <a:pt x="55562" y="5267"/>
                          <a:pt x="71437" y="902"/>
                        </a:cubicBezTo>
                        <a:cubicBezTo>
                          <a:pt x="87312" y="-3464"/>
                          <a:pt x="88503" y="9237"/>
                          <a:pt x="95250" y="12809"/>
                        </a:cubicBezTo>
                        <a:cubicBezTo>
                          <a:pt x="101997" y="16381"/>
                          <a:pt x="104378" y="19159"/>
                          <a:pt x="111919" y="22334"/>
                        </a:cubicBezTo>
                        <a:cubicBezTo>
                          <a:pt x="119460" y="25509"/>
                          <a:pt x="140494" y="31859"/>
                          <a:pt x="140494" y="31859"/>
                        </a:cubicBezTo>
                        <a:lnTo>
                          <a:pt x="140494" y="31859"/>
                        </a:lnTo>
                      </a:path>
                    </a:pathLst>
                  </a:custGeom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1" name="Полилиния 190"/>
                  <p:cNvSpPr/>
                  <p:nvPr/>
                </p:nvSpPr>
                <p:spPr>
                  <a:xfrm>
                    <a:off x="6939010" y="4844987"/>
                    <a:ext cx="140494" cy="39002"/>
                  </a:xfrm>
                  <a:custGeom>
                    <a:avLst/>
                    <a:gdLst>
                      <a:gd name="connsiteX0" fmla="*/ 0 w 140494"/>
                      <a:gd name="connsiteY0" fmla="*/ 39002 h 39002"/>
                      <a:gd name="connsiteX1" fmla="*/ 71437 w 140494"/>
                      <a:gd name="connsiteY1" fmla="*/ 902 h 39002"/>
                      <a:gd name="connsiteX2" fmla="*/ 95250 w 140494"/>
                      <a:gd name="connsiteY2" fmla="*/ 12809 h 39002"/>
                      <a:gd name="connsiteX3" fmla="*/ 111919 w 140494"/>
                      <a:gd name="connsiteY3" fmla="*/ 22334 h 39002"/>
                      <a:gd name="connsiteX4" fmla="*/ 140494 w 140494"/>
                      <a:gd name="connsiteY4" fmla="*/ 31859 h 39002"/>
                      <a:gd name="connsiteX5" fmla="*/ 140494 w 140494"/>
                      <a:gd name="connsiteY5" fmla="*/ 31859 h 390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40494" h="39002">
                        <a:moveTo>
                          <a:pt x="0" y="39002"/>
                        </a:moveTo>
                        <a:cubicBezTo>
                          <a:pt x="27781" y="22134"/>
                          <a:pt x="55562" y="5267"/>
                          <a:pt x="71437" y="902"/>
                        </a:cubicBezTo>
                        <a:cubicBezTo>
                          <a:pt x="87312" y="-3464"/>
                          <a:pt x="88503" y="9237"/>
                          <a:pt x="95250" y="12809"/>
                        </a:cubicBezTo>
                        <a:cubicBezTo>
                          <a:pt x="101997" y="16381"/>
                          <a:pt x="104378" y="19159"/>
                          <a:pt x="111919" y="22334"/>
                        </a:cubicBezTo>
                        <a:cubicBezTo>
                          <a:pt x="119460" y="25509"/>
                          <a:pt x="140494" y="31859"/>
                          <a:pt x="140494" y="31859"/>
                        </a:cubicBezTo>
                        <a:lnTo>
                          <a:pt x="140494" y="31859"/>
                        </a:lnTo>
                      </a:path>
                    </a:pathLst>
                  </a:custGeom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2" name="Блок-схема: узел 191"/>
                  <p:cNvSpPr/>
                  <p:nvPr/>
                </p:nvSpPr>
                <p:spPr>
                  <a:xfrm>
                    <a:off x="6884506" y="4825536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94" name="Полилиния 193"/>
                  <p:cNvSpPr/>
                  <p:nvPr/>
                </p:nvSpPr>
                <p:spPr>
                  <a:xfrm>
                    <a:off x="6056768" y="2302840"/>
                    <a:ext cx="181070" cy="32954"/>
                  </a:xfrm>
                  <a:custGeom>
                    <a:avLst/>
                    <a:gdLst>
                      <a:gd name="connsiteX0" fmla="*/ 0 w 181070"/>
                      <a:gd name="connsiteY0" fmla="*/ 32954 h 32954"/>
                      <a:gd name="connsiteX1" fmla="*/ 90535 w 181070"/>
                      <a:gd name="connsiteY1" fmla="*/ 1267 h 32954"/>
                      <a:gd name="connsiteX2" fmla="*/ 144856 w 181070"/>
                      <a:gd name="connsiteY2" fmla="*/ 5794 h 32954"/>
                      <a:gd name="connsiteX3" fmla="*/ 181070 w 181070"/>
                      <a:gd name="connsiteY3" fmla="*/ 1267 h 3295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81070" h="32954">
                        <a:moveTo>
                          <a:pt x="0" y="32954"/>
                        </a:moveTo>
                        <a:cubicBezTo>
                          <a:pt x="33196" y="19374"/>
                          <a:pt x="66392" y="5794"/>
                          <a:pt x="90535" y="1267"/>
                        </a:cubicBezTo>
                        <a:cubicBezTo>
                          <a:pt x="114678" y="-3260"/>
                          <a:pt x="129767" y="5794"/>
                          <a:pt x="144856" y="5794"/>
                        </a:cubicBezTo>
                        <a:cubicBezTo>
                          <a:pt x="159945" y="5794"/>
                          <a:pt x="170507" y="3530"/>
                          <a:pt x="181070" y="1267"/>
                        </a:cubicBezTo>
                      </a:path>
                    </a:pathLst>
                  </a:custGeom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195" name="Полилиния 194"/>
                  <p:cNvSpPr/>
                  <p:nvPr/>
                </p:nvSpPr>
                <p:spPr>
                  <a:xfrm>
                    <a:off x="5565775" y="2552700"/>
                    <a:ext cx="335021" cy="355600"/>
                  </a:xfrm>
                  <a:custGeom>
                    <a:avLst/>
                    <a:gdLst>
                      <a:gd name="connsiteX0" fmla="*/ 0 w 335021"/>
                      <a:gd name="connsiteY0" fmla="*/ 0 h 355600"/>
                      <a:gd name="connsiteX1" fmla="*/ 63500 w 335021"/>
                      <a:gd name="connsiteY1" fmla="*/ 19050 h 355600"/>
                      <a:gd name="connsiteX2" fmla="*/ 79375 w 335021"/>
                      <a:gd name="connsiteY2" fmla="*/ 34925 h 355600"/>
                      <a:gd name="connsiteX3" fmla="*/ 98425 w 335021"/>
                      <a:gd name="connsiteY3" fmla="*/ 57150 h 355600"/>
                      <a:gd name="connsiteX4" fmla="*/ 117475 w 335021"/>
                      <a:gd name="connsiteY4" fmla="*/ 82550 h 355600"/>
                      <a:gd name="connsiteX5" fmla="*/ 130175 w 335021"/>
                      <a:gd name="connsiteY5" fmla="*/ 101600 h 355600"/>
                      <a:gd name="connsiteX6" fmla="*/ 165100 w 335021"/>
                      <a:gd name="connsiteY6" fmla="*/ 120650 h 355600"/>
                      <a:gd name="connsiteX7" fmla="*/ 196850 w 335021"/>
                      <a:gd name="connsiteY7" fmla="*/ 127000 h 355600"/>
                      <a:gd name="connsiteX8" fmla="*/ 219075 w 335021"/>
                      <a:gd name="connsiteY8" fmla="*/ 149225 h 355600"/>
                      <a:gd name="connsiteX9" fmla="*/ 254000 w 335021"/>
                      <a:gd name="connsiteY9" fmla="*/ 171450 h 355600"/>
                      <a:gd name="connsiteX10" fmla="*/ 276225 w 335021"/>
                      <a:gd name="connsiteY10" fmla="*/ 190500 h 355600"/>
                      <a:gd name="connsiteX11" fmla="*/ 282575 w 335021"/>
                      <a:gd name="connsiteY11" fmla="*/ 219075 h 355600"/>
                      <a:gd name="connsiteX12" fmla="*/ 298450 w 335021"/>
                      <a:gd name="connsiteY12" fmla="*/ 250825 h 355600"/>
                      <a:gd name="connsiteX13" fmla="*/ 311150 w 335021"/>
                      <a:gd name="connsiteY13" fmla="*/ 260350 h 355600"/>
                      <a:gd name="connsiteX14" fmla="*/ 333375 w 335021"/>
                      <a:gd name="connsiteY14" fmla="*/ 298450 h 355600"/>
                      <a:gd name="connsiteX15" fmla="*/ 333375 w 335021"/>
                      <a:gd name="connsiteY15" fmla="*/ 333375 h 355600"/>
                      <a:gd name="connsiteX16" fmla="*/ 333375 w 335021"/>
                      <a:gd name="connsiteY16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35021" h="355600">
                        <a:moveTo>
                          <a:pt x="0" y="0"/>
                        </a:moveTo>
                        <a:cubicBezTo>
                          <a:pt x="25135" y="6614"/>
                          <a:pt x="50271" y="13229"/>
                          <a:pt x="63500" y="19050"/>
                        </a:cubicBezTo>
                        <a:cubicBezTo>
                          <a:pt x="76729" y="24871"/>
                          <a:pt x="73554" y="28575"/>
                          <a:pt x="79375" y="34925"/>
                        </a:cubicBezTo>
                        <a:cubicBezTo>
                          <a:pt x="85196" y="41275"/>
                          <a:pt x="92075" y="49213"/>
                          <a:pt x="98425" y="57150"/>
                        </a:cubicBezTo>
                        <a:cubicBezTo>
                          <a:pt x="104775" y="65087"/>
                          <a:pt x="112183" y="75142"/>
                          <a:pt x="117475" y="82550"/>
                        </a:cubicBezTo>
                        <a:cubicBezTo>
                          <a:pt x="122767" y="89958"/>
                          <a:pt x="122238" y="95250"/>
                          <a:pt x="130175" y="101600"/>
                        </a:cubicBezTo>
                        <a:cubicBezTo>
                          <a:pt x="138112" y="107950"/>
                          <a:pt x="153988" y="116417"/>
                          <a:pt x="165100" y="120650"/>
                        </a:cubicBezTo>
                        <a:cubicBezTo>
                          <a:pt x="176213" y="124883"/>
                          <a:pt x="187854" y="122238"/>
                          <a:pt x="196850" y="127000"/>
                        </a:cubicBezTo>
                        <a:cubicBezTo>
                          <a:pt x="205846" y="131762"/>
                          <a:pt x="209550" y="141817"/>
                          <a:pt x="219075" y="149225"/>
                        </a:cubicBezTo>
                        <a:cubicBezTo>
                          <a:pt x="228600" y="156633"/>
                          <a:pt x="244475" y="164571"/>
                          <a:pt x="254000" y="171450"/>
                        </a:cubicBezTo>
                        <a:cubicBezTo>
                          <a:pt x="263525" y="178329"/>
                          <a:pt x="271463" y="182563"/>
                          <a:pt x="276225" y="190500"/>
                        </a:cubicBezTo>
                        <a:cubicBezTo>
                          <a:pt x="280988" y="198438"/>
                          <a:pt x="278871" y="209021"/>
                          <a:pt x="282575" y="219075"/>
                        </a:cubicBezTo>
                        <a:cubicBezTo>
                          <a:pt x="286279" y="229129"/>
                          <a:pt x="298450" y="250825"/>
                          <a:pt x="298450" y="250825"/>
                        </a:cubicBezTo>
                        <a:cubicBezTo>
                          <a:pt x="303212" y="257704"/>
                          <a:pt x="305329" y="252413"/>
                          <a:pt x="311150" y="260350"/>
                        </a:cubicBezTo>
                        <a:cubicBezTo>
                          <a:pt x="316971" y="268287"/>
                          <a:pt x="329671" y="286279"/>
                          <a:pt x="333375" y="298450"/>
                        </a:cubicBezTo>
                        <a:cubicBezTo>
                          <a:pt x="337079" y="310621"/>
                          <a:pt x="333375" y="333375"/>
                          <a:pt x="333375" y="333375"/>
                        </a:cubicBezTo>
                        <a:lnTo>
                          <a:pt x="333375" y="355600"/>
                        </a:ln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96" name="Полилиния 195"/>
                  <p:cNvSpPr/>
                  <p:nvPr/>
                </p:nvSpPr>
                <p:spPr>
                  <a:xfrm>
                    <a:off x="5483697" y="2542113"/>
                    <a:ext cx="167489" cy="68571"/>
                  </a:xfrm>
                  <a:custGeom>
                    <a:avLst/>
                    <a:gdLst>
                      <a:gd name="connsiteX0" fmla="*/ 0 w 167489"/>
                      <a:gd name="connsiteY0" fmla="*/ 0 h 68571"/>
                      <a:gd name="connsiteX1" fmla="*/ 27160 w 167489"/>
                      <a:gd name="connsiteY1" fmla="*/ 58848 h 68571"/>
                      <a:gd name="connsiteX2" fmla="*/ 63374 w 167489"/>
                      <a:gd name="connsiteY2" fmla="*/ 67901 h 68571"/>
                      <a:gd name="connsiteX3" fmla="*/ 104114 w 167489"/>
                      <a:gd name="connsiteY3" fmla="*/ 67901 h 68571"/>
                      <a:gd name="connsiteX4" fmla="*/ 167489 w 167489"/>
                      <a:gd name="connsiteY4" fmla="*/ 67901 h 685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7489" h="68571">
                        <a:moveTo>
                          <a:pt x="0" y="0"/>
                        </a:moveTo>
                        <a:cubicBezTo>
                          <a:pt x="8299" y="23765"/>
                          <a:pt x="16598" y="47531"/>
                          <a:pt x="27160" y="58848"/>
                        </a:cubicBezTo>
                        <a:cubicBezTo>
                          <a:pt x="37722" y="70165"/>
                          <a:pt x="50548" y="66392"/>
                          <a:pt x="63374" y="67901"/>
                        </a:cubicBezTo>
                        <a:cubicBezTo>
                          <a:pt x="76200" y="69410"/>
                          <a:pt x="104114" y="67901"/>
                          <a:pt x="104114" y="67901"/>
                        </a:cubicBezTo>
                        <a:lnTo>
                          <a:pt x="167489" y="67901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97" name="Полилиния 196"/>
                  <p:cNvSpPr/>
                  <p:nvPr/>
                </p:nvSpPr>
                <p:spPr>
                  <a:xfrm>
                    <a:off x="5574930" y="2529734"/>
                    <a:ext cx="355130" cy="390525"/>
                  </a:xfrm>
                  <a:custGeom>
                    <a:avLst/>
                    <a:gdLst>
                      <a:gd name="connsiteX0" fmla="*/ 0 w 335021"/>
                      <a:gd name="connsiteY0" fmla="*/ 0 h 355600"/>
                      <a:gd name="connsiteX1" fmla="*/ 63500 w 335021"/>
                      <a:gd name="connsiteY1" fmla="*/ 19050 h 355600"/>
                      <a:gd name="connsiteX2" fmla="*/ 79375 w 335021"/>
                      <a:gd name="connsiteY2" fmla="*/ 34925 h 355600"/>
                      <a:gd name="connsiteX3" fmla="*/ 98425 w 335021"/>
                      <a:gd name="connsiteY3" fmla="*/ 57150 h 355600"/>
                      <a:gd name="connsiteX4" fmla="*/ 117475 w 335021"/>
                      <a:gd name="connsiteY4" fmla="*/ 82550 h 355600"/>
                      <a:gd name="connsiteX5" fmla="*/ 130175 w 335021"/>
                      <a:gd name="connsiteY5" fmla="*/ 101600 h 355600"/>
                      <a:gd name="connsiteX6" fmla="*/ 165100 w 335021"/>
                      <a:gd name="connsiteY6" fmla="*/ 120650 h 355600"/>
                      <a:gd name="connsiteX7" fmla="*/ 196850 w 335021"/>
                      <a:gd name="connsiteY7" fmla="*/ 127000 h 355600"/>
                      <a:gd name="connsiteX8" fmla="*/ 219075 w 335021"/>
                      <a:gd name="connsiteY8" fmla="*/ 149225 h 355600"/>
                      <a:gd name="connsiteX9" fmla="*/ 254000 w 335021"/>
                      <a:gd name="connsiteY9" fmla="*/ 171450 h 355600"/>
                      <a:gd name="connsiteX10" fmla="*/ 276225 w 335021"/>
                      <a:gd name="connsiteY10" fmla="*/ 190500 h 355600"/>
                      <a:gd name="connsiteX11" fmla="*/ 282575 w 335021"/>
                      <a:gd name="connsiteY11" fmla="*/ 219075 h 355600"/>
                      <a:gd name="connsiteX12" fmla="*/ 298450 w 335021"/>
                      <a:gd name="connsiteY12" fmla="*/ 250825 h 355600"/>
                      <a:gd name="connsiteX13" fmla="*/ 311150 w 335021"/>
                      <a:gd name="connsiteY13" fmla="*/ 260350 h 355600"/>
                      <a:gd name="connsiteX14" fmla="*/ 333375 w 335021"/>
                      <a:gd name="connsiteY14" fmla="*/ 298450 h 355600"/>
                      <a:gd name="connsiteX15" fmla="*/ 333375 w 335021"/>
                      <a:gd name="connsiteY15" fmla="*/ 333375 h 355600"/>
                      <a:gd name="connsiteX16" fmla="*/ 333375 w 335021"/>
                      <a:gd name="connsiteY16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35021" h="355600">
                        <a:moveTo>
                          <a:pt x="0" y="0"/>
                        </a:moveTo>
                        <a:cubicBezTo>
                          <a:pt x="25135" y="6614"/>
                          <a:pt x="50271" y="13229"/>
                          <a:pt x="63500" y="19050"/>
                        </a:cubicBezTo>
                        <a:cubicBezTo>
                          <a:pt x="76729" y="24871"/>
                          <a:pt x="73554" y="28575"/>
                          <a:pt x="79375" y="34925"/>
                        </a:cubicBezTo>
                        <a:cubicBezTo>
                          <a:pt x="85196" y="41275"/>
                          <a:pt x="92075" y="49213"/>
                          <a:pt x="98425" y="57150"/>
                        </a:cubicBezTo>
                        <a:cubicBezTo>
                          <a:pt x="104775" y="65087"/>
                          <a:pt x="112183" y="75142"/>
                          <a:pt x="117475" y="82550"/>
                        </a:cubicBezTo>
                        <a:cubicBezTo>
                          <a:pt x="122767" y="89958"/>
                          <a:pt x="122238" y="95250"/>
                          <a:pt x="130175" y="101600"/>
                        </a:cubicBezTo>
                        <a:cubicBezTo>
                          <a:pt x="138112" y="107950"/>
                          <a:pt x="153988" y="116417"/>
                          <a:pt x="165100" y="120650"/>
                        </a:cubicBezTo>
                        <a:cubicBezTo>
                          <a:pt x="176213" y="124883"/>
                          <a:pt x="187854" y="122238"/>
                          <a:pt x="196850" y="127000"/>
                        </a:cubicBezTo>
                        <a:cubicBezTo>
                          <a:pt x="205846" y="131762"/>
                          <a:pt x="209550" y="141817"/>
                          <a:pt x="219075" y="149225"/>
                        </a:cubicBezTo>
                        <a:cubicBezTo>
                          <a:pt x="228600" y="156633"/>
                          <a:pt x="244475" y="164571"/>
                          <a:pt x="254000" y="171450"/>
                        </a:cubicBezTo>
                        <a:cubicBezTo>
                          <a:pt x="263525" y="178329"/>
                          <a:pt x="271463" y="182563"/>
                          <a:pt x="276225" y="190500"/>
                        </a:cubicBezTo>
                        <a:cubicBezTo>
                          <a:pt x="280988" y="198438"/>
                          <a:pt x="278871" y="209021"/>
                          <a:pt x="282575" y="219075"/>
                        </a:cubicBezTo>
                        <a:cubicBezTo>
                          <a:pt x="286279" y="229129"/>
                          <a:pt x="298450" y="250825"/>
                          <a:pt x="298450" y="250825"/>
                        </a:cubicBezTo>
                        <a:cubicBezTo>
                          <a:pt x="303212" y="257704"/>
                          <a:pt x="305329" y="252413"/>
                          <a:pt x="311150" y="260350"/>
                        </a:cubicBezTo>
                        <a:cubicBezTo>
                          <a:pt x="316971" y="268287"/>
                          <a:pt x="329671" y="286279"/>
                          <a:pt x="333375" y="298450"/>
                        </a:cubicBezTo>
                        <a:cubicBezTo>
                          <a:pt x="337079" y="310621"/>
                          <a:pt x="333375" y="333375"/>
                          <a:pt x="333375" y="333375"/>
                        </a:cubicBezTo>
                        <a:lnTo>
                          <a:pt x="333375" y="355600"/>
                        </a:ln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98" name="Полилиния 197"/>
                  <p:cNvSpPr/>
                  <p:nvPr/>
                </p:nvSpPr>
                <p:spPr>
                  <a:xfrm>
                    <a:off x="5565775" y="2555505"/>
                    <a:ext cx="335021" cy="355600"/>
                  </a:xfrm>
                  <a:custGeom>
                    <a:avLst/>
                    <a:gdLst>
                      <a:gd name="connsiteX0" fmla="*/ 0 w 335021"/>
                      <a:gd name="connsiteY0" fmla="*/ 0 h 355600"/>
                      <a:gd name="connsiteX1" fmla="*/ 63500 w 335021"/>
                      <a:gd name="connsiteY1" fmla="*/ 19050 h 355600"/>
                      <a:gd name="connsiteX2" fmla="*/ 79375 w 335021"/>
                      <a:gd name="connsiteY2" fmla="*/ 34925 h 355600"/>
                      <a:gd name="connsiteX3" fmla="*/ 98425 w 335021"/>
                      <a:gd name="connsiteY3" fmla="*/ 57150 h 355600"/>
                      <a:gd name="connsiteX4" fmla="*/ 117475 w 335021"/>
                      <a:gd name="connsiteY4" fmla="*/ 82550 h 355600"/>
                      <a:gd name="connsiteX5" fmla="*/ 130175 w 335021"/>
                      <a:gd name="connsiteY5" fmla="*/ 101600 h 355600"/>
                      <a:gd name="connsiteX6" fmla="*/ 165100 w 335021"/>
                      <a:gd name="connsiteY6" fmla="*/ 120650 h 355600"/>
                      <a:gd name="connsiteX7" fmla="*/ 196850 w 335021"/>
                      <a:gd name="connsiteY7" fmla="*/ 127000 h 355600"/>
                      <a:gd name="connsiteX8" fmla="*/ 219075 w 335021"/>
                      <a:gd name="connsiteY8" fmla="*/ 149225 h 355600"/>
                      <a:gd name="connsiteX9" fmla="*/ 254000 w 335021"/>
                      <a:gd name="connsiteY9" fmla="*/ 171450 h 355600"/>
                      <a:gd name="connsiteX10" fmla="*/ 276225 w 335021"/>
                      <a:gd name="connsiteY10" fmla="*/ 190500 h 355600"/>
                      <a:gd name="connsiteX11" fmla="*/ 282575 w 335021"/>
                      <a:gd name="connsiteY11" fmla="*/ 219075 h 355600"/>
                      <a:gd name="connsiteX12" fmla="*/ 298450 w 335021"/>
                      <a:gd name="connsiteY12" fmla="*/ 250825 h 355600"/>
                      <a:gd name="connsiteX13" fmla="*/ 311150 w 335021"/>
                      <a:gd name="connsiteY13" fmla="*/ 260350 h 355600"/>
                      <a:gd name="connsiteX14" fmla="*/ 333375 w 335021"/>
                      <a:gd name="connsiteY14" fmla="*/ 298450 h 355600"/>
                      <a:gd name="connsiteX15" fmla="*/ 333375 w 335021"/>
                      <a:gd name="connsiteY15" fmla="*/ 333375 h 355600"/>
                      <a:gd name="connsiteX16" fmla="*/ 333375 w 335021"/>
                      <a:gd name="connsiteY16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35021" h="355600">
                        <a:moveTo>
                          <a:pt x="0" y="0"/>
                        </a:moveTo>
                        <a:cubicBezTo>
                          <a:pt x="25135" y="6614"/>
                          <a:pt x="50271" y="13229"/>
                          <a:pt x="63500" y="19050"/>
                        </a:cubicBezTo>
                        <a:cubicBezTo>
                          <a:pt x="76729" y="24871"/>
                          <a:pt x="73554" y="28575"/>
                          <a:pt x="79375" y="34925"/>
                        </a:cubicBezTo>
                        <a:cubicBezTo>
                          <a:pt x="85196" y="41275"/>
                          <a:pt x="92075" y="49213"/>
                          <a:pt x="98425" y="57150"/>
                        </a:cubicBezTo>
                        <a:cubicBezTo>
                          <a:pt x="104775" y="65087"/>
                          <a:pt x="112183" y="75142"/>
                          <a:pt x="117475" y="82550"/>
                        </a:cubicBezTo>
                        <a:cubicBezTo>
                          <a:pt x="122767" y="89958"/>
                          <a:pt x="122238" y="95250"/>
                          <a:pt x="130175" y="101600"/>
                        </a:cubicBezTo>
                        <a:cubicBezTo>
                          <a:pt x="138112" y="107950"/>
                          <a:pt x="153988" y="116417"/>
                          <a:pt x="165100" y="120650"/>
                        </a:cubicBezTo>
                        <a:cubicBezTo>
                          <a:pt x="176213" y="124883"/>
                          <a:pt x="187854" y="122238"/>
                          <a:pt x="196850" y="127000"/>
                        </a:cubicBezTo>
                        <a:cubicBezTo>
                          <a:pt x="205846" y="131762"/>
                          <a:pt x="209550" y="141817"/>
                          <a:pt x="219075" y="149225"/>
                        </a:cubicBezTo>
                        <a:cubicBezTo>
                          <a:pt x="228600" y="156633"/>
                          <a:pt x="244475" y="164571"/>
                          <a:pt x="254000" y="171450"/>
                        </a:cubicBezTo>
                        <a:cubicBezTo>
                          <a:pt x="263525" y="178329"/>
                          <a:pt x="271463" y="182563"/>
                          <a:pt x="276225" y="190500"/>
                        </a:cubicBezTo>
                        <a:cubicBezTo>
                          <a:pt x="280988" y="198438"/>
                          <a:pt x="278871" y="209021"/>
                          <a:pt x="282575" y="219075"/>
                        </a:cubicBezTo>
                        <a:cubicBezTo>
                          <a:pt x="286279" y="229129"/>
                          <a:pt x="298450" y="250825"/>
                          <a:pt x="298450" y="250825"/>
                        </a:cubicBezTo>
                        <a:cubicBezTo>
                          <a:pt x="303212" y="257704"/>
                          <a:pt x="305329" y="252413"/>
                          <a:pt x="311150" y="260350"/>
                        </a:cubicBezTo>
                        <a:cubicBezTo>
                          <a:pt x="316971" y="268287"/>
                          <a:pt x="329671" y="286279"/>
                          <a:pt x="333375" y="298450"/>
                        </a:cubicBezTo>
                        <a:cubicBezTo>
                          <a:pt x="337079" y="310621"/>
                          <a:pt x="333375" y="333375"/>
                          <a:pt x="333375" y="333375"/>
                        </a:cubicBezTo>
                        <a:lnTo>
                          <a:pt x="333375" y="355600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199" name="Полилиния 198"/>
                  <p:cNvSpPr/>
                  <p:nvPr/>
                </p:nvSpPr>
                <p:spPr>
                  <a:xfrm>
                    <a:off x="5549900" y="2571750"/>
                    <a:ext cx="335021" cy="355600"/>
                  </a:xfrm>
                  <a:custGeom>
                    <a:avLst/>
                    <a:gdLst>
                      <a:gd name="connsiteX0" fmla="*/ 0 w 335021"/>
                      <a:gd name="connsiteY0" fmla="*/ 0 h 355600"/>
                      <a:gd name="connsiteX1" fmla="*/ 63500 w 335021"/>
                      <a:gd name="connsiteY1" fmla="*/ 19050 h 355600"/>
                      <a:gd name="connsiteX2" fmla="*/ 79375 w 335021"/>
                      <a:gd name="connsiteY2" fmla="*/ 34925 h 355600"/>
                      <a:gd name="connsiteX3" fmla="*/ 98425 w 335021"/>
                      <a:gd name="connsiteY3" fmla="*/ 57150 h 355600"/>
                      <a:gd name="connsiteX4" fmla="*/ 117475 w 335021"/>
                      <a:gd name="connsiteY4" fmla="*/ 82550 h 355600"/>
                      <a:gd name="connsiteX5" fmla="*/ 130175 w 335021"/>
                      <a:gd name="connsiteY5" fmla="*/ 101600 h 355600"/>
                      <a:gd name="connsiteX6" fmla="*/ 165100 w 335021"/>
                      <a:gd name="connsiteY6" fmla="*/ 120650 h 355600"/>
                      <a:gd name="connsiteX7" fmla="*/ 196850 w 335021"/>
                      <a:gd name="connsiteY7" fmla="*/ 127000 h 355600"/>
                      <a:gd name="connsiteX8" fmla="*/ 219075 w 335021"/>
                      <a:gd name="connsiteY8" fmla="*/ 149225 h 355600"/>
                      <a:gd name="connsiteX9" fmla="*/ 254000 w 335021"/>
                      <a:gd name="connsiteY9" fmla="*/ 171450 h 355600"/>
                      <a:gd name="connsiteX10" fmla="*/ 276225 w 335021"/>
                      <a:gd name="connsiteY10" fmla="*/ 190500 h 355600"/>
                      <a:gd name="connsiteX11" fmla="*/ 282575 w 335021"/>
                      <a:gd name="connsiteY11" fmla="*/ 219075 h 355600"/>
                      <a:gd name="connsiteX12" fmla="*/ 298450 w 335021"/>
                      <a:gd name="connsiteY12" fmla="*/ 250825 h 355600"/>
                      <a:gd name="connsiteX13" fmla="*/ 311150 w 335021"/>
                      <a:gd name="connsiteY13" fmla="*/ 260350 h 355600"/>
                      <a:gd name="connsiteX14" fmla="*/ 333375 w 335021"/>
                      <a:gd name="connsiteY14" fmla="*/ 298450 h 355600"/>
                      <a:gd name="connsiteX15" fmla="*/ 333375 w 335021"/>
                      <a:gd name="connsiteY15" fmla="*/ 333375 h 355600"/>
                      <a:gd name="connsiteX16" fmla="*/ 333375 w 335021"/>
                      <a:gd name="connsiteY16" fmla="*/ 355600 h 355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</a:cxnLst>
                    <a:rect l="l" t="t" r="r" b="b"/>
                    <a:pathLst>
                      <a:path w="335021" h="355600">
                        <a:moveTo>
                          <a:pt x="0" y="0"/>
                        </a:moveTo>
                        <a:cubicBezTo>
                          <a:pt x="25135" y="6614"/>
                          <a:pt x="50271" y="13229"/>
                          <a:pt x="63500" y="19050"/>
                        </a:cubicBezTo>
                        <a:cubicBezTo>
                          <a:pt x="76729" y="24871"/>
                          <a:pt x="73554" y="28575"/>
                          <a:pt x="79375" y="34925"/>
                        </a:cubicBezTo>
                        <a:cubicBezTo>
                          <a:pt x="85196" y="41275"/>
                          <a:pt x="92075" y="49213"/>
                          <a:pt x="98425" y="57150"/>
                        </a:cubicBezTo>
                        <a:cubicBezTo>
                          <a:pt x="104775" y="65087"/>
                          <a:pt x="112183" y="75142"/>
                          <a:pt x="117475" y="82550"/>
                        </a:cubicBezTo>
                        <a:cubicBezTo>
                          <a:pt x="122767" y="89958"/>
                          <a:pt x="122238" y="95250"/>
                          <a:pt x="130175" y="101600"/>
                        </a:cubicBezTo>
                        <a:cubicBezTo>
                          <a:pt x="138112" y="107950"/>
                          <a:pt x="153988" y="116417"/>
                          <a:pt x="165100" y="120650"/>
                        </a:cubicBezTo>
                        <a:cubicBezTo>
                          <a:pt x="176213" y="124883"/>
                          <a:pt x="187854" y="122238"/>
                          <a:pt x="196850" y="127000"/>
                        </a:cubicBezTo>
                        <a:cubicBezTo>
                          <a:pt x="205846" y="131762"/>
                          <a:pt x="209550" y="141817"/>
                          <a:pt x="219075" y="149225"/>
                        </a:cubicBezTo>
                        <a:cubicBezTo>
                          <a:pt x="228600" y="156633"/>
                          <a:pt x="244475" y="164571"/>
                          <a:pt x="254000" y="171450"/>
                        </a:cubicBezTo>
                        <a:cubicBezTo>
                          <a:pt x="263525" y="178329"/>
                          <a:pt x="271463" y="182563"/>
                          <a:pt x="276225" y="190500"/>
                        </a:cubicBezTo>
                        <a:cubicBezTo>
                          <a:pt x="280988" y="198438"/>
                          <a:pt x="278871" y="209021"/>
                          <a:pt x="282575" y="219075"/>
                        </a:cubicBezTo>
                        <a:cubicBezTo>
                          <a:pt x="286279" y="229129"/>
                          <a:pt x="298450" y="250825"/>
                          <a:pt x="298450" y="250825"/>
                        </a:cubicBezTo>
                        <a:cubicBezTo>
                          <a:pt x="303212" y="257704"/>
                          <a:pt x="305329" y="252413"/>
                          <a:pt x="311150" y="260350"/>
                        </a:cubicBezTo>
                        <a:cubicBezTo>
                          <a:pt x="316971" y="268287"/>
                          <a:pt x="329671" y="286279"/>
                          <a:pt x="333375" y="298450"/>
                        </a:cubicBezTo>
                        <a:cubicBezTo>
                          <a:pt x="337079" y="310621"/>
                          <a:pt x="333375" y="333375"/>
                          <a:pt x="333375" y="333375"/>
                        </a:cubicBezTo>
                        <a:lnTo>
                          <a:pt x="333375" y="355600"/>
                        </a:ln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0" name="Полилиния 199"/>
                  <p:cNvSpPr/>
                  <p:nvPr/>
                </p:nvSpPr>
                <p:spPr>
                  <a:xfrm>
                    <a:off x="4882865" y="2335879"/>
                    <a:ext cx="671176" cy="204385"/>
                  </a:xfrm>
                  <a:custGeom>
                    <a:avLst/>
                    <a:gdLst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44703 w 1982739"/>
                      <a:gd name="connsiteY68" fmla="*/ 104679 h 979055"/>
                      <a:gd name="connsiteX69" fmla="*/ 104679 w 1982739"/>
                      <a:gd name="connsiteY69" fmla="*/ 104679 h 979055"/>
                      <a:gd name="connsiteX70" fmla="*/ 83127 w 1982739"/>
                      <a:gd name="connsiteY70" fmla="*/ 92364 h 979055"/>
                      <a:gd name="connsiteX71" fmla="*/ 58497 w 1982739"/>
                      <a:gd name="connsiteY71" fmla="*/ 61576 h 979055"/>
                      <a:gd name="connsiteX72" fmla="*/ 40024 w 1982739"/>
                      <a:gd name="connsiteY72" fmla="*/ 40024 h 979055"/>
                      <a:gd name="connsiteX73" fmla="*/ 9236 w 1982739"/>
                      <a:gd name="connsiteY73" fmla="*/ 9237 h 979055"/>
                      <a:gd name="connsiteX74" fmla="*/ 0 w 1982739"/>
                      <a:gd name="connsiteY74" fmla="*/ 0 h 979055"/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44703 w 1982739"/>
                      <a:gd name="connsiteY68" fmla="*/ 104679 h 979055"/>
                      <a:gd name="connsiteX69" fmla="*/ 104679 w 1982739"/>
                      <a:gd name="connsiteY69" fmla="*/ 104679 h 979055"/>
                      <a:gd name="connsiteX70" fmla="*/ 83127 w 1982739"/>
                      <a:gd name="connsiteY70" fmla="*/ 92364 h 979055"/>
                      <a:gd name="connsiteX71" fmla="*/ 58497 w 1982739"/>
                      <a:gd name="connsiteY71" fmla="*/ 61576 h 979055"/>
                      <a:gd name="connsiteX72" fmla="*/ 9236 w 1982739"/>
                      <a:gd name="connsiteY72" fmla="*/ 9237 h 979055"/>
                      <a:gd name="connsiteX73" fmla="*/ 0 w 1982739"/>
                      <a:gd name="connsiteY73" fmla="*/ 0 h 979055"/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44703 w 1982739"/>
                      <a:gd name="connsiteY68" fmla="*/ 104679 h 979055"/>
                      <a:gd name="connsiteX69" fmla="*/ 104679 w 1982739"/>
                      <a:gd name="connsiteY69" fmla="*/ 104679 h 979055"/>
                      <a:gd name="connsiteX70" fmla="*/ 58497 w 1982739"/>
                      <a:gd name="connsiteY70" fmla="*/ 61576 h 979055"/>
                      <a:gd name="connsiteX71" fmla="*/ 9236 w 1982739"/>
                      <a:gd name="connsiteY71" fmla="*/ 9237 h 979055"/>
                      <a:gd name="connsiteX72" fmla="*/ 0 w 1982739"/>
                      <a:gd name="connsiteY72" fmla="*/ 0 h 979055"/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04679 w 1982739"/>
                      <a:gd name="connsiteY68" fmla="*/ 104679 h 979055"/>
                      <a:gd name="connsiteX69" fmla="*/ 58497 w 1982739"/>
                      <a:gd name="connsiteY69" fmla="*/ 61576 h 979055"/>
                      <a:gd name="connsiteX70" fmla="*/ 9236 w 1982739"/>
                      <a:gd name="connsiteY70" fmla="*/ 9237 h 979055"/>
                      <a:gd name="connsiteX71" fmla="*/ 0 w 1982739"/>
                      <a:gd name="connsiteY71" fmla="*/ 0 h 979055"/>
                      <a:gd name="connsiteX0" fmla="*/ 1973503 w 1973503"/>
                      <a:gd name="connsiteY0" fmla="*/ 969818 h 969818"/>
                      <a:gd name="connsiteX1" fmla="*/ 1915006 w 1973503"/>
                      <a:gd name="connsiteY1" fmla="*/ 954424 h 969818"/>
                      <a:gd name="connsiteX2" fmla="*/ 1881139 w 1973503"/>
                      <a:gd name="connsiteY2" fmla="*/ 939030 h 969818"/>
                      <a:gd name="connsiteX3" fmla="*/ 1865746 w 1973503"/>
                      <a:gd name="connsiteY3" fmla="*/ 926715 h 969818"/>
                      <a:gd name="connsiteX4" fmla="*/ 1819564 w 1973503"/>
                      <a:gd name="connsiteY4" fmla="*/ 926715 h 969818"/>
                      <a:gd name="connsiteX5" fmla="*/ 1804170 w 1973503"/>
                      <a:gd name="connsiteY5" fmla="*/ 917478 h 969818"/>
                      <a:gd name="connsiteX6" fmla="*/ 1761067 w 1973503"/>
                      <a:gd name="connsiteY6" fmla="*/ 926715 h 969818"/>
                      <a:gd name="connsiteX7" fmla="*/ 1717964 w 1973503"/>
                      <a:gd name="connsiteY7" fmla="*/ 926715 h 969818"/>
                      <a:gd name="connsiteX8" fmla="*/ 1684097 w 1973503"/>
                      <a:gd name="connsiteY8" fmla="*/ 926715 h 969818"/>
                      <a:gd name="connsiteX9" fmla="*/ 1650230 w 1973503"/>
                      <a:gd name="connsiteY9" fmla="*/ 908242 h 969818"/>
                      <a:gd name="connsiteX10" fmla="*/ 1628679 w 1973503"/>
                      <a:gd name="connsiteY10" fmla="*/ 892848 h 969818"/>
                      <a:gd name="connsiteX11" fmla="*/ 1625600 w 1973503"/>
                      <a:gd name="connsiteY11" fmla="*/ 877454 h 969818"/>
                      <a:gd name="connsiteX12" fmla="*/ 1625600 w 1973503"/>
                      <a:gd name="connsiteY12" fmla="*/ 862060 h 969818"/>
                      <a:gd name="connsiteX13" fmla="*/ 1631758 w 1973503"/>
                      <a:gd name="connsiteY13" fmla="*/ 846666 h 969818"/>
                      <a:gd name="connsiteX14" fmla="*/ 1637915 w 1973503"/>
                      <a:gd name="connsiteY14" fmla="*/ 828194 h 969818"/>
                      <a:gd name="connsiteX15" fmla="*/ 1619443 w 1973503"/>
                      <a:gd name="connsiteY15" fmla="*/ 812800 h 969818"/>
                      <a:gd name="connsiteX16" fmla="*/ 1560946 w 1973503"/>
                      <a:gd name="connsiteY16" fmla="*/ 794327 h 969818"/>
                      <a:gd name="connsiteX17" fmla="*/ 1511685 w 1973503"/>
                      <a:gd name="connsiteY17" fmla="*/ 772775 h 969818"/>
                      <a:gd name="connsiteX18" fmla="*/ 1425479 w 1973503"/>
                      <a:gd name="connsiteY18" fmla="*/ 766618 h 969818"/>
                      <a:gd name="connsiteX19" fmla="*/ 1370061 w 1973503"/>
                      <a:gd name="connsiteY19" fmla="*/ 766618 h 969818"/>
                      <a:gd name="connsiteX20" fmla="*/ 1302327 w 1973503"/>
                      <a:gd name="connsiteY20" fmla="*/ 778933 h 969818"/>
                      <a:gd name="connsiteX21" fmla="*/ 1259224 w 1973503"/>
                      <a:gd name="connsiteY21" fmla="*/ 788169 h 969818"/>
                      <a:gd name="connsiteX22" fmla="*/ 1249988 w 1973503"/>
                      <a:gd name="connsiteY22" fmla="*/ 788169 h 969818"/>
                      <a:gd name="connsiteX23" fmla="*/ 1243830 w 1973503"/>
                      <a:gd name="connsiteY23" fmla="*/ 769697 h 969818"/>
                      <a:gd name="connsiteX24" fmla="*/ 1225358 w 1973503"/>
                      <a:gd name="connsiteY24" fmla="*/ 763539 h 969818"/>
                      <a:gd name="connsiteX25" fmla="*/ 1194570 w 1973503"/>
                      <a:gd name="connsiteY25" fmla="*/ 772775 h 969818"/>
                      <a:gd name="connsiteX26" fmla="*/ 1145309 w 1973503"/>
                      <a:gd name="connsiteY26" fmla="*/ 754303 h 969818"/>
                      <a:gd name="connsiteX27" fmla="*/ 1126836 w 1973503"/>
                      <a:gd name="connsiteY27" fmla="*/ 745066 h 969818"/>
                      <a:gd name="connsiteX28" fmla="*/ 1102206 w 1973503"/>
                      <a:gd name="connsiteY28" fmla="*/ 751224 h 969818"/>
                      <a:gd name="connsiteX29" fmla="*/ 1059103 w 1973503"/>
                      <a:gd name="connsiteY29" fmla="*/ 748145 h 969818"/>
                      <a:gd name="connsiteX30" fmla="*/ 1034473 w 1973503"/>
                      <a:gd name="connsiteY30" fmla="*/ 745066 h 969818"/>
                      <a:gd name="connsiteX31" fmla="*/ 1019079 w 1973503"/>
                      <a:gd name="connsiteY31" fmla="*/ 757381 h 969818"/>
                      <a:gd name="connsiteX32" fmla="*/ 997527 w 1973503"/>
                      <a:gd name="connsiteY32" fmla="*/ 763539 h 969818"/>
                      <a:gd name="connsiteX33" fmla="*/ 966739 w 1973503"/>
                      <a:gd name="connsiteY33" fmla="*/ 741987 h 969818"/>
                      <a:gd name="connsiteX34" fmla="*/ 954424 w 1973503"/>
                      <a:gd name="connsiteY34" fmla="*/ 723515 h 969818"/>
                      <a:gd name="connsiteX35" fmla="*/ 945188 w 1973503"/>
                      <a:gd name="connsiteY35" fmla="*/ 723515 h 969818"/>
                      <a:gd name="connsiteX36" fmla="*/ 939030 w 1973503"/>
                      <a:gd name="connsiteY36" fmla="*/ 738909 h 969818"/>
                      <a:gd name="connsiteX37" fmla="*/ 914400 w 1973503"/>
                      <a:gd name="connsiteY37" fmla="*/ 757381 h 969818"/>
                      <a:gd name="connsiteX38" fmla="*/ 899006 w 1973503"/>
                      <a:gd name="connsiteY38" fmla="*/ 763539 h 969818"/>
                      <a:gd name="connsiteX39" fmla="*/ 899006 w 1973503"/>
                      <a:gd name="connsiteY39" fmla="*/ 748145 h 969818"/>
                      <a:gd name="connsiteX40" fmla="*/ 895927 w 1973503"/>
                      <a:gd name="connsiteY40" fmla="*/ 723515 h 969818"/>
                      <a:gd name="connsiteX41" fmla="*/ 871297 w 1973503"/>
                      <a:gd name="connsiteY41" fmla="*/ 708121 h 969818"/>
                      <a:gd name="connsiteX42" fmla="*/ 843588 w 1973503"/>
                      <a:gd name="connsiteY42" fmla="*/ 701963 h 969818"/>
                      <a:gd name="connsiteX43" fmla="*/ 794327 w 1973503"/>
                      <a:gd name="connsiteY43" fmla="*/ 689648 h 969818"/>
                      <a:gd name="connsiteX44" fmla="*/ 751224 w 1973503"/>
                      <a:gd name="connsiteY44" fmla="*/ 677333 h 969818"/>
                      <a:gd name="connsiteX45" fmla="*/ 714279 w 1973503"/>
                      <a:gd name="connsiteY45" fmla="*/ 658860 h 969818"/>
                      <a:gd name="connsiteX46" fmla="*/ 680412 w 1973503"/>
                      <a:gd name="connsiteY46" fmla="*/ 631151 h 969818"/>
                      <a:gd name="connsiteX47" fmla="*/ 649624 w 1973503"/>
                      <a:gd name="connsiteY47" fmla="*/ 615757 h 969818"/>
                      <a:gd name="connsiteX48" fmla="*/ 618836 w 1973503"/>
                      <a:gd name="connsiteY48" fmla="*/ 615757 h 969818"/>
                      <a:gd name="connsiteX49" fmla="*/ 594206 w 1973503"/>
                      <a:gd name="connsiteY49" fmla="*/ 612678 h 969818"/>
                      <a:gd name="connsiteX50" fmla="*/ 566497 w 1973503"/>
                      <a:gd name="connsiteY50" fmla="*/ 591127 h 969818"/>
                      <a:gd name="connsiteX51" fmla="*/ 541867 w 1973503"/>
                      <a:gd name="connsiteY51" fmla="*/ 581891 h 969818"/>
                      <a:gd name="connsiteX52" fmla="*/ 514158 w 1973503"/>
                      <a:gd name="connsiteY52" fmla="*/ 578812 h 969818"/>
                      <a:gd name="connsiteX53" fmla="*/ 489527 w 1973503"/>
                      <a:gd name="connsiteY53" fmla="*/ 588048 h 969818"/>
                      <a:gd name="connsiteX54" fmla="*/ 480291 w 1973503"/>
                      <a:gd name="connsiteY54" fmla="*/ 588048 h 969818"/>
                      <a:gd name="connsiteX55" fmla="*/ 474133 w 1973503"/>
                      <a:gd name="connsiteY55" fmla="*/ 569575 h 969818"/>
                      <a:gd name="connsiteX56" fmla="*/ 455661 w 1973503"/>
                      <a:gd name="connsiteY56" fmla="*/ 514157 h 969818"/>
                      <a:gd name="connsiteX57" fmla="*/ 455661 w 1973503"/>
                      <a:gd name="connsiteY57" fmla="*/ 495684 h 969818"/>
                      <a:gd name="connsiteX58" fmla="*/ 443346 w 1973503"/>
                      <a:gd name="connsiteY58" fmla="*/ 452581 h 969818"/>
                      <a:gd name="connsiteX59" fmla="*/ 418715 w 1973503"/>
                      <a:gd name="connsiteY59" fmla="*/ 391006 h 969818"/>
                      <a:gd name="connsiteX60" fmla="*/ 394085 w 1973503"/>
                      <a:gd name="connsiteY60" fmla="*/ 329430 h 969818"/>
                      <a:gd name="connsiteX61" fmla="*/ 378691 w 1973503"/>
                      <a:gd name="connsiteY61" fmla="*/ 286327 h 969818"/>
                      <a:gd name="connsiteX62" fmla="*/ 360218 w 1973503"/>
                      <a:gd name="connsiteY62" fmla="*/ 246303 h 969818"/>
                      <a:gd name="connsiteX63" fmla="*/ 335588 w 1973503"/>
                      <a:gd name="connsiteY63" fmla="*/ 206278 h 969818"/>
                      <a:gd name="connsiteX64" fmla="*/ 286327 w 1973503"/>
                      <a:gd name="connsiteY64" fmla="*/ 175491 h 969818"/>
                      <a:gd name="connsiteX65" fmla="*/ 252461 w 1973503"/>
                      <a:gd name="connsiteY65" fmla="*/ 150860 h 969818"/>
                      <a:gd name="connsiteX66" fmla="*/ 209358 w 1973503"/>
                      <a:gd name="connsiteY66" fmla="*/ 123151 h 969818"/>
                      <a:gd name="connsiteX67" fmla="*/ 166255 w 1973503"/>
                      <a:gd name="connsiteY67" fmla="*/ 98521 h 969818"/>
                      <a:gd name="connsiteX68" fmla="*/ 95443 w 1973503"/>
                      <a:gd name="connsiteY68" fmla="*/ 95442 h 969818"/>
                      <a:gd name="connsiteX69" fmla="*/ 49261 w 1973503"/>
                      <a:gd name="connsiteY69" fmla="*/ 52339 h 969818"/>
                      <a:gd name="connsiteX70" fmla="*/ 0 w 1973503"/>
                      <a:gd name="connsiteY70" fmla="*/ 0 h 969818"/>
                      <a:gd name="connsiteX0" fmla="*/ 1924242 w 1924242"/>
                      <a:gd name="connsiteY0" fmla="*/ 917479 h 917479"/>
                      <a:gd name="connsiteX1" fmla="*/ 1865745 w 1924242"/>
                      <a:gd name="connsiteY1" fmla="*/ 902085 h 917479"/>
                      <a:gd name="connsiteX2" fmla="*/ 1831878 w 1924242"/>
                      <a:gd name="connsiteY2" fmla="*/ 886691 h 917479"/>
                      <a:gd name="connsiteX3" fmla="*/ 1816485 w 1924242"/>
                      <a:gd name="connsiteY3" fmla="*/ 874376 h 917479"/>
                      <a:gd name="connsiteX4" fmla="*/ 1770303 w 1924242"/>
                      <a:gd name="connsiteY4" fmla="*/ 874376 h 917479"/>
                      <a:gd name="connsiteX5" fmla="*/ 1754909 w 1924242"/>
                      <a:gd name="connsiteY5" fmla="*/ 865139 h 917479"/>
                      <a:gd name="connsiteX6" fmla="*/ 1711806 w 1924242"/>
                      <a:gd name="connsiteY6" fmla="*/ 874376 h 917479"/>
                      <a:gd name="connsiteX7" fmla="*/ 1668703 w 1924242"/>
                      <a:gd name="connsiteY7" fmla="*/ 874376 h 917479"/>
                      <a:gd name="connsiteX8" fmla="*/ 1634836 w 1924242"/>
                      <a:gd name="connsiteY8" fmla="*/ 874376 h 917479"/>
                      <a:gd name="connsiteX9" fmla="*/ 1600969 w 1924242"/>
                      <a:gd name="connsiteY9" fmla="*/ 855903 h 917479"/>
                      <a:gd name="connsiteX10" fmla="*/ 1579418 w 1924242"/>
                      <a:gd name="connsiteY10" fmla="*/ 840509 h 917479"/>
                      <a:gd name="connsiteX11" fmla="*/ 1576339 w 1924242"/>
                      <a:gd name="connsiteY11" fmla="*/ 825115 h 917479"/>
                      <a:gd name="connsiteX12" fmla="*/ 1576339 w 1924242"/>
                      <a:gd name="connsiteY12" fmla="*/ 809721 h 917479"/>
                      <a:gd name="connsiteX13" fmla="*/ 1582497 w 1924242"/>
                      <a:gd name="connsiteY13" fmla="*/ 794327 h 917479"/>
                      <a:gd name="connsiteX14" fmla="*/ 1588654 w 1924242"/>
                      <a:gd name="connsiteY14" fmla="*/ 775855 h 917479"/>
                      <a:gd name="connsiteX15" fmla="*/ 1570182 w 1924242"/>
                      <a:gd name="connsiteY15" fmla="*/ 760461 h 917479"/>
                      <a:gd name="connsiteX16" fmla="*/ 1511685 w 1924242"/>
                      <a:gd name="connsiteY16" fmla="*/ 741988 h 917479"/>
                      <a:gd name="connsiteX17" fmla="*/ 1462424 w 1924242"/>
                      <a:gd name="connsiteY17" fmla="*/ 720436 h 917479"/>
                      <a:gd name="connsiteX18" fmla="*/ 1376218 w 1924242"/>
                      <a:gd name="connsiteY18" fmla="*/ 714279 h 917479"/>
                      <a:gd name="connsiteX19" fmla="*/ 1320800 w 1924242"/>
                      <a:gd name="connsiteY19" fmla="*/ 714279 h 917479"/>
                      <a:gd name="connsiteX20" fmla="*/ 1253066 w 1924242"/>
                      <a:gd name="connsiteY20" fmla="*/ 726594 h 917479"/>
                      <a:gd name="connsiteX21" fmla="*/ 1209963 w 1924242"/>
                      <a:gd name="connsiteY21" fmla="*/ 735830 h 917479"/>
                      <a:gd name="connsiteX22" fmla="*/ 1200727 w 1924242"/>
                      <a:gd name="connsiteY22" fmla="*/ 735830 h 917479"/>
                      <a:gd name="connsiteX23" fmla="*/ 1194569 w 1924242"/>
                      <a:gd name="connsiteY23" fmla="*/ 717358 h 917479"/>
                      <a:gd name="connsiteX24" fmla="*/ 1176097 w 1924242"/>
                      <a:gd name="connsiteY24" fmla="*/ 711200 h 917479"/>
                      <a:gd name="connsiteX25" fmla="*/ 1145309 w 1924242"/>
                      <a:gd name="connsiteY25" fmla="*/ 720436 h 917479"/>
                      <a:gd name="connsiteX26" fmla="*/ 1096048 w 1924242"/>
                      <a:gd name="connsiteY26" fmla="*/ 701964 h 917479"/>
                      <a:gd name="connsiteX27" fmla="*/ 1077575 w 1924242"/>
                      <a:gd name="connsiteY27" fmla="*/ 692727 h 917479"/>
                      <a:gd name="connsiteX28" fmla="*/ 1052945 w 1924242"/>
                      <a:gd name="connsiteY28" fmla="*/ 698885 h 917479"/>
                      <a:gd name="connsiteX29" fmla="*/ 1009842 w 1924242"/>
                      <a:gd name="connsiteY29" fmla="*/ 695806 h 917479"/>
                      <a:gd name="connsiteX30" fmla="*/ 985212 w 1924242"/>
                      <a:gd name="connsiteY30" fmla="*/ 692727 h 917479"/>
                      <a:gd name="connsiteX31" fmla="*/ 969818 w 1924242"/>
                      <a:gd name="connsiteY31" fmla="*/ 705042 h 917479"/>
                      <a:gd name="connsiteX32" fmla="*/ 948266 w 1924242"/>
                      <a:gd name="connsiteY32" fmla="*/ 711200 h 917479"/>
                      <a:gd name="connsiteX33" fmla="*/ 917478 w 1924242"/>
                      <a:gd name="connsiteY33" fmla="*/ 689648 h 917479"/>
                      <a:gd name="connsiteX34" fmla="*/ 905163 w 1924242"/>
                      <a:gd name="connsiteY34" fmla="*/ 671176 h 917479"/>
                      <a:gd name="connsiteX35" fmla="*/ 895927 w 1924242"/>
                      <a:gd name="connsiteY35" fmla="*/ 671176 h 917479"/>
                      <a:gd name="connsiteX36" fmla="*/ 889769 w 1924242"/>
                      <a:gd name="connsiteY36" fmla="*/ 686570 h 917479"/>
                      <a:gd name="connsiteX37" fmla="*/ 865139 w 1924242"/>
                      <a:gd name="connsiteY37" fmla="*/ 705042 h 917479"/>
                      <a:gd name="connsiteX38" fmla="*/ 849745 w 1924242"/>
                      <a:gd name="connsiteY38" fmla="*/ 711200 h 917479"/>
                      <a:gd name="connsiteX39" fmla="*/ 849745 w 1924242"/>
                      <a:gd name="connsiteY39" fmla="*/ 695806 h 917479"/>
                      <a:gd name="connsiteX40" fmla="*/ 846666 w 1924242"/>
                      <a:gd name="connsiteY40" fmla="*/ 671176 h 917479"/>
                      <a:gd name="connsiteX41" fmla="*/ 822036 w 1924242"/>
                      <a:gd name="connsiteY41" fmla="*/ 655782 h 917479"/>
                      <a:gd name="connsiteX42" fmla="*/ 794327 w 1924242"/>
                      <a:gd name="connsiteY42" fmla="*/ 649624 h 917479"/>
                      <a:gd name="connsiteX43" fmla="*/ 745066 w 1924242"/>
                      <a:gd name="connsiteY43" fmla="*/ 637309 h 917479"/>
                      <a:gd name="connsiteX44" fmla="*/ 701963 w 1924242"/>
                      <a:gd name="connsiteY44" fmla="*/ 624994 h 917479"/>
                      <a:gd name="connsiteX45" fmla="*/ 665018 w 1924242"/>
                      <a:gd name="connsiteY45" fmla="*/ 606521 h 917479"/>
                      <a:gd name="connsiteX46" fmla="*/ 631151 w 1924242"/>
                      <a:gd name="connsiteY46" fmla="*/ 578812 h 917479"/>
                      <a:gd name="connsiteX47" fmla="*/ 600363 w 1924242"/>
                      <a:gd name="connsiteY47" fmla="*/ 563418 h 917479"/>
                      <a:gd name="connsiteX48" fmla="*/ 569575 w 1924242"/>
                      <a:gd name="connsiteY48" fmla="*/ 563418 h 917479"/>
                      <a:gd name="connsiteX49" fmla="*/ 544945 w 1924242"/>
                      <a:gd name="connsiteY49" fmla="*/ 560339 h 917479"/>
                      <a:gd name="connsiteX50" fmla="*/ 517236 w 1924242"/>
                      <a:gd name="connsiteY50" fmla="*/ 538788 h 917479"/>
                      <a:gd name="connsiteX51" fmla="*/ 492606 w 1924242"/>
                      <a:gd name="connsiteY51" fmla="*/ 529552 h 917479"/>
                      <a:gd name="connsiteX52" fmla="*/ 464897 w 1924242"/>
                      <a:gd name="connsiteY52" fmla="*/ 526473 h 917479"/>
                      <a:gd name="connsiteX53" fmla="*/ 440266 w 1924242"/>
                      <a:gd name="connsiteY53" fmla="*/ 535709 h 917479"/>
                      <a:gd name="connsiteX54" fmla="*/ 431030 w 1924242"/>
                      <a:gd name="connsiteY54" fmla="*/ 535709 h 917479"/>
                      <a:gd name="connsiteX55" fmla="*/ 424872 w 1924242"/>
                      <a:gd name="connsiteY55" fmla="*/ 517236 h 917479"/>
                      <a:gd name="connsiteX56" fmla="*/ 406400 w 1924242"/>
                      <a:gd name="connsiteY56" fmla="*/ 461818 h 917479"/>
                      <a:gd name="connsiteX57" fmla="*/ 406400 w 1924242"/>
                      <a:gd name="connsiteY57" fmla="*/ 443345 h 917479"/>
                      <a:gd name="connsiteX58" fmla="*/ 394085 w 1924242"/>
                      <a:gd name="connsiteY58" fmla="*/ 400242 h 917479"/>
                      <a:gd name="connsiteX59" fmla="*/ 369454 w 1924242"/>
                      <a:gd name="connsiteY59" fmla="*/ 338667 h 917479"/>
                      <a:gd name="connsiteX60" fmla="*/ 344824 w 1924242"/>
                      <a:gd name="connsiteY60" fmla="*/ 277091 h 917479"/>
                      <a:gd name="connsiteX61" fmla="*/ 329430 w 1924242"/>
                      <a:gd name="connsiteY61" fmla="*/ 233988 h 917479"/>
                      <a:gd name="connsiteX62" fmla="*/ 310957 w 1924242"/>
                      <a:gd name="connsiteY62" fmla="*/ 193964 h 917479"/>
                      <a:gd name="connsiteX63" fmla="*/ 286327 w 1924242"/>
                      <a:gd name="connsiteY63" fmla="*/ 153939 h 917479"/>
                      <a:gd name="connsiteX64" fmla="*/ 237066 w 1924242"/>
                      <a:gd name="connsiteY64" fmla="*/ 123152 h 917479"/>
                      <a:gd name="connsiteX65" fmla="*/ 203200 w 1924242"/>
                      <a:gd name="connsiteY65" fmla="*/ 98521 h 917479"/>
                      <a:gd name="connsiteX66" fmla="*/ 160097 w 1924242"/>
                      <a:gd name="connsiteY66" fmla="*/ 70812 h 917479"/>
                      <a:gd name="connsiteX67" fmla="*/ 116994 w 1924242"/>
                      <a:gd name="connsiteY67" fmla="*/ 46182 h 917479"/>
                      <a:gd name="connsiteX68" fmla="*/ 46182 w 1924242"/>
                      <a:gd name="connsiteY68" fmla="*/ 43103 h 917479"/>
                      <a:gd name="connsiteX69" fmla="*/ 0 w 1924242"/>
                      <a:gd name="connsiteY69" fmla="*/ 0 h 917479"/>
                      <a:gd name="connsiteX0" fmla="*/ 1924242 w 1924242"/>
                      <a:gd name="connsiteY0" fmla="*/ 917479 h 917479"/>
                      <a:gd name="connsiteX1" fmla="*/ 1865745 w 1924242"/>
                      <a:gd name="connsiteY1" fmla="*/ 902085 h 917479"/>
                      <a:gd name="connsiteX2" fmla="*/ 1831878 w 1924242"/>
                      <a:gd name="connsiteY2" fmla="*/ 886691 h 917479"/>
                      <a:gd name="connsiteX3" fmla="*/ 1816485 w 1924242"/>
                      <a:gd name="connsiteY3" fmla="*/ 874376 h 917479"/>
                      <a:gd name="connsiteX4" fmla="*/ 1770303 w 1924242"/>
                      <a:gd name="connsiteY4" fmla="*/ 874376 h 917479"/>
                      <a:gd name="connsiteX5" fmla="*/ 1754909 w 1924242"/>
                      <a:gd name="connsiteY5" fmla="*/ 865139 h 917479"/>
                      <a:gd name="connsiteX6" fmla="*/ 1711806 w 1924242"/>
                      <a:gd name="connsiteY6" fmla="*/ 874376 h 917479"/>
                      <a:gd name="connsiteX7" fmla="*/ 1668703 w 1924242"/>
                      <a:gd name="connsiteY7" fmla="*/ 874376 h 917479"/>
                      <a:gd name="connsiteX8" fmla="*/ 1634836 w 1924242"/>
                      <a:gd name="connsiteY8" fmla="*/ 874376 h 917479"/>
                      <a:gd name="connsiteX9" fmla="*/ 1600969 w 1924242"/>
                      <a:gd name="connsiteY9" fmla="*/ 855903 h 917479"/>
                      <a:gd name="connsiteX10" fmla="*/ 1579418 w 1924242"/>
                      <a:gd name="connsiteY10" fmla="*/ 840509 h 917479"/>
                      <a:gd name="connsiteX11" fmla="*/ 1576339 w 1924242"/>
                      <a:gd name="connsiteY11" fmla="*/ 825115 h 917479"/>
                      <a:gd name="connsiteX12" fmla="*/ 1576339 w 1924242"/>
                      <a:gd name="connsiteY12" fmla="*/ 809721 h 917479"/>
                      <a:gd name="connsiteX13" fmla="*/ 1582497 w 1924242"/>
                      <a:gd name="connsiteY13" fmla="*/ 794327 h 917479"/>
                      <a:gd name="connsiteX14" fmla="*/ 1588654 w 1924242"/>
                      <a:gd name="connsiteY14" fmla="*/ 775855 h 917479"/>
                      <a:gd name="connsiteX15" fmla="*/ 1570182 w 1924242"/>
                      <a:gd name="connsiteY15" fmla="*/ 760461 h 917479"/>
                      <a:gd name="connsiteX16" fmla="*/ 1511685 w 1924242"/>
                      <a:gd name="connsiteY16" fmla="*/ 741988 h 917479"/>
                      <a:gd name="connsiteX17" fmla="*/ 1462424 w 1924242"/>
                      <a:gd name="connsiteY17" fmla="*/ 720436 h 917479"/>
                      <a:gd name="connsiteX18" fmla="*/ 1376218 w 1924242"/>
                      <a:gd name="connsiteY18" fmla="*/ 714279 h 917479"/>
                      <a:gd name="connsiteX19" fmla="*/ 1320800 w 1924242"/>
                      <a:gd name="connsiteY19" fmla="*/ 714279 h 917479"/>
                      <a:gd name="connsiteX20" fmla="*/ 1253066 w 1924242"/>
                      <a:gd name="connsiteY20" fmla="*/ 726594 h 917479"/>
                      <a:gd name="connsiteX21" fmla="*/ 1209963 w 1924242"/>
                      <a:gd name="connsiteY21" fmla="*/ 735830 h 917479"/>
                      <a:gd name="connsiteX22" fmla="*/ 1200727 w 1924242"/>
                      <a:gd name="connsiteY22" fmla="*/ 735830 h 917479"/>
                      <a:gd name="connsiteX23" fmla="*/ 1194569 w 1924242"/>
                      <a:gd name="connsiteY23" fmla="*/ 717358 h 917479"/>
                      <a:gd name="connsiteX24" fmla="*/ 1176097 w 1924242"/>
                      <a:gd name="connsiteY24" fmla="*/ 711200 h 917479"/>
                      <a:gd name="connsiteX25" fmla="*/ 1145309 w 1924242"/>
                      <a:gd name="connsiteY25" fmla="*/ 720436 h 917479"/>
                      <a:gd name="connsiteX26" fmla="*/ 1096048 w 1924242"/>
                      <a:gd name="connsiteY26" fmla="*/ 701964 h 917479"/>
                      <a:gd name="connsiteX27" fmla="*/ 1077575 w 1924242"/>
                      <a:gd name="connsiteY27" fmla="*/ 692727 h 917479"/>
                      <a:gd name="connsiteX28" fmla="*/ 1052945 w 1924242"/>
                      <a:gd name="connsiteY28" fmla="*/ 698885 h 917479"/>
                      <a:gd name="connsiteX29" fmla="*/ 1009842 w 1924242"/>
                      <a:gd name="connsiteY29" fmla="*/ 695806 h 917479"/>
                      <a:gd name="connsiteX30" fmla="*/ 985212 w 1924242"/>
                      <a:gd name="connsiteY30" fmla="*/ 692727 h 917479"/>
                      <a:gd name="connsiteX31" fmla="*/ 969818 w 1924242"/>
                      <a:gd name="connsiteY31" fmla="*/ 705042 h 917479"/>
                      <a:gd name="connsiteX32" fmla="*/ 948266 w 1924242"/>
                      <a:gd name="connsiteY32" fmla="*/ 711200 h 917479"/>
                      <a:gd name="connsiteX33" fmla="*/ 917478 w 1924242"/>
                      <a:gd name="connsiteY33" fmla="*/ 689648 h 917479"/>
                      <a:gd name="connsiteX34" fmla="*/ 905163 w 1924242"/>
                      <a:gd name="connsiteY34" fmla="*/ 671176 h 917479"/>
                      <a:gd name="connsiteX35" fmla="*/ 895927 w 1924242"/>
                      <a:gd name="connsiteY35" fmla="*/ 671176 h 917479"/>
                      <a:gd name="connsiteX36" fmla="*/ 889769 w 1924242"/>
                      <a:gd name="connsiteY36" fmla="*/ 686570 h 917479"/>
                      <a:gd name="connsiteX37" fmla="*/ 865139 w 1924242"/>
                      <a:gd name="connsiteY37" fmla="*/ 705042 h 917479"/>
                      <a:gd name="connsiteX38" fmla="*/ 849745 w 1924242"/>
                      <a:gd name="connsiteY38" fmla="*/ 711200 h 917479"/>
                      <a:gd name="connsiteX39" fmla="*/ 849745 w 1924242"/>
                      <a:gd name="connsiteY39" fmla="*/ 695806 h 917479"/>
                      <a:gd name="connsiteX40" fmla="*/ 846666 w 1924242"/>
                      <a:gd name="connsiteY40" fmla="*/ 671176 h 917479"/>
                      <a:gd name="connsiteX41" fmla="*/ 822036 w 1924242"/>
                      <a:gd name="connsiteY41" fmla="*/ 655782 h 917479"/>
                      <a:gd name="connsiteX42" fmla="*/ 794327 w 1924242"/>
                      <a:gd name="connsiteY42" fmla="*/ 649624 h 917479"/>
                      <a:gd name="connsiteX43" fmla="*/ 745066 w 1924242"/>
                      <a:gd name="connsiteY43" fmla="*/ 637309 h 917479"/>
                      <a:gd name="connsiteX44" fmla="*/ 701963 w 1924242"/>
                      <a:gd name="connsiteY44" fmla="*/ 624994 h 917479"/>
                      <a:gd name="connsiteX45" fmla="*/ 665018 w 1924242"/>
                      <a:gd name="connsiteY45" fmla="*/ 606521 h 917479"/>
                      <a:gd name="connsiteX46" fmla="*/ 631151 w 1924242"/>
                      <a:gd name="connsiteY46" fmla="*/ 578812 h 917479"/>
                      <a:gd name="connsiteX47" fmla="*/ 600363 w 1924242"/>
                      <a:gd name="connsiteY47" fmla="*/ 563418 h 917479"/>
                      <a:gd name="connsiteX48" fmla="*/ 569575 w 1924242"/>
                      <a:gd name="connsiteY48" fmla="*/ 563418 h 917479"/>
                      <a:gd name="connsiteX49" fmla="*/ 544945 w 1924242"/>
                      <a:gd name="connsiteY49" fmla="*/ 560339 h 917479"/>
                      <a:gd name="connsiteX50" fmla="*/ 517236 w 1924242"/>
                      <a:gd name="connsiteY50" fmla="*/ 538788 h 917479"/>
                      <a:gd name="connsiteX51" fmla="*/ 492606 w 1924242"/>
                      <a:gd name="connsiteY51" fmla="*/ 529552 h 917479"/>
                      <a:gd name="connsiteX52" fmla="*/ 464897 w 1924242"/>
                      <a:gd name="connsiteY52" fmla="*/ 526473 h 917479"/>
                      <a:gd name="connsiteX53" fmla="*/ 440266 w 1924242"/>
                      <a:gd name="connsiteY53" fmla="*/ 535709 h 917479"/>
                      <a:gd name="connsiteX54" fmla="*/ 431030 w 1924242"/>
                      <a:gd name="connsiteY54" fmla="*/ 535709 h 917479"/>
                      <a:gd name="connsiteX55" fmla="*/ 424872 w 1924242"/>
                      <a:gd name="connsiteY55" fmla="*/ 517236 h 917479"/>
                      <a:gd name="connsiteX56" fmla="*/ 406400 w 1924242"/>
                      <a:gd name="connsiteY56" fmla="*/ 461818 h 917479"/>
                      <a:gd name="connsiteX57" fmla="*/ 406400 w 1924242"/>
                      <a:gd name="connsiteY57" fmla="*/ 443345 h 917479"/>
                      <a:gd name="connsiteX58" fmla="*/ 394085 w 1924242"/>
                      <a:gd name="connsiteY58" fmla="*/ 400242 h 917479"/>
                      <a:gd name="connsiteX59" fmla="*/ 369454 w 1924242"/>
                      <a:gd name="connsiteY59" fmla="*/ 338667 h 917479"/>
                      <a:gd name="connsiteX60" fmla="*/ 344824 w 1924242"/>
                      <a:gd name="connsiteY60" fmla="*/ 277091 h 917479"/>
                      <a:gd name="connsiteX61" fmla="*/ 329430 w 1924242"/>
                      <a:gd name="connsiteY61" fmla="*/ 233988 h 917479"/>
                      <a:gd name="connsiteX62" fmla="*/ 310957 w 1924242"/>
                      <a:gd name="connsiteY62" fmla="*/ 193964 h 917479"/>
                      <a:gd name="connsiteX63" fmla="*/ 286327 w 1924242"/>
                      <a:gd name="connsiteY63" fmla="*/ 153939 h 917479"/>
                      <a:gd name="connsiteX64" fmla="*/ 237066 w 1924242"/>
                      <a:gd name="connsiteY64" fmla="*/ 123152 h 917479"/>
                      <a:gd name="connsiteX65" fmla="*/ 203200 w 1924242"/>
                      <a:gd name="connsiteY65" fmla="*/ 98521 h 917479"/>
                      <a:gd name="connsiteX66" fmla="*/ 160097 w 1924242"/>
                      <a:gd name="connsiteY66" fmla="*/ 70812 h 917479"/>
                      <a:gd name="connsiteX67" fmla="*/ 116994 w 1924242"/>
                      <a:gd name="connsiteY67" fmla="*/ 46182 h 917479"/>
                      <a:gd name="connsiteX68" fmla="*/ 0 w 1924242"/>
                      <a:gd name="connsiteY68" fmla="*/ 0 h 917479"/>
                      <a:gd name="connsiteX0" fmla="*/ 1924242 w 1924242"/>
                      <a:gd name="connsiteY0" fmla="*/ 917479 h 917479"/>
                      <a:gd name="connsiteX1" fmla="*/ 1865745 w 1924242"/>
                      <a:gd name="connsiteY1" fmla="*/ 902085 h 917479"/>
                      <a:gd name="connsiteX2" fmla="*/ 1831878 w 1924242"/>
                      <a:gd name="connsiteY2" fmla="*/ 886691 h 917479"/>
                      <a:gd name="connsiteX3" fmla="*/ 1816485 w 1924242"/>
                      <a:gd name="connsiteY3" fmla="*/ 874376 h 917479"/>
                      <a:gd name="connsiteX4" fmla="*/ 1770303 w 1924242"/>
                      <a:gd name="connsiteY4" fmla="*/ 874376 h 917479"/>
                      <a:gd name="connsiteX5" fmla="*/ 1754909 w 1924242"/>
                      <a:gd name="connsiteY5" fmla="*/ 865139 h 917479"/>
                      <a:gd name="connsiteX6" fmla="*/ 1711806 w 1924242"/>
                      <a:gd name="connsiteY6" fmla="*/ 874376 h 917479"/>
                      <a:gd name="connsiteX7" fmla="*/ 1668703 w 1924242"/>
                      <a:gd name="connsiteY7" fmla="*/ 874376 h 917479"/>
                      <a:gd name="connsiteX8" fmla="*/ 1634836 w 1924242"/>
                      <a:gd name="connsiteY8" fmla="*/ 874376 h 917479"/>
                      <a:gd name="connsiteX9" fmla="*/ 1600969 w 1924242"/>
                      <a:gd name="connsiteY9" fmla="*/ 855903 h 917479"/>
                      <a:gd name="connsiteX10" fmla="*/ 1579418 w 1924242"/>
                      <a:gd name="connsiteY10" fmla="*/ 840509 h 917479"/>
                      <a:gd name="connsiteX11" fmla="*/ 1576339 w 1924242"/>
                      <a:gd name="connsiteY11" fmla="*/ 825115 h 917479"/>
                      <a:gd name="connsiteX12" fmla="*/ 1576339 w 1924242"/>
                      <a:gd name="connsiteY12" fmla="*/ 809721 h 917479"/>
                      <a:gd name="connsiteX13" fmla="*/ 1582497 w 1924242"/>
                      <a:gd name="connsiteY13" fmla="*/ 794327 h 917479"/>
                      <a:gd name="connsiteX14" fmla="*/ 1588654 w 1924242"/>
                      <a:gd name="connsiteY14" fmla="*/ 775855 h 917479"/>
                      <a:gd name="connsiteX15" fmla="*/ 1570182 w 1924242"/>
                      <a:gd name="connsiteY15" fmla="*/ 760461 h 917479"/>
                      <a:gd name="connsiteX16" fmla="*/ 1511685 w 1924242"/>
                      <a:gd name="connsiteY16" fmla="*/ 741988 h 917479"/>
                      <a:gd name="connsiteX17" fmla="*/ 1462424 w 1924242"/>
                      <a:gd name="connsiteY17" fmla="*/ 720436 h 917479"/>
                      <a:gd name="connsiteX18" fmla="*/ 1376218 w 1924242"/>
                      <a:gd name="connsiteY18" fmla="*/ 714279 h 917479"/>
                      <a:gd name="connsiteX19" fmla="*/ 1320800 w 1924242"/>
                      <a:gd name="connsiteY19" fmla="*/ 714279 h 917479"/>
                      <a:gd name="connsiteX20" fmla="*/ 1253066 w 1924242"/>
                      <a:gd name="connsiteY20" fmla="*/ 726594 h 917479"/>
                      <a:gd name="connsiteX21" fmla="*/ 1209963 w 1924242"/>
                      <a:gd name="connsiteY21" fmla="*/ 735830 h 917479"/>
                      <a:gd name="connsiteX22" fmla="*/ 1200727 w 1924242"/>
                      <a:gd name="connsiteY22" fmla="*/ 735830 h 917479"/>
                      <a:gd name="connsiteX23" fmla="*/ 1194569 w 1924242"/>
                      <a:gd name="connsiteY23" fmla="*/ 717358 h 917479"/>
                      <a:gd name="connsiteX24" fmla="*/ 1176097 w 1924242"/>
                      <a:gd name="connsiteY24" fmla="*/ 711200 h 917479"/>
                      <a:gd name="connsiteX25" fmla="*/ 1145309 w 1924242"/>
                      <a:gd name="connsiteY25" fmla="*/ 720436 h 917479"/>
                      <a:gd name="connsiteX26" fmla="*/ 1096048 w 1924242"/>
                      <a:gd name="connsiteY26" fmla="*/ 701964 h 917479"/>
                      <a:gd name="connsiteX27" fmla="*/ 1077575 w 1924242"/>
                      <a:gd name="connsiteY27" fmla="*/ 692727 h 917479"/>
                      <a:gd name="connsiteX28" fmla="*/ 1052945 w 1924242"/>
                      <a:gd name="connsiteY28" fmla="*/ 698885 h 917479"/>
                      <a:gd name="connsiteX29" fmla="*/ 1009842 w 1924242"/>
                      <a:gd name="connsiteY29" fmla="*/ 695806 h 917479"/>
                      <a:gd name="connsiteX30" fmla="*/ 985212 w 1924242"/>
                      <a:gd name="connsiteY30" fmla="*/ 692727 h 917479"/>
                      <a:gd name="connsiteX31" fmla="*/ 969818 w 1924242"/>
                      <a:gd name="connsiteY31" fmla="*/ 705042 h 917479"/>
                      <a:gd name="connsiteX32" fmla="*/ 948266 w 1924242"/>
                      <a:gd name="connsiteY32" fmla="*/ 711200 h 917479"/>
                      <a:gd name="connsiteX33" fmla="*/ 917478 w 1924242"/>
                      <a:gd name="connsiteY33" fmla="*/ 689648 h 917479"/>
                      <a:gd name="connsiteX34" fmla="*/ 905163 w 1924242"/>
                      <a:gd name="connsiteY34" fmla="*/ 671176 h 917479"/>
                      <a:gd name="connsiteX35" fmla="*/ 895927 w 1924242"/>
                      <a:gd name="connsiteY35" fmla="*/ 671176 h 917479"/>
                      <a:gd name="connsiteX36" fmla="*/ 889769 w 1924242"/>
                      <a:gd name="connsiteY36" fmla="*/ 686570 h 917479"/>
                      <a:gd name="connsiteX37" fmla="*/ 865139 w 1924242"/>
                      <a:gd name="connsiteY37" fmla="*/ 705042 h 917479"/>
                      <a:gd name="connsiteX38" fmla="*/ 849745 w 1924242"/>
                      <a:gd name="connsiteY38" fmla="*/ 711200 h 917479"/>
                      <a:gd name="connsiteX39" fmla="*/ 849745 w 1924242"/>
                      <a:gd name="connsiteY39" fmla="*/ 695806 h 917479"/>
                      <a:gd name="connsiteX40" fmla="*/ 846666 w 1924242"/>
                      <a:gd name="connsiteY40" fmla="*/ 671176 h 917479"/>
                      <a:gd name="connsiteX41" fmla="*/ 822036 w 1924242"/>
                      <a:gd name="connsiteY41" fmla="*/ 655782 h 917479"/>
                      <a:gd name="connsiteX42" fmla="*/ 794327 w 1924242"/>
                      <a:gd name="connsiteY42" fmla="*/ 649624 h 917479"/>
                      <a:gd name="connsiteX43" fmla="*/ 745066 w 1924242"/>
                      <a:gd name="connsiteY43" fmla="*/ 637309 h 917479"/>
                      <a:gd name="connsiteX44" fmla="*/ 701963 w 1924242"/>
                      <a:gd name="connsiteY44" fmla="*/ 624994 h 917479"/>
                      <a:gd name="connsiteX45" fmla="*/ 665018 w 1924242"/>
                      <a:gd name="connsiteY45" fmla="*/ 606521 h 917479"/>
                      <a:gd name="connsiteX46" fmla="*/ 631151 w 1924242"/>
                      <a:gd name="connsiteY46" fmla="*/ 578812 h 917479"/>
                      <a:gd name="connsiteX47" fmla="*/ 600363 w 1924242"/>
                      <a:gd name="connsiteY47" fmla="*/ 563418 h 917479"/>
                      <a:gd name="connsiteX48" fmla="*/ 569575 w 1924242"/>
                      <a:gd name="connsiteY48" fmla="*/ 563418 h 917479"/>
                      <a:gd name="connsiteX49" fmla="*/ 544945 w 1924242"/>
                      <a:gd name="connsiteY49" fmla="*/ 560339 h 917479"/>
                      <a:gd name="connsiteX50" fmla="*/ 517236 w 1924242"/>
                      <a:gd name="connsiteY50" fmla="*/ 538788 h 917479"/>
                      <a:gd name="connsiteX51" fmla="*/ 492606 w 1924242"/>
                      <a:gd name="connsiteY51" fmla="*/ 529552 h 917479"/>
                      <a:gd name="connsiteX52" fmla="*/ 464897 w 1924242"/>
                      <a:gd name="connsiteY52" fmla="*/ 526473 h 917479"/>
                      <a:gd name="connsiteX53" fmla="*/ 440266 w 1924242"/>
                      <a:gd name="connsiteY53" fmla="*/ 535709 h 917479"/>
                      <a:gd name="connsiteX54" fmla="*/ 431030 w 1924242"/>
                      <a:gd name="connsiteY54" fmla="*/ 535709 h 917479"/>
                      <a:gd name="connsiteX55" fmla="*/ 424872 w 1924242"/>
                      <a:gd name="connsiteY55" fmla="*/ 517236 h 917479"/>
                      <a:gd name="connsiteX56" fmla="*/ 406400 w 1924242"/>
                      <a:gd name="connsiteY56" fmla="*/ 461818 h 917479"/>
                      <a:gd name="connsiteX57" fmla="*/ 406400 w 1924242"/>
                      <a:gd name="connsiteY57" fmla="*/ 443345 h 917479"/>
                      <a:gd name="connsiteX58" fmla="*/ 394085 w 1924242"/>
                      <a:gd name="connsiteY58" fmla="*/ 400242 h 917479"/>
                      <a:gd name="connsiteX59" fmla="*/ 369454 w 1924242"/>
                      <a:gd name="connsiteY59" fmla="*/ 338667 h 917479"/>
                      <a:gd name="connsiteX60" fmla="*/ 344824 w 1924242"/>
                      <a:gd name="connsiteY60" fmla="*/ 277091 h 917479"/>
                      <a:gd name="connsiteX61" fmla="*/ 329430 w 1924242"/>
                      <a:gd name="connsiteY61" fmla="*/ 233988 h 917479"/>
                      <a:gd name="connsiteX62" fmla="*/ 310957 w 1924242"/>
                      <a:gd name="connsiteY62" fmla="*/ 193964 h 917479"/>
                      <a:gd name="connsiteX63" fmla="*/ 286327 w 1924242"/>
                      <a:gd name="connsiteY63" fmla="*/ 153939 h 917479"/>
                      <a:gd name="connsiteX64" fmla="*/ 237066 w 1924242"/>
                      <a:gd name="connsiteY64" fmla="*/ 123152 h 917479"/>
                      <a:gd name="connsiteX65" fmla="*/ 203200 w 1924242"/>
                      <a:gd name="connsiteY65" fmla="*/ 98521 h 917479"/>
                      <a:gd name="connsiteX66" fmla="*/ 160097 w 1924242"/>
                      <a:gd name="connsiteY66" fmla="*/ 70812 h 917479"/>
                      <a:gd name="connsiteX67" fmla="*/ 0 w 1924242"/>
                      <a:gd name="connsiteY67" fmla="*/ 0 h 917479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169333 w 1764145"/>
                      <a:gd name="connsiteY61" fmla="*/ 163176 h 846667"/>
                      <a:gd name="connsiteX62" fmla="*/ 150860 w 1764145"/>
                      <a:gd name="connsiteY62" fmla="*/ 123152 h 846667"/>
                      <a:gd name="connsiteX63" fmla="*/ 126230 w 1764145"/>
                      <a:gd name="connsiteY63" fmla="*/ 83127 h 846667"/>
                      <a:gd name="connsiteX64" fmla="*/ 76969 w 1764145"/>
                      <a:gd name="connsiteY64" fmla="*/ 52340 h 846667"/>
                      <a:gd name="connsiteX65" fmla="*/ 43103 w 1764145"/>
                      <a:gd name="connsiteY65" fmla="*/ 27709 h 846667"/>
                      <a:gd name="connsiteX66" fmla="*/ 0 w 1764145"/>
                      <a:gd name="connsiteY66" fmla="*/ 0 h 846667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169333 w 1764145"/>
                      <a:gd name="connsiteY61" fmla="*/ 163176 h 846667"/>
                      <a:gd name="connsiteX62" fmla="*/ 150860 w 1764145"/>
                      <a:gd name="connsiteY62" fmla="*/ 123152 h 846667"/>
                      <a:gd name="connsiteX63" fmla="*/ 126230 w 1764145"/>
                      <a:gd name="connsiteY63" fmla="*/ 83127 h 846667"/>
                      <a:gd name="connsiteX64" fmla="*/ 76969 w 1764145"/>
                      <a:gd name="connsiteY64" fmla="*/ 52340 h 846667"/>
                      <a:gd name="connsiteX65" fmla="*/ 0 w 1764145"/>
                      <a:gd name="connsiteY65" fmla="*/ 0 h 846667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150860 w 1764145"/>
                      <a:gd name="connsiteY61" fmla="*/ 123152 h 846667"/>
                      <a:gd name="connsiteX62" fmla="*/ 126230 w 1764145"/>
                      <a:gd name="connsiteY62" fmla="*/ 83127 h 846667"/>
                      <a:gd name="connsiteX63" fmla="*/ 76969 w 1764145"/>
                      <a:gd name="connsiteY63" fmla="*/ 52340 h 846667"/>
                      <a:gd name="connsiteX64" fmla="*/ 0 w 1764145"/>
                      <a:gd name="connsiteY64" fmla="*/ 0 h 846667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126230 w 1764145"/>
                      <a:gd name="connsiteY61" fmla="*/ 83127 h 846667"/>
                      <a:gd name="connsiteX62" fmla="*/ 76969 w 1764145"/>
                      <a:gd name="connsiteY62" fmla="*/ 52340 h 846667"/>
                      <a:gd name="connsiteX63" fmla="*/ 0 w 1764145"/>
                      <a:gd name="connsiteY63" fmla="*/ 0 h 846667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76969 w 1764145"/>
                      <a:gd name="connsiteY61" fmla="*/ 52340 h 846667"/>
                      <a:gd name="connsiteX62" fmla="*/ 0 w 1764145"/>
                      <a:gd name="connsiteY62" fmla="*/ 0 h 846667"/>
                      <a:gd name="connsiteX0" fmla="*/ 1687176 w 1687176"/>
                      <a:gd name="connsiteY0" fmla="*/ 794327 h 794327"/>
                      <a:gd name="connsiteX1" fmla="*/ 1628679 w 1687176"/>
                      <a:gd name="connsiteY1" fmla="*/ 778933 h 794327"/>
                      <a:gd name="connsiteX2" fmla="*/ 1594812 w 1687176"/>
                      <a:gd name="connsiteY2" fmla="*/ 763539 h 794327"/>
                      <a:gd name="connsiteX3" fmla="*/ 1579419 w 1687176"/>
                      <a:gd name="connsiteY3" fmla="*/ 751224 h 794327"/>
                      <a:gd name="connsiteX4" fmla="*/ 1533237 w 1687176"/>
                      <a:gd name="connsiteY4" fmla="*/ 751224 h 794327"/>
                      <a:gd name="connsiteX5" fmla="*/ 1517843 w 1687176"/>
                      <a:gd name="connsiteY5" fmla="*/ 741987 h 794327"/>
                      <a:gd name="connsiteX6" fmla="*/ 1474740 w 1687176"/>
                      <a:gd name="connsiteY6" fmla="*/ 751224 h 794327"/>
                      <a:gd name="connsiteX7" fmla="*/ 1431637 w 1687176"/>
                      <a:gd name="connsiteY7" fmla="*/ 751224 h 794327"/>
                      <a:gd name="connsiteX8" fmla="*/ 1397770 w 1687176"/>
                      <a:gd name="connsiteY8" fmla="*/ 751224 h 794327"/>
                      <a:gd name="connsiteX9" fmla="*/ 1363903 w 1687176"/>
                      <a:gd name="connsiteY9" fmla="*/ 732751 h 794327"/>
                      <a:gd name="connsiteX10" fmla="*/ 1342352 w 1687176"/>
                      <a:gd name="connsiteY10" fmla="*/ 717357 h 794327"/>
                      <a:gd name="connsiteX11" fmla="*/ 1339273 w 1687176"/>
                      <a:gd name="connsiteY11" fmla="*/ 701963 h 794327"/>
                      <a:gd name="connsiteX12" fmla="*/ 1339273 w 1687176"/>
                      <a:gd name="connsiteY12" fmla="*/ 686569 h 794327"/>
                      <a:gd name="connsiteX13" fmla="*/ 1345431 w 1687176"/>
                      <a:gd name="connsiteY13" fmla="*/ 671175 h 794327"/>
                      <a:gd name="connsiteX14" fmla="*/ 1351588 w 1687176"/>
                      <a:gd name="connsiteY14" fmla="*/ 652703 h 794327"/>
                      <a:gd name="connsiteX15" fmla="*/ 1333116 w 1687176"/>
                      <a:gd name="connsiteY15" fmla="*/ 637309 h 794327"/>
                      <a:gd name="connsiteX16" fmla="*/ 1274619 w 1687176"/>
                      <a:gd name="connsiteY16" fmla="*/ 618836 h 794327"/>
                      <a:gd name="connsiteX17" fmla="*/ 1225358 w 1687176"/>
                      <a:gd name="connsiteY17" fmla="*/ 597284 h 794327"/>
                      <a:gd name="connsiteX18" fmla="*/ 1139152 w 1687176"/>
                      <a:gd name="connsiteY18" fmla="*/ 591127 h 794327"/>
                      <a:gd name="connsiteX19" fmla="*/ 1083734 w 1687176"/>
                      <a:gd name="connsiteY19" fmla="*/ 591127 h 794327"/>
                      <a:gd name="connsiteX20" fmla="*/ 1016000 w 1687176"/>
                      <a:gd name="connsiteY20" fmla="*/ 603442 h 794327"/>
                      <a:gd name="connsiteX21" fmla="*/ 972897 w 1687176"/>
                      <a:gd name="connsiteY21" fmla="*/ 612678 h 794327"/>
                      <a:gd name="connsiteX22" fmla="*/ 963661 w 1687176"/>
                      <a:gd name="connsiteY22" fmla="*/ 612678 h 794327"/>
                      <a:gd name="connsiteX23" fmla="*/ 957503 w 1687176"/>
                      <a:gd name="connsiteY23" fmla="*/ 594206 h 794327"/>
                      <a:gd name="connsiteX24" fmla="*/ 939031 w 1687176"/>
                      <a:gd name="connsiteY24" fmla="*/ 588048 h 794327"/>
                      <a:gd name="connsiteX25" fmla="*/ 908243 w 1687176"/>
                      <a:gd name="connsiteY25" fmla="*/ 597284 h 794327"/>
                      <a:gd name="connsiteX26" fmla="*/ 858982 w 1687176"/>
                      <a:gd name="connsiteY26" fmla="*/ 578812 h 794327"/>
                      <a:gd name="connsiteX27" fmla="*/ 840509 w 1687176"/>
                      <a:gd name="connsiteY27" fmla="*/ 569575 h 794327"/>
                      <a:gd name="connsiteX28" fmla="*/ 815879 w 1687176"/>
                      <a:gd name="connsiteY28" fmla="*/ 575733 h 794327"/>
                      <a:gd name="connsiteX29" fmla="*/ 772776 w 1687176"/>
                      <a:gd name="connsiteY29" fmla="*/ 572654 h 794327"/>
                      <a:gd name="connsiteX30" fmla="*/ 748146 w 1687176"/>
                      <a:gd name="connsiteY30" fmla="*/ 569575 h 794327"/>
                      <a:gd name="connsiteX31" fmla="*/ 732752 w 1687176"/>
                      <a:gd name="connsiteY31" fmla="*/ 581890 h 794327"/>
                      <a:gd name="connsiteX32" fmla="*/ 711200 w 1687176"/>
                      <a:gd name="connsiteY32" fmla="*/ 588048 h 794327"/>
                      <a:gd name="connsiteX33" fmla="*/ 680412 w 1687176"/>
                      <a:gd name="connsiteY33" fmla="*/ 566496 h 794327"/>
                      <a:gd name="connsiteX34" fmla="*/ 668097 w 1687176"/>
                      <a:gd name="connsiteY34" fmla="*/ 548024 h 794327"/>
                      <a:gd name="connsiteX35" fmla="*/ 658861 w 1687176"/>
                      <a:gd name="connsiteY35" fmla="*/ 548024 h 794327"/>
                      <a:gd name="connsiteX36" fmla="*/ 652703 w 1687176"/>
                      <a:gd name="connsiteY36" fmla="*/ 563418 h 794327"/>
                      <a:gd name="connsiteX37" fmla="*/ 628073 w 1687176"/>
                      <a:gd name="connsiteY37" fmla="*/ 581890 h 794327"/>
                      <a:gd name="connsiteX38" fmla="*/ 612679 w 1687176"/>
                      <a:gd name="connsiteY38" fmla="*/ 588048 h 794327"/>
                      <a:gd name="connsiteX39" fmla="*/ 612679 w 1687176"/>
                      <a:gd name="connsiteY39" fmla="*/ 572654 h 794327"/>
                      <a:gd name="connsiteX40" fmla="*/ 609600 w 1687176"/>
                      <a:gd name="connsiteY40" fmla="*/ 548024 h 794327"/>
                      <a:gd name="connsiteX41" fmla="*/ 584970 w 1687176"/>
                      <a:gd name="connsiteY41" fmla="*/ 532630 h 794327"/>
                      <a:gd name="connsiteX42" fmla="*/ 557261 w 1687176"/>
                      <a:gd name="connsiteY42" fmla="*/ 526472 h 794327"/>
                      <a:gd name="connsiteX43" fmla="*/ 508000 w 1687176"/>
                      <a:gd name="connsiteY43" fmla="*/ 514157 h 794327"/>
                      <a:gd name="connsiteX44" fmla="*/ 464897 w 1687176"/>
                      <a:gd name="connsiteY44" fmla="*/ 501842 h 794327"/>
                      <a:gd name="connsiteX45" fmla="*/ 427952 w 1687176"/>
                      <a:gd name="connsiteY45" fmla="*/ 483369 h 794327"/>
                      <a:gd name="connsiteX46" fmla="*/ 394085 w 1687176"/>
                      <a:gd name="connsiteY46" fmla="*/ 455660 h 794327"/>
                      <a:gd name="connsiteX47" fmla="*/ 363297 w 1687176"/>
                      <a:gd name="connsiteY47" fmla="*/ 440266 h 794327"/>
                      <a:gd name="connsiteX48" fmla="*/ 332509 w 1687176"/>
                      <a:gd name="connsiteY48" fmla="*/ 440266 h 794327"/>
                      <a:gd name="connsiteX49" fmla="*/ 307879 w 1687176"/>
                      <a:gd name="connsiteY49" fmla="*/ 437187 h 794327"/>
                      <a:gd name="connsiteX50" fmla="*/ 280170 w 1687176"/>
                      <a:gd name="connsiteY50" fmla="*/ 415636 h 794327"/>
                      <a:gd name="connsiteX51" fmla="*/ 255540 w 1687176"/>
                      <a:gd name="connsiteY51" fmla="*/ 406400 h 794327"/>
                      <a:gd name="connsiteX52" fmla="*/ 227831 w 1687176"/>
                      <a:gd name="connsiteY52" fmla="*/ 403321 h 794327"/>
                      <a:gd name="connsiteX53" fmla="*/ 203200 w 1687176"/>
                      <a:gd name="connsiteY53" fmla="*/ 412557 h 794327"/>
                      <a:gd name="connsiteX54" fmla="*/ 193964 w 1687176"/>
                      <a:gd name="connsiteY54" fmla="*/ 412557 h 794327"/>
                      <a:gd name="connsiteX55" fmla="*/ 187806 w 1687176"/>
                      <a:gd name="connsiteY55" fmla="*/ 394084 h 794327"/>
                      <a:gd name="connsiteX56" fmla="*/ 169334 w 1687176"/>
                      <a:gd name="connsiteY56" fmla="*/ 338666 h 794327"/>
                      <a:gd name="connsiteX57" fmla="*/ 169334 w 1687176"/>
                      <a:gd name="connsiteY57" fmla="*/ 320193 h 794327"/>
                      <a:gd name="connsiteX58" fmla="*/ 157019 w 1687176"/>
                      <a:gd name="connsiteY58" fmla="*/ 277090 h 794327"/>
                      <a:gd name="connsiteX59" fmla="*/ 132388 w 1687176"/>
                      <a:gd name="connsiteY59" fmla="*/ 215515 h 794327"/>
                      <a:gd name="connsiteX60" fmla="*/ 107758 w 1687176"/>
                      <a:gd name="connsiteY60" fmla="*/ 153939 h 794327"/>
                      <a:gd name="connsiteX61" fmla="*/ 0 w 1687176"/>
                      <a:gd name="connsiteY61" fmla="*/ 0 h 794327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200121 w 1579418"/>
                      <a:gd name="connsiteY49" fmla="*/ 283248 h 640388"/>
                      <a:gd name="connsiteX50" fmla="*/ 172412 w 1579418"/>
                      <a:gd name="connsiteY50" fmla="*/ 261697 h 640388"/>
                      <a:gd name="connsiteX51" fmla="*/ 147782 w 1579418"/>
                      <a:gd name="connsiteY51" fmla="*/ 252461 h 640388"/>
                      <a:gd name="connsiteX52" fmla="*/ 120073 w 1579418"/>
                      <a:gd name="connsiteY52" fmla="*/ 249382 h 640388"/>
                      <a:gd name="connsiteX53" fmla="*/ 95442 w 1579418"/>
                      <a:gd name="connsiteY53" fmla="*/ 258618 h 640388"/>
                      <a:gd name="connsiteX54" fmla="*/ 86206 w 1579418"/>
                      <a:gd name="connsiteY54" fmla="*/ 258618 h 640388"/>
                      <a:gd name="connsiteX55" fmla="*/ 80048 w 1579418"/>
                      <a:gd name="connsiteY55" fmla="*/ 240145 h 640388"/>
                      <a:gd name="connsiteX56" fmla="*/ 61576 w 1579418"/>
                      <a:gd name="connsiteY56" fmla="*/ 184727 h 640388"/>
                      <a:gd name="connsiteX57" fmla="*/ 61576 w 1579418"/>
                      <a:gd name="connsiteY57" fmla="*/ 166254 h 640388"/>
                      <a:gd name="connsiteX58" fmla="*/ 49261 w 1579418"/>
                      <a:gd name="connsiteY58" fmla="*/ 123151 h 640388"/>
                      <a:gd name="connsiteX59" fmla="*/ 24630 w 1579418"/>
                      <a:gd name="connsiteY59" fmla="*/ 61576 h 640388"/>
                      <a:gd name="connsiteX60" fmla="*/ 0 w 1579418"/>
                      <a:gd name="connsiteY60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200121 w 1579418"/>
                      <a:gd name="connsiteY49" fmla="*/ 283248 h 640388"/>
                      <a:gd name="connsiteX50" fmla="*/ 172412 w 1579418"/>
                      <a:gd name="connsiteY50" fmla="*/ 261697 h 640388"/>
                      <a:gd name="connsiteX51" fmla="*/ 147782 w 1579418"/>
                      <a:gd name="connsiteY51" fmla="*/ 252461 h 640388"/>
                      <a:gd name="connsiteX52" fmla="*/ 120073 w 1579418"/>
                      <a:gd name="connsiteY52" fmla="*/ 249382 h 640388"/>
                      <a:gd name="connsiteX53" fmla="*/ 95442 w 1579418"/>
                      <a:gd name="connsiteY53" fmla="*/ 258618 h 640388"/>
                      <a:gd name="connsiteX54" fmla="*/ 86206 w 1579418"/>
                      <a:gd name="connsiteY54" fmla="*/ 258618 h 640388"/>
                      <a:gd name="connsiteX55" fmla="*/ 80048 w 1579418"/>
                      <a:gd name="connsiteY55" fmla="*/ 240145 h 640388"/>
                      <a:gd name="connsiteX56" fmla="*/ 61576 w 1579418"/>
                      <a:gd name="connsiteY56" fmla="*/ 184727 h 640388"/>
                      <a:gd name="connsiteX57" fmla="*/ 49261 w 1579418"/>
                      <a:gd name="connsiteY57" fmla="*/ 123151 h 640388"/>
                      <a:gd name="connsiteX58" fmla="*/ 24630 w 1579418"/>
                      <a:gd name="connsiteY58" fmla="*/ 61576 h 640388"/>
                      <a:gd name="connsiteX59" fmla="*/ 0 w 1579418"/>
                      <a:gd name="connsiteY59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72412 w 1579418"/>
                      <a:gd name="connsiteY49" fmla="*/ 261697 h 640388"/>
                      <a:gd name="connsiteX50" fmla="*/ 147782 w 1579418"/>
                      <a:gd name="connsiteY50" fmla="*/ 252461 h 640388"/>
                      <a:gd name="connsiteX51" fmla="*/ 120073 w 1579418"/>
                      <a:gd name="connsiteY51" fmla="*/ 249382 h 640388"/>
                      <a:gd name="connsiteX52" fmla="*/ 95442 w 1579418"/>
                      <a:gd name="connsiteY52" fmla="*/ 258618 h 640388"/>
                      <a:gd name="connsiteX53" fmla="*/ 86206 w 1579418"/>
                      <a:gd name="connsiteY53" fmla="*/ 258618 h 640388"/>
                      <a:gd name="connsiteX54" fmla="*/ 80048 w 1579418"/>
                      <a:gd name="connsiteY54" fmla="*/ 240145 h 640388"/>
                      <a:gd name="connsiteX55" fmla="*/ 61576 w 1579418"/>
                      <a:gd name="connsiteY55" fmla="*/ 184727 h 640388"/>
                      <a:gd name="connsiteX56" fmla="*/ 49261 w 1579418"/>
                      <a:gd name="connsiteY56" fmla="*/ 123151 h 640388"/>
                      <a:gd name="connsiteX57" fmla="*/ 24630 w 1579418"/>
                      <a:gd name="connsiteY57" fmla="*/ 61576 h 640388"/>
                      <a:gd name="connsiteX58" fmla="*/ 0 w 1579418"/>
                      <a:gd name="connsiteY58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47782 w 1579418"/>
                      <a:gd name="connsiteY49" fmla="*/ 252461 h 640388"/>
                      <a:gd name="connsiteX50" fmla="*/ 120073 w 1579418"/>
                      <a:gd name="connsiteY50" fmla="*/ 249382 h 640388"/>
                      <a:gd name="connsiteX51" fmla="*/ 95442 w 1579418"/>
                      <a:gd name="connsiteY51" fmla="*/ 258618 h 640388"/>
                      <a:gd name="connsiteX52" fmla="*/ 86206 w 1579418"/>
                      <a:gd name="connsiteY52" fmla="*/ 258618 h 640388"/>
                      <a:gd name="connsiteX53" fmla="*/ 80048 w 1579418"/>
                      <a:gd name="connsiteY53" fmla="*/ 240145 h 640388"/>
                      <a:gd name="connsiteX54" fmla="*/ 61576 w 1579418"/>
                      <a:gd name="connsiteY54" fmla="*/ 184727 h 640388"/>
                      <a:gd name="connsiteX55" fmla="*/ 49261 w 1579418"/>
                      <a:gd name="connsiteY55" fmla="*/ 123151 h 640388"/>
                      <a:gd name="connsiteX56" fmla="*/ 24630 w 1579418"/>
                      <a:gd name="connsiteY56" fmla="*/ 61576 h 640388"/>
                      <a:gd name="connsiteX57" fmla="*/ 0 w 1579418"/>
                      <a:gd name="connsiteY57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95442 w 1579418"/>
                      <a:gd name="connsiteY50" fmla="*/ 258618 h 640388"/>
                      <a:gd name="connsiteX51" fmla="*/ 86206 w 1579418"/>
                      <a:gd name="connsiteY51" fmla="*/ 258618 h 640388"/>
                      <a:gd name="connsiteX52" fmla="*/ 80048 w 1579418"/>
                      <a:gd name="connsiteY52" fmla="*/ 240145 h 640388"/>
                      <a:gd name="connsiteX53" fmla="*/ 61576 w 1579418"/>
                      <a:gd name="connsiteY53" fmla="*/ 184727 h 640388"/>
                      <a:gd name="connsiteX54" fmla="*/ 49261 w 1579418"/>
                      <a:gd name="connsiteY54" fmla="*/ 123151 h 640388"/>
                      <a:gd name="connsiteX55" fmla="*/ 24630 w 1579418"/>
                      <a:gd name="connsiteY55" fmla="*/ 61576 h 640388"/>
                      <a:gd name="connsiteX56" fmla="*/ 0 w 1579418"/>
                      <a:gd name="connsiteY56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86206 w 1579418"/>
                      <a:gd name="connsiteY50" fmla="*/ 258618 h 640388"/>
                      <a:gd name="connsiteX51" fmla="*/ 80048 w 1579418"/>
                      <a:gd name="connsiteY51" fmla="*/ 240145 h 640388"/>
                      <a:gd name="connsiteX52" fmla="*/ 61576 w 1579418"/>
                      <a:gd name="connsiteY52" fmla="*/ 184727 h 640388"/>
                      <a:gd name="connsiteX53" fmla="*/ 49261 w 1579418"/>
                      <a:gd name="connsiteY53" fmla="*/ 123151 h 640388"/>
                      <a:gd name="connsiteX54" fmla="*/ 24630 w 1579418"/>
                      <a:gd name="connsiteY54" fmla="*/ 61576 h 640388"/>
                      <a:gd name="connsiteX55" fmla="*/ 0 w 1579418"/>
                      <a:gd name="connsiteY55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80048 w 1579418"/>
                      <a:gd name="connsiteY50" fmla="*/ 240145 h 640388"/>
                      <a:gd name="connsiteX51" fmla="*/ 61576 w 1579418"/>
                      <a:gd name="connsiteY51" fmla="*/ 184727 h 640388"/>
                      <a:gd name="connsiteX52" fmla="*/ 49261 w 1579418"/>
                      <a:gd name="connsiteY52" fmla="*/ 123151 h 640388"/>
                      <a:gd name="connsiteX53" fmla="*/ 24630 w 1579418"/>
                      <a:gd name="connsiteY53" fmla="*/ 61576 h 640388"/>
                      <a:gd name="connsiteX54" fmla="*/ 0 w 1579418"/>
                      <a:gd name="connsiteY54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61576 w 1579418"/>
                      <a:gd name="connsiteY50" fmla="*/ 184727 h 640388"/>
                      <a:gd name="connsiteX51" fmla="*/ 49261 w 1579418"/>
                      <a:gd name="connsiteY51" fmla="*/ 123151 h 640388"/>
                      <a:gd name="connsiteX52" fmla="*/ 24630 w 1579418"/>
                      <a:gd name="connsiteY52" fmla="*/ 61576 h 640388"/>
                      <a:gd name="connsiteX53" fmla="*/ 0 w 1579418"/>
                      <a:gd name="connsiteY53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49261 w 1579418"/>
                      <a:gd name="connsiteY50" fmla="*/ 123151 h 640388"/>
                      <a:gd name="connsiteX51" fmla="*/ 24630 w 1579418"/>
                      <a:gd name="connsiteY51" fmla="*/ 61576 h 640388"/>
                      <a:gd name="connsiteX52" fmla="*/ 0 w 1579418"/>
                      <a:gd name="connsiteY52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24630 w 1579418"/>
                      <a:gd name="connsiteY50" fmla="*/ 61576 h 640388"/>
                      <a:gd name="connsiteX51" fmla="*/ 0 w 1579418"/>
                      <a:gd name="connsiteY51" fmla="*/ 0 h 640388"/>
                      <a:gd name="connsiteX0" fmla="*/ 1579418 w 1579418"/>
                      <a:gd name="connsiteY0" fmla="*/ 640388 h 640388"/>
                      <a:gd name="connsiteX1" fmla="*/ 1520921 w 1579418"/>
                      <a:gd name="connsiteY1" fmla="*/ 624994 h 640388"/>
                      <a:gd name="connsiteX2" fmla="*/ 1487054 w 1579418"/>
                      <a:gd name="connsiteY2" fmla="*/ 609600 h 640388"/>
                      <a:gd name="connsiteX3" fmla="*/ 1471661 w 1579418"/>
                      <a:gd name="connsiteY3" fmla="*/ 597285 h 640388"/>
                      <a:gd name="connsiteX4" fmla="*/ 1425479 w 1579418"/>
                      <a:gd name="connsiteY4" fmla="*/ 597285 h 640388"/>
                      <a:gd name="connsiteX5" fmla="*/ 1410085 w 1579418"/>
                      <a:gd name="connsiteY5" fmla="*/ 588048 h 640388"/>
                      <a:gd name="connsiteX6" fmla="*/ 1366982 w 1579418"/>
                      <a:gd name="connsiteY6" fmla="*/ 597285 h 640388"/>
                      <a:gd name="connsiteX7" fmla="*/ 1323879 w 1579418"/>
                      <a:gd name="connsiteY7" fmla="*/ 597285 h 640388"/>
                      <a:gd name="connsiteX8" fmla="*/ 1290012 w 1579418"/>
                      <a:gd name="connsiteY8" fmla="*/ 597285 h 640388"/>
                      <a:gd name="connsiteX9" fmla="*/ 1256145 w 1579418"/>
                      <a:gd name="connsiteY9" fmla="*/ 578812 h 640388"/>
                      <a:gd name="connsiteX10" fmla="*/ 1234594 w 1579418"/>
                      <a:gd name="connsiteY10" fmla="*/ 563418 h 640388"/>
                      <a:gd name="connsiteX11" fmla="*/ 1231515 w 1579418"/>
                      <a:gd name="connsiteY11" fmla="*/ 548024 h 640388"/>
                      <a:gd name="connsiteX12" fmla="*/ 1231515 w 1579418"/>
                      <a:gd name="connsiteY12" fmla="*/ 532630 h 640388"/>
                      <a:gd name="connsiteX13" fmla="*/ 1237673 w 1579418"/>
                      <a:gd name="connsiteY13" fmla="*/ 517236 h 640388"/>
                      <a:gd name="connsiteX14" fmla="*/ 1243830 w 1579418"/>
                      <a:gd name="connsiteY14" fmla="*/ 498764 h 640388"/>
                      <a:gd name="connsiteX15" fmla="*/ 1225358 w 1579418"/>
                      <a:gd name="connsiteY15" fmla="*/ 483370 h 640388"/>
                      <a:gd name="connsiteX16" fmla="*/ 1166861 w 1579418"/>
                      <a:gd name="connsiteY16" fmla="*/ 464897 h 640388"/>
                      <a:gd name="connsiteX17" fmla="*/ 1117600 w 1579418"/>
                      <a:gd name="connsiteY17" fmla="*/ 443345 h 640388"/>
                      <a:gd name="connsiteX18" fmla="*/ 1031394 w 1579418"/>
                      <a:gd name="connsiteY18" fmla="*/ 437188 h 640388"/>
                      <a:gd name="connsiteX19" fmla="*/ 975976 w 1579418"/>
                      <a:gd name="connsiteY19" fmla="*/ 437188 h 640388"/>
                      <a:gd name="connsiteX20" fmla="*/ 908242 w 1579418"/>
                      <a:gd name="connsiteY20" fmla="*/ 449503 h 640388"/>
                      <a:gd name="connsiteX21" fmla="*/ 865139 w 1579418"/>
                      <a:gd name="connsiteY21" fmla="*/ 458739 h 640388"/>
                      <a:gd name="connsiteX22" fmla="*/ 855903 w 1579418"/>
                      <a:gd name="connsiteY22" fmla="*/ 458739 h 640388"/>
                      <a:gd name="connsiteX23" fmla="*/ 849745 w 1579418"/>
                      <a:gd name="connsiteY23" fmla="*/ 440267 h 640388"/>
                      <a:gd name="connsiteX24" fmla="*/ 831273 w 1579418"/>
                      <a:gd name="connsiteY24" fmla="*/ 434109 h 640388"/>
                      <a:gd name="connsiteX25" fmla="*/ 800485 w 1579418"/>
                      <a:gd name="connsiteY25" fmla="*/ 443345 h 640388"/>
                      <a:gd name="connsiteX26" fmla="*/ 751224 w 1579418"/>
                      <a:gd name="connsiteY26" fmla="*/ 424873 h 640388"/>
                      <a:gd name="connsiteX27" fmla="*/ 732751 w 1579418"/>
                      <a:gd name="connsiteY27" fmla="*/ 415636 h 640388"/>
                      <a:gd name="connsiteX28" fmla="*/ 708121 w 1579418"/>
                      <a:gd name="connsiteY28" fmla="*/ 421794 h 640388"/>
                      <a:gd name="connsiteX29" fmla="*/ 665018 w 1579418"/>
                      <a:gd name="connsiteY29" fmla="*/ 418715 h 640388"/>
                      <a:gd name="connsiteX30" fmla="*/ 640388 w 1579418"/>
                      <a:gd name="connsiteY30" fmla="*/ 415636 h 640388"/>
                      <a:gd name="connsiteX31" fmla="*/ 624994 w 1579418"/>
                      <a:gd name="connsiteY31" fmla="*/ 427951 h 640388"/>
                      <a:gd name="connsiteX32" fmla="*/ 603442 w 1579418"/>
                      <a:gd name="connsiteY32" fmla="*/ 434109 h 640388"/>
                      <a:gd name="connsiteX33" fmla="*/ 572654 w 1579418"/>
                      <a:gd name="connsiteY33" fmla="*/ 412557 h 640388"/>
                      <a:gd name="connsiteX34" fmla="*/ 560339 w 1579418"/>
                      <a:gd name="connsiteY34" fmla="*/ 394085 h 640388"/>
                      <a:gd name="connsiteX35" fmla="*/ 551103 w 1579418"/>
                      <a:gd name="connsiteY35" fmla="*/ 394085 h 640388"/>
                      <a:gd name="connsiteX36" fmla="*/ 544945 w 1579418"/>
                      <a:gd name="connsiteY36" fmla="*/ 409479 h 640388"/>
                      <a:gd name="connsiteX37" fmla="*/ 520315 w 1579418"/>
                      <a:gd name="connsiteY37" fmla="*/ 427951 h 640388"/>
                      <a:gd name="connsiteX38" fmla="*/ 504921 w 1579418"/>
                      <a:gd name="connsiteY38" fmla="*/ 434109 h 640388"/>
                      <a:gd name="connsiteX39" fmla="*/ 504921 w 1579418"/>
                      <a:gd name="connsiteY39" fmla="*/ 418715 h 640388"/>
                      <a:gd name="connsiteX40" fmla="*/ 501842 w 1579418"/>
                      <a:gd name="connsiteY40" fmla="*/ 394085 h 640388"/>
                      <a:gd name="connsiteX41" fmla="*/ 477212 w 1579418"/>
                      <a:gd name="connsiteY41" fmla="*/ 378691 h 640388"/>
                      <a:gd name="connsiteX42" fmla="*/ 449503 w 1579418"/>
                      <a:gd name="connsiteY42" fmla="*/ 372533 h 640388"/>
                      <a:gd name="connsiteX43" fmla="*/ 400242 w 1579418"/>
                      <a:gd name="connsiteY43" fmla="*/ 360218 h 640388"/>
                      <a:gd name="connsiteX44" fmla="*/ 357139 w 1579418"/>
                      <a:gd name="connsiteY44" fmla="*/ 347903 h 640388"/>
                      <a:gd name="connsiteX45" fmla="*/ 320194 w 1579418"/>
                      <a:gd name="connsiteY45" fmla="*/ 329430 h 640388"/>
                      <a:gd name="connsiteX46" fmla="*/ 286327 w 1579418"/>
                      <a:gd name="connsiteY46" fmla="*/ 301721 h 640388"/>
                      <a:gd name="connsiteX47" fmla="*/ 255539 w 1579418"/>
                      <a:gd name="connsiteY47" fmla="*/ 286327 h 640388"/>
                      <a:gd name="connsiteX48" fmla="*/ 224751 w 1579418"/>
                      <a:gd name="connsiteY48" fmla="*/ 286327 h 640388"/>
                      <a:gd name="connsiteX49" fmla="*/ 120073 w 1579418"/>
                      <a:gd name="connsiteY49" fmla="*/ 249382 h 640388"/>
                      <a:gd name="connsiteX50" fmla="*/ 0 w 1579418"/>
                      <a:gd name="connsiteY50" fmla="*/ 0 h 640388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711200 w 1459345"/>
                      <a:gd name="connsiteY24" fmla="*/ 184727 h 391006"/>
                      <a:gd name="connsiteX25" fmla="*/ 680412 w 1459345"/>
                      <a:gd name="connsiteY25" fmla="*/ 193963 h 391006"/>
                      <a:gd name="connsiteX26" fmla="*/ 631151 w 1459345"/>
                      <a:gd name="connsiteY26" fmla="*/ 175491 h 391006"/>
                      <a:gd name="connsiteX27" fmla="*/ 612678 w 1459345"/>
                      <a:gd name="connsiteY27" fmla="*/ 166254 h 391006"/>
                      <a:gd name="connsiteX28" fmla="*/ 588048 w 1459345"/>
                      <a:gd name="connsiteY28" fmla="*/ 172412 h 391006"/>
                      <a:gd name="connsiteX29" fmla="*/ 544945 w 1459345"/>
                      <a:gd name="connsiteY29" fmla="*/ 169333 h 391006"/>
                      <a:gd name="connsiteX30" fmla="*/ 520315 w 1459345"/>
                      <a:gd name="connsiteY30" fmla="*/ 166254 h 391006"/>
                      <a:gd name="connsiteX31" fmla="*/ 504921 w 1459345"/>
                      <a:gd name="connsiteY31" fmla="*/ 178569 h 391006"/>
                      <a:gd name="connsiteX32" fmla="*/ 483369 w 1459345"/>
                      <a:gd name="connsiteY32" fmla="*/ 184727 h 391006"/>
                      <a:gd name="connsiteX33" fmla="*/ 452581 w 1459345"/>
                      <a:gd name="connsiteY33" fmla="*/ 163175 h 391006"/>
                      <a:gd name="connsiteX34" fmla="*/ 440266 w 1459345"/>
                      <a:gd name="connsiteY34" fmla="*/ 144703 h 391006"/>
                      <a:gd name="connsiteX35" fmla="*/ 431030 w 1459345"/>
                      <a:gd name="connsiteY35" fmla="*/ 144703 h 391006"/>
                      <a:gd name="connsiteX36" fmla="*/ 424872 w 1459345"/>
                      <a:gd name="connsiteY36" fmla="*/ 160097 h 391006"/>
                      <a:gd name="connsiteX37" fmla="*/ 400242 w 1459345"/>
                      <a:gd name="connsiteY37" fmla="*/ 178569 h 391006"/>
                      <a:gd name="connsiteX38" fmla="*/ 384848 w 1459345"/>
                      <a:gd name="connsiteY38" fmla="*/ 184727 h 391006"/>
                      <a:gd name="connsiteX39" fmla="*/ 384848 w 1459345"/>
                      <a:gd name="connsiteY39" fmla="*/ 169333 h 391006"/>
                      <a:gd name="connsiteX40" fmla="*/ 381769 w 1459345"/>
                      <a:gd name="connsiteY40" fmla="*/ 144703 h 391006"/>
                      <a:gd name="connsiteX41" fmla="*/ 357139 w 1459345"/>
                      <a:gd name="connsiteY41" fmla="*/ 129309 h 391006"/>
                      <a:gd name="connsiteX42" fmla="*/ 329430 w 1459345"/>
                      <a:gd name="connsiteY42" fmla="*/ 123151 h 391006"/>
                      <a:gd name="connsiteX43" fmla="*/ 280169 w 1459345"/>
                      <a:gd name="connsiteY43" fmla="*/ 110836 h 391006"/>
                      <a:gd name="connsiteX44" fmla="*/ 237066 w 1459345"/>
                      <a:gd name="connsiteY44" fmla="*/ 98521 h 391006"/>
                      <a:gd name="connsiteX45" fmla="*/ 200121 w 1459345"/>
                      <a:gd name="connsiteY45" fmla="*/ 80048 h 391006"/>
                      <a:gd name="connsiteX46" fmla="*/ 166254 w 1459345"/>
                      <a:gd name="connsiteY46" fmla="*/ 52339 h 391006"/>
                      <a:gd name="connsiteX47" fmla="*/ 135466 w 1459345"/>
                      <a:gd name="connsiteY47" fmla="*/ 36945 h 391006"/>
                      <a:gd name="connsiteX48" fmla="*/ 104678 w 1459345"/>
                      <a:gd name="connsiteY48" fmla="*/ 36945 h 391006"/>
                      <a:gd name="connsiteX49" fmla="*/ 0 w 1459345"/>
                      <a:gd name="connsiteY49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711200 w 1459345"/>
                      <a:gd name="connsiteY24" fmla="*/ 184727 h 391006"/>
                      <a:gd name="connsiteX25" fmla="*/ 680412 w 1459345"/>
                      <a:gd name="connsiteY25" fmla="*/ 193963 h 391006"/>
                      <a:gd name="connsiteX26" fmla="*/ 631151 w 1459345"/>
                      <a:gd name="connsiteY26" fmla="*/ 175491 h 391006"/>
                      <a:gd name="connsiteX27" fmla="*/ 612678 w 1459345"/>
                      <a:gd name="connsiteY27" fmla="*/ 166254 h 391006"/>
                      <a:gd name="connsiteX28" fmla="*/ 588048 w 1459345"/>
                      <a:gd name="connsiteY28" fmla="*/ 172412 h 391006"/>
                      <a:gd name="connsiteX29" fmla="*/ 544945 w 1459345"/>
                      <a:gd name="connsiteY29" fmla="*/ 169333 h 391006"/>
                      <a:gd name="connsiteX30" fmla="*/ 520315 w 1459345"/>
                      <a:gd name="connsiteY30" fmla="*/ 166254 h 391006"/>
                      <a:gd name="connsiteX31" fmla="*/ 504921 w 1459345"/>
                      <a:gd name="connsiteY31" fmla="*/ 178569 h 391006"/>
                      <a:gd name="connsiteX32" fmla="*/ 483369 w 1459345"/>
                      <a:gd name="connsiteY32" fmla="*/ 184727 h 391006"/>
                      <a:gd name="connsiteX33" fmla="*/ 452581 w 1459345"/>
                      <a:gd name="connsiteY33" fmla="*/ 163175 h 391006"/>
                      <a:gd name="connsiteX34" fmla="*/ 440266 w 1459345"/>
                      <a:gd name="connsiteY34" fmla="*/ 144703 h 391006"/>
                      <a:gd name="connsiteX35" fmla="*/ 431030 w 1459345"/>
                      <a:gd name="connsiteY35" fmla="*/ 144703 h 391006"/>
                      <a:gd name="connsiteX36" fmla="*/ 424872 w 1459345"/>
                      <a:gd name="connsiteY36" fmla="*/ 160097 h 391006"/>
                      <a:gd name="connsiteX37" fmla="*/ 400242 w 1459345"/>
                      <a:gd name="connsiteY37" fmla="*/ 178569 h 391006"/>
                      <a:gd name="connsiteX38" fmla="*/ 384848 w 1459345"/>
                      <a:gd name="connsiteY38" fmla="*/ 184727 h 391006"/>
                      <a:gd name="connsiteX39" fmla="*/ 384848 w 1459345"/>
                      <a:gd name="connsiteY39" fmla="*/ 169333 h 391006"/>
                      <a:gd name="connsiteX40" fmla="*/ 381769 w 1459345"/>
                      <a:gd name="connsiteY40" fmla="*/ 144703 h 391006"/>
                      <a:gd name="connsiteX41" fmla="*/ 357139 w 1459345"/>
                      <a:gd name="connsiteY41" fmla="*/ 129309 h 391006"/>
                      <a:gd name="connsiteX42" fmla="*/ 329430 w 1459345"/>
                      <a:gd name="connsiteY42" fmla="*/ 123151 h 391006"/>
                      <a:gd name="connsiteX43" fmla="*/ 280169 w 1459345"/>
                      <a:gd name="connsiteY43" fmla="*/ 110836 h 391006"/>
                      <a:gd name="connsiteX44" fmla="*/ 237066 w 1459345"/>
                      <a:gd name="connsiteY44" fmla="*/ 98521 h 391006"/>
                      <a:gd name="connsiteX45" fmla="*/ 200121 w 1459345"/>
                      <a:gd name="connsiteY45" fmla="*/ 80048 h 391006"/>
                      <a:gd name="connsiteX46" fmla="*/ 135466 w 1459345"/>
                      <a:gd name="connsiteY46" fmla="*/ 36945 h 391006"/>
                      <a:gd name="connsiteX47" fmla="*/ 104678 w 1459345"/>
                      <a:gd name="connsiteY47" fmla="*/ 36945 h 391006"/>
                      <a:gd name="connsiteX48" fmla="*/ 0 w 1459345"/>
                      <a:gd name="connsiteY48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711200 w 1459345"/>
                      <a:gd name="connsiteY24" fmla="*/ 184727 h 391006"/>
                      <a:gd name="connsiteX25" fmla="*/ 680412 w 1459345"/>
                      <a:gd name="connsiteY25" fmla="*/ 193963 h 391006"/>
                      <a:gd name="connsiteX26" fmla="*/ 631151 w 1459345"/>
                      <a:gd name="connsiteY26" fmla="*/ 175491 h 391006"/>
                      <a:gd name="connsiteX27" fmla="*/ 612678 w 1459345"/>
                      <a:gd name="connsiteY27" fmla="*/ 166254 h 391006"/>
                      <a:gd name="connsiteX28" fmla="*/ 588048 w 1459345"/>
                      <a:gd name="connsiteY28" fmla="*/ 172412 h 391006"/>
                      <a:gd name="connsiteX29" fmla="*/ 544945 w 1459345"/>
                      <a:gd name="connsiteY29" fmla="*/ 169333 h 391006"/>
                      <a:gd name="connsiteX30" fmla="*/ 520315 w 1459345"/>
                      <a:gd name="connsiteY30" fmla="*/ 166254 h 391006"/>
                      <a:gd name="connsiteX31" fmla="*/ 504921 w 1459345"/>
                      <a:gd name="connsiteY31" fmla="*/ 178569 h 391006"/>
                      <a:gd name="connsiteX32" fmla="*/ 483369 w 1459345"/>
                      <a:gd name="connsiteY32" fmla="*/ 184727 h 391006"/>
                      <a:gd name="connsiteX33" fmla="*/ 440266 w 1459345"/>
                      <a:gd name="connsiteY33" fmla="*/ 144703 h 391006"/>
                      <a:gd name="connsiteX34" fmla="*/ 431030 w 1459345"/>
                      <a:gd name="connsiteY34" fmla="*/ 144703 h 391006"/>
                      <a:gd name="connsiteX35" fmla="*/ 424872 w 1459345"/>
                      <a:gd name="connsiteY35" fmla="*/ 160097 h 391006"/>
                      <a:gd name="connsiteX36" fmla="*/ 400242 w 1459345"/>
                      <a:gd name="connsiteY36" fmla="*/ 178569 h 391006"/>
                      <a:gd name="connsiteX37" fmla="*/ 384848 w 1459345"/>
                      <a:gd name="connsiteY37" fmla="*/ 184727 h 391006"/>
                      <a:gd name="connsiteX38" fmla="*/ 384848 w 1459345"/>
                      <a:gd name="connsiteY38" fmla="*/ 169333 h 391006"/>
                      <a:gd name="connsiteX39" fmla="*/ 381769 w 1459345"/>
                      <a:gd name="connsiteY39" fmla="*/ 144703 h 391006"/>
                      <a:gd name="connsiteX40" fmla="*/ 357139 w 1459345"/>
                      <a:gd name="connsiteY40" fmla="*/ 129309 h 391006"/>
                      <a:gd name="connsiteX41" fmla="*/ 329430 w 1459345"/>
                      <a:gd name="connsiteY41" fmla="*/ 123151 h 391006"/>
                      <a:gd name="connsiteX42" fmla="*/ 280169 w 1459345"/>
                      <a:gd name="connsiteY42" fmla="*/ 110836 h 391006"/>
                      <a:gd name="connsiteX43" fmla="*/ 237066 w 1459345"/>
                      <a:gd name="connsiteY43" fmla="*/ 98521 h 391006"/>
                      <a:gd name="connsiteX44" fmla="*/ 200121 w 1459345"/>
                      <a:gd name="connsiteY44" fmla="*/ 80048 h 391006"/>
                      <a:gd name="connsiteX45" fmla="*/ 135466 w 1459345"/>
                      <a:gd name="connsiteY45" fmla="*/ 36945 h 391006"/>
                      <a:gd name="connsiteX46" fmla="*/ 104678 w 1459345"/>
                      <a:gd name="connsiteY46" fmla="*/ 36945 h 391006"/>
                      <a:gd name="connsiteX47" fmla="*/ 0 w 1459345"/>
                      <a:gd name="connsiteY47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711200 w 1459345"/>
                      <a:gd name="connsiteY24" fmla="*/ 184727 h 391006"/>
                      <a:gd name="connsiteX25" fmla="*/ 680412 w 1459345"/>
                      <a:gd name="connsiteY25" fmla="*/ 193963 h 391006"/>
                      <a:gd name="connsiteX26" fmla="*/ 631151 w 1459345"/>
                      <a:gd name="connsiteY26" fmla="*/ 175491 h 391006"/>
                      <a:gd name="connsiteX27" fmla="*/ 612678 w 1459345"/>
                      <a:gd name="connsiteY27" fmla="*/ 166254 h 391006"/>
                      <a:gd name="connsiteX28" fmla="*/ 588048 w 1459345"/>
                      <a:gd name="connsiteY28" fmla="*/ 172412 h 391006"/>
                      <a:gd name="connsiteX29" fmla="*/ 544945 w 1459345"/>
                      <a:gd name="connsiteY29" fmla="*/ 169333 h 391006"/>
                      <a:gd name="connsiteX30" fmla="*/ 520315 w 1459345"/>
                      <a:gd name="connsiteY30" fmla="*/ 166254 h 391006"/>
                      <a:gd name="connsiteX31" fmla="*/ 504921 w 1459345"/>
                      <a:gd name="connsiteY31" fmla="*/ 178569 h 391006"/>
                      <a:gd name="connsiteX32" fmla="*/ 483369 w 1459345"/>
                      <a:gd name="connsiteY32" fmla="*/ 184727 h 391006"/>
                      <a:gd name="connsiteX33" fmla="*/ 440266 w 1459345"/>
                      <a:gd name="connsiteY33" fmla="*/ 144703 h 391006"/>
                      <a:gd name="connsiteX34" fmla="*/ 431030 w 1459345"/>
                      <a:gd name="connsiteY34" fmla="*/ 144703 h 391006"/>
                      <a:gd name="connsiteX35" fmla="*/ 424872 w 1459345"/>
                      <a:gd name="connsiteY35" fmla="*/ 160097 h 391006"/>
                      <a:gd name="connsiteX36" fmla="*/ 384848 w 1459345"/>
                      <a:gd name="connsiteY36" fmla="*/ 184727 h 391006"/>
                      <a:gd name="connsiteX37" fmla="*/ 384848 w 1459345"/>
                      <a:gd name="connsiteY37" fmla="*/ 169333 h 391006"/>
                      <a:gd name="connsiteX38" fmla="*/ 381769 w 1459345"/>
                      <a:gd name="connsiteY38" fmla="*/ 144703 h 391006"/>
                      <a:gd name="connsiteX39" fmla="*/ 357139 w 1459345"/>
                      <a:gd name="connsiteY39" fmla="*/ 129309 h 391006"/>
                      <a:gd name="connsiteX40" fmla="*/ 329430 w 1459345"/>
                      <a:gd name="connsiteY40" fmla="*/ 123151 h 391006"/>
                      <a:gd name="connsiteX41" fmla="*/ 280169 w 1459345"/>
                      <a:gd name="connsiteY41" fmla="*/ 110836 h 391006"/>
                      <a:gd name="connsiteX42" fmla="*/ 237066 w 1459345"/>
                      <a:gd name="connsiteY42" fmla="*/ 98521 h 391006"/>
                      <a:gd name="connsiteX43" fmla="*/ 200121 w 1459345"/>
                      <a:gd name="connsiteY43" fmla="*/ 80048 h 391006"/>
                      <a:gd name="connsiteX44" fmla="*/ 135466 w 1459345"/>
                      <a:gd name="connsiteY44" fmla="*/ 36945 h 391006"/>
                      <a:gd name="connsiteX45" fmla="*/ 104678 w 1459345"/>
                      <a:gd name="connsiteY45" fmla="*/ 36945 h 391006"/>
                      <a:gd name="connsiteX46" fmla="*/ 0 w 1459345"/>
                      <a:gd name="connsiteY46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612678 w 1459345"/>
                      <a:gd name="connsiteY26" fmla="*/ 166254 h 391006"/>
                      <a:gd name="connsiteX27" fmla="*/ 588048 w 1459345"/>
                      <a:gd name="connsiteY27" fmla="*/ 172412 h 391006"/>
                      <a:gd name="connsiteX28" fmla="*/ 544945 w 1459345"/>
                      <a:gd name="connsiteY28" fmla="*/ 169333 h 391006"/>
                      <a:gd name="connsiteX29" fmla="*/ 520315 w 1459345"/>
                      <a:gd name="connsiteY29" fmla="*/ 166254 h 391006"/>
                      <a:gd name="connsiteX30" fmla="*/ 504921 w 1459345"/>
                      <a:gd name="connsiteY30" fmla="*/ 178569 h 391006"/>
                      <a:gd name="connsiteX31" fmla="*/ 483369 w 1459345"/>
                      <a:gd name="connsiteY31" fmla="*/ 184727 h 391006"/>
                      <a:gd name="connsiteX32" fmla="*/ 440266 w 1459345"/>
                      <a:gd name="connsiteY32" fmla="*/ 144703 h 391006"/>
                      <a:gd name="connsiteX33" fmla="*/ 431030 w 1459345"/>
                      <a:gd name="connsiteY33" fmla="*/ 144703 h 391006"/>
                      <a:gd name="connsiteX34" fmla="*/ 424872 w 1459345"/>
                      <a:gd name="connsiteY34" fmla="*/ 160097 h 391006"/>
                      <a:gd name="connsiteX35" fmla="*/ 384848 w 1459345"/>
                      <a:gd name="connsiteY35" fmla="*/ 184727 h 391006"/>
                      <a:gd name="connsiteX36" fmla="*/ 384848 w 1459345"/>
                      <a:gd name="connsiteY36" fmla="*/ 169333 h 391006"/>
                      <a:gd name="connsiteX37" fmla="*/ 381769 w 1459345"/>
                      <a:gd name="connsiteY37" fmla="*/ 144703 h 391006"/>
                      <a:gd name="connsiteX38" fmla="*/ 357139 w 1459345"/>
                      <a:gd name="connsiteY38" fmla="*/ 129309 h 391006"/>
                      <a:gd name="connsiteX39" fmla="*/ 329430 w 1459345"/>
                      <a:gd name="connsiteY39" fmla="*/ 123151 h 391006"/>
                      <a:gd name="connsiteX40" fmla="*/ 280169 w 1459345"/>
                      <a:gd name="connsiteY40" fmla="*/ 110836 h 391006"/>
                      <a:gd name="connsiteX41" fmla="*/ 237066 w 1459345"/>
                      <a:gd name="connsiteY41" fmla="*/ 98521 h 391006"/>
                      <a:gd name="connsiteX42" fmla="*/ 200121 w 1459345"/>
                      <a:gd name="connsiteY42" fmla="*/ 80048 h 391006"/>
                      <a:gd name="connsiteX43" fmla="*/ 135466 w 1459345"/>
                      <a:gd name="connsiteY43" fmla="*/ 36945 h 391006"/>
                      <a:gd name="connsiteX44" fmla="*/ 104678 w 1459345"/>
                      <a:gd name="connsiteY44" fmla="*/ 36945 h 391006"/>
                      <a:gd name="connsiteX45" fmla="*/ 0 w 1459345"/>
                      <a:gd name="connsiteY45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81769 w 1459345"/>
                      <a:gd name="connsiteY36" fmla="*/ 144703 h 391006"/>
                      <a:gd name="connsiteX37" fmla="*/ 357139 w 1459345"/>
                      <a:gd name="connsiteY37" fmla="*/ 129309 h 391006"/>
                      <a:gd name="connsiteX38" fmla="*/ 329430 w 1459345"/>
                      <a:gd name="connsiteY38" fmla="*/ 123151 h 391006"/>
                      <a:gd name="connsiteX39" fmla="*/ 280169 w 1459345"/>
                      <a:gd name="connsiteY39" fmla="*/ 110836 h 391006"/>
                      <a:gd name="connsiteX40" fmla="*/ 237066 w 1459345"/>
                      <a:gd name="connsiteY40" fmla="*/ 98521 h 391006"/>
                      <a:gd name="connsiteX41" fmla="*/ 200121 w 1459345"/>
                      <a:gd name="connsiteY41" fmla="*/ 80048 h 391006"/>
                      <a:gd name="connsiteX42" fmla="*/ 135466 w 1459345"/>
                      <a:gd name="connsiteY42" fmla="*/ 36945 h 391006"/>
                      <a:gd name="connsiteX43" fmla="*/ 104678 w 1459345"/>
                      <a:gd name="connsiteY43" fmla="*/ 36945 h 391006"/>
                      <a:gd name="connsiteX44" fmla="*/ 0 w 1459345"/>
                      <a:gd name="connsiteY44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81769 w 1459345"/>
                      <a:gd name="connsiteY36" fmla="*/ 144703 h 391006"/>
                      <a:gd name="connsiteX37" fmla="*/ 357139 w 1459345"/>
                      <a:gd name="connsiteY37" fmla="*/ 129309 h 391006"/>
                      <a:gd name="connsiteX38" fmla="*/ 280169 w 1459345"/>
                      <a:gd name="connsiteY38" fmla="*/ 110836 h 391006"/>
                      <a:gd name="connsiteX39" fmla="*/ 237066 w 1459345"/>
                      <a:gd name="connsiteY39" fmla="*/ 98521 h 391006"/>
                      <a:gd name="connsiteX40" fmla="*/ 200121 w 1459345"/>
                      <a:gd name="connsiteY40" fmla="*/ 80048 h 391006"/>
                      <a:gd name="connsiteX41" fmla="*/ 135466 w 1459345"/>
                      <a:gd name="connsiteY41" fmla="*/ 36945 h 391006"/>
                      <a:gd name="connsiteX42" fmla="*/ 104678 w 1459345"/>
                      <a:gd name="connsiteY42" fmla="*/ 36945 h 391006"/>
                      <a:gd name="connsiteX43" fmla="*/ 0 w 1459345"/>
                      <a:gd name="connsiteY43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57139 w 1459345"/>
                      <a:gd name="connsiteY36" fmla="*/ 129309 h 391006"/>
                      <a:gd name="connsiteX37" fmla="*/ 280169 w 1459345"/>
                      <a:gd name="connsiteY37" fmla="*/ 110836 h 391006"/>
                      <a:gd name="connsiteX38" fmla="*/ 237066 w 1459345"/>
                      <a:gd name="connsiteY38" fmla="*/ 98521 h 391006"/>
                      <a:gd name="connsiteX39" fmla="*/ 200121 w 1459345"/>
                      <a:gd name="connsiteY39" fmla="*/ 80048 h 391006"/>
                      <a:gd name="connsiteX40" fmla="*/ 135466 w 1459345"/>
                      <a:gd name="connsiteY40" fmla="*/ 36945 h 391006"/>
                      <a:gd name="connsiteX41" fmla="*/ 104678 w 1459345"/>
                      <a:gd name="connsiteY41" fmla="*/ 36945 h 391006"/>
                      <a:gd name="connsiteX42" fmla="*/ 0 w 1459345"/>
                      <a:gd name="connsiteY42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57139 w 1459345"/>
                      <a:gd name="connsiteY36" fmla="*/ 129309 h 391006"/>
                      <a:gd name="connsiteX37" fmla="*/ 237066 w 1459345"/>
                      <a:gd name="connsiteY37" fmla="*/ 98521 h 391006"/>
                      <a:gd name="connsiteX38" fmla="*/ 200121 w 1459345"/>
                      <a:gd name="connsiteY38" fmla="*/ 80048 h 391006"/>
                      <a:gd name="connsiteX39" fmla="*/ 135466 w 1459345"/>
                      <a:gd name="connsiteY39" fmla="*/ 36945 h 391006"/>
                      <a:gd name="connsiteX40" fmla="*/ 104678 w 1459345"/>
                      <a:gd name="connsiteY40" fmla="*/ 36945 h 391006"/>
                      <a:gd name="connsiteX41" fmla="*/ 0 w 1459345"/>
                      <a:gd name="connsiteY41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57139 w 1459345"/>
                      <a:gd name="connsiteY36" fmla="*/ 129309 h 391006"/>
                      <a:gd name="connsiteX37" fmla="*/ 237066 w 1459345"/>
                      <a:gd name="connsiteY37" fmla="*/ 98521 h 391006"/>
                      <a:gd name="connsiteX38" fmla="*/ 135466 w 1459345"/>
                      <a:gd name="connsiteY38" fmla="*/ 36945 h 391006"/>
                      <a:gd name="connsiteX39" fmla="*/ 104678 w 1459345"/>
                      <a:gd name="connsiteY39" fmla="*/ 36945 h 391006"/>
                      <a:gd name="connsiteX40" fmla="*/ 0 w 1459345"/>
                      <a:gd name="connsiteY40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57139 w 1459345"/>
                      <a:gd name="connsiteY36" fmla="*/ 129309 h 391006"/>
                      <a:gd name="connsiteX37" fmla="*/ 237066 w 1459345"/>
                      <a:gd name="connsiteY37" fmla="*/ 98521 h 391006"/>
                      <a:gd name="connsiteX38" fmla="*/ 104678 w 1459345"/>
                      <a:gd name="connsiteY38" fmla="*/ 36945 h 391006"/>
                      <a:gd name="connsiteX39" fmla="*/ 0 w 1459345"/>
                      <a:gd name="connsiteY39" fmla="*/ 0 h 391006"/>
                      <a:gd name="connsiteX0" fmla="*/ 1459345 w 1459345"/>
                      <a:gd name="connsiteY0" fmla="*/ 391006 h 391006"/>
                      <a:gd name="connsiteX1" fmla="*/ 1400848 w 1459345"/>
                      <a:gd name="connsiteY1" fmla="*/ 375612 h 391006"/>
                      <a:gd name="connsiteX2" fmla="*/ 1366981 w 1459345"/>
                      <a:gd name="connsiteY2" fmla="*/ 360218 h 391006"/>
                      <a:gd name="connsiteX3" fmla="*/ 1351588 w 1459345"/>
                      <a:gd name="connsiteY3" fmla="*/ 347903 h 391006"/>
                      <a:gd name="connsiteX4" fmla="*/ 1305406 w 1459345"/>
                      <a:gd name="connsiteY4" fmla="*/ 347903 h 391006"/>
                      <a:gd name="connsiteX5" fmla="*/ 1290012 w 1459345"/>
                      <a:gd name="connsiteY5" fmla="*/ 338666 h 391006"/>
                      <a:gd name="connsiteX6" fmla="*/ 1246909 w 1459345"/>
                      <a:gd name="connsiteY6" fmla="*/ 347903 h 391006"/>
                      <a:gd name="connsiteX7" fmla="*/ 1203806 w 1459345"/>
                      <a:gd name="connsiteY7" fmla="*/ 347903 h 391006"/>
                      <a:gd name="connsiteX8" fmla="*/ 1169939 w 1459345"/>
                      <a:gd name="connsiteY8" fmla="*/ 347903 h 391006"/>
                      <a:gd name="connsiteX9" fmla="*/ 1136072 w 1459345"/>
                      <a:gd name="connsiteY9" fmla="*/ 329430 h 391006"/>
                      <a:gd name="connsiteX10" fmla="*/ 1114521 w 1459345"/>
                      <a:gd name="connsiteY10" fmla="*/ 314036 h 391006"/>
                      <a:gd name="connsiteX11" fmla="*/ 1111442 w 1459345"/>
                      <a:gd name="connsiteY11" fmla="*/ 298642 h 391006"/>
                      <a:gd name="connsiteX12" fmla="*/ 1111442 w 1459345"/>
                      <a:gd name="connsiteY12" fmla="*/ 283248 h 391006"/>
                      <a:gd name="connsiteX13" fmla="*/ 1117600 w 1459345"/>
                      <a:gd name="connsiteY13" fmla="*/ 267854 h 391006"/>
                      <a:gd name="connsiteX14" fmla="*/ 1123757 w 1459345"/>
                      <a:gd name="connsiteY14" fmla="*/ 249382 h 391006"/>
                      <a:gd name="connsiteX15" fmla="*/ 1105285 w 1459345"/>
                      <a:gd name="connsiteY15" fmla="*/ 233988 h 391006"/>
                      <a:gd name="connsiteX16" fmla="*/ 1046788 w 1459345"/>
                      <a:gd name="connsiteY16" fmla="*/ 215515 h 391006"/>
                      <a:gd name="connsiteX17" fmla="*/ 997527 w 1459345"/>
                      <a:gd name="connsiteY17" fmla="*/ 193963 h 391006"/>
                      <a:gd name="connsiteX18" fmla="*/ 911321 w 1459345"/>
                      <a:gd name="connsiteY18" fmla="*/ 187806 h 391006"/>
                      <a:gd name="connsiteX19" fmla="*/ 855903 w 1459345"/>
                      <a:gd name="connsiteY19" fmla="*/ 187806 h 391006"/>
                      <a:gd name="connsiteX20" fmla="*/ 788169 w 1459345"/>
                      <a:gd name="connsiteY20" fmla="*/ 200121 h 391006"/>
                      <a:gd name="connsiteX21" fmla="*/ 745066 w 1459345"/>
                      <a:gd name="connsiteY21" fmla="*/ 209357 h 391006"/>
                      <a:gd name="connsiteX22" fmla="*/ 735830 w 1459345"/>
                      <a:gd name="connsiteY22" fmla="*/ 209357 h 391006"/>
                      <a:gd name="connsiteX23" fmla="*/ 729672 w 1459345"/>
                      <a:gd name="connsiteY23" fmla="*/ 190885 h 391006"/>
                      <a:gd name="connsiteX24" fmla="*/ 680412 w 1459345"/>
                      <a:gd name="connsiteY24" fmla="*/ 193963 h 391006"/>
                      <a:gd name="connsiteX25" fmla="*/ 631151 w 1459345"/>
                      <a:gd name="connsiteY25" fmla="*/ 175491 h 391006"/>
                      <a:gd name="connsiteX26" fmla="*/ 588048 w 1459345"/>
                      <a:gd name="connsiteY26" fmla="*/ 172412 h 391006"/>
                      <a:gd name="connsiteX27" fmla="*/ 544945 w 1459345"/>
                      <a:gd name="connsiteY27" fmla="*/ 169333 h 391006"/>
                      <a:gd name="connsiteX28" fmla="*/ 520315 w 1459345"/>
                      <a:gd name="connsiteY28" fmla="*/ 166254 h 391006"/>
                      <a:gd name="connsiteX29" fmla="*/ 504921 w 1459345"/>
                      <a:gd name="connsiteY29" fmla="*/ 178569 h 391006"/>
                      <a:gd name="connsiteX30" fmla="*/ 483369 w 1459345"/>
                      <a:gd name="connsiteY30" fmla="*/ 184727 h 391006"/>
                      <a:gd name="connsiteX31" fmla="*/ 440266 w 1459345"/>
                      <a:gd name="connsiteY31" fmla="*/ 144703 h 391006"/>
                      <a:gd name="connsiteX32" fmla="*/ 431030 w 1459345"/>
                      <a:gd name="connsiteY32" fmla="*/ 144703 h 391006"/>
                      <a:gd name="connsiteX33" fmla="*/ 424872 w 1459345"/>
                      <a:gd name="connsiteY33" fmla="*/ 160097 h 391006"/>
                      <a:gd name="connsiteX34" fmla="*/ 384848 w 1459345"/>
                      <a:gd name="connsiteY34" fmla="*/ 184727 h 391006"/>
                      <a:gd name="connsiteX35" fmla="*/ 384848 w 1459345"/>
                      <a:gd name="connsiteY35" fmla="*/ 169333 h 391006"/>
                      <a:gd name="connsiteX36" fmla="*/ 357139 w 1459345"/>
                      <a:gd name="connsiteY36" fmla="*/ 129309 h 391006"/>
                      <a:gd name="connsiteX37" fmla="*/ 237066 w 1459345"/>
                      <a:gd name="connsiteY37" fmla="*/ 98521 h 391006"/>
                      <a:gd name="connsiteX38" fmla="*/ 0 w 1459345"/>
                      <a:gd name="connsiteY38" fmla="*/ 0 h 391006"/>
                      <a:gd name="connsiteX0" fmla="*/ 1222279 w 1222279"/>
                      <a:gd name="connsiteY0" fmla="*/ 292485 h 292485"/>
                      <a:gd name="connsiteX1" fmla="*/ 1163782 w 1222279"/>
                      <a:gd name="connsiteY1" fmla="*/ 277091 h 292485"/>
                      <a:gd name="connsiteX2" fmla="*/ 1129915 w 1222279"/>
                      <a:gd name="connsiteY2" fmla="*/ 261697 h 292485"/>
                      <a:gd name="connsiteX3" fmla="*/ 1114522 w 1222279"/>
                      <a:gd name="connsiteY3" fmla="*/ 249382 h 292485"/>
                      <a:gd name="connsiteX4" fmla="*/ 1068340 w 1222279"/>
                      <a:gd name="connsiteY4" fmla="*/ 249382 h 292485"/>
                      <a:gd name="connsiteX5" fmla="*/ 1052946 w 1222279"/>
                      <a:gd name="connsiteY5" fmla="*/ 240145 h 292485"/>
                      <a:gd name="connsiteX6" fmla="*/ 1009843 w 1222279"/>
                      <a:gd name="connsiteY6" fmla="*/ 249382 h 292485"/>
                      <a:gd name="connsiteX7" fmla="*/ 966740 w 1222279"/>
                      <a:gd name="connsiteY7" fmla="*/ 249382 h 292485"/>
                      <a:gd name="connsiteX8" fmla="*/ 932873 w 1222279"/>
                      <a:gd name="connsiteY8" fmla="*/ 249382 h 292485"/>
                      <a:gd name="connsiteX9" fmla="*/ 899006 w 1222279"/>
                      <a:gd name="connsiteY9" fmla="*/ 230909 h 292485"/>
                      <a:gd name="connsiteX10" fmla="*/ 877455 w 1222279"/>
                      <a:gd name="connsiteY10" fmla="*/ 215515 h 292485"/>
                      <a:gd name="connsiteX11" fmla="*/ 874376 w 1222279"/>
                      <a:gd name="connsiteY11" fmla="*/ 200121 h 292485"/>
                      <a:gd name="connsiteX12" fmla="*/ 874376 w 1222279"/>
                      <a:gd name="connsiteY12" fmla="*/ 184727 h 292485"/>
                      <a:gd name="connsiteX13" fmla="*/ 880534 w 1222279"/>
                      <a:gd name="connsiteY13" fmla="*/ 169333 h 292485"/>
                      <a:gd name="connsiteX14" fmla="*/ 886691 w 1222279"/>
                      <a:gd name="connsiteY14" fmla="*/ 150861 h 292485"/>
                      <a:gd name="connsiteX15" fmla="*/ 868219 w 1222279"/>
                      <a:gd name="connsiteY15" fmla="*/ 135467 h 292485"/>
                      <a:gd name="connsiteX16" fmla="*/ 809722 w 1222279"/>
                      <a:gd name="connsiteY16" fmla="*/ 116994 h 292485"/>
                      <a:gd name="connsiteX17" fmla="*/ 760461 w 1222279"/>
                      <a:gd name="connsiteY17" fmla="*/ 95442 h 292485"/>
                      <a:gd name="connsiteX18" fmla="*/ 674255 w 1222279"/>
                      <a:gd name="connsiteY18" fmla="*/ 89285 h 292485"/>
                      <a:gd name="connsiteX19" fmla="*/ 618837 w 1222279"/>
                      <a:gd name="connsiteY19" fmla="*/ 89285 h 292485"/>
                      <a:gd name="connsiteX20" fmla="*/ 551103 w 1222279"/>
                      <a:gd name="connsiteY20" fmla="*/ 101600 h 292485"/>
                      <a:gd name="connsiteX21" fmla="*/ 508000 w 1222279"/>
                      <a:gd name="connsiteY21" fmla="*/ 110836 h 292485"/>
                      <a:gd name="connsiteX22" fmla="*/ 498764 w 1222279"/>
                      <a:gd name="connsiteY22" fmla="*/ 110836 h 292485"/>
                      <a:gd name="connsiteX23" fmla="*/ 492606 w 1222279"/>
                      <a:gd name="connsiteY23" fmla="*/ 92364 h 292485"/>
                      <a:gd name="connsiteX24" fmla="*/ 443346 w 1222279"/>
                      <a:gd name="connsiteY24" fmla="*/ 95442 h 292485"/>
                      <a:gd name="connsiteX25" fmla="*/ 394085 w 1222279"/>
                      <a:gd name="connsiteY25" fmla="*/ 76970 h 292485"/>
                      <a:gd name="connsiteX26" fmla="*/ 350982 w 1222279"/>
                      <a:gd name="connsiteY26" fmla="*/ 73891 h 292485"/>
                      <a:gd name="connsiteX27" fmla="*/ 307879 w 1222279"/>
                      <a:gd name="connsiteY27" fmla="*/ 70812 h 292485"/>
                      <a:gd name="connsiteX28" fmla="*/ 283249 w 1222279"/>
                      <a:gd name="connsiteY28" fmla="*/ 67733 h 292485"/>
                      <a:gd name="connsiteX29" fmla="*/ 267855 w 1222279"/>
                      <a:gd name="connsiteY29" fmla="*/ 80048 h 292485"/>
                      <a:gd name="connsiteX30" fmla="*/ 246303 w 1222279"/>
                      <a:gd name="connsiteY30" fmla="*/ 86206 h 292485"/>
                      <a:gd name="connsiteX31" fmla="*/ 203200 w 1222279"/>
                      <a:gd name="connsiteY31" fmla="*/ 46182 h 292485"/>
                      <a:gd name="connsiteX32" fmla="*/ 193964 w 1222279"/>
                      <a:gd name="connsiteY32" fmla="*/ 46182 h 292485"/>
                      <a:gd name="connsiteX33" fmla="*/ 187806 w 1222279"/>
                      <a:gd name="connsiteY33" fmla="*/ 61576 h 292485"/>
                      <a:gd name="connsiteX34" fmla="*/ 147782 w 1222279"/>
                      <a:gd name="connsiteY34" fmla="*/ 86206 h 292485"/>
                      <a:gd name="connsiteX35" fmla="*/ 147782 w 1222279"/>
                      <a:gd name="connsiteY35" fmla="*/ 70812 h 292485"/>
                      <a:gd name="connsiteX36" fmla="*/ 120073 w 1222279"/>
                      <a:gd name="connsiteY36" fmla="*/ 30788 h 292485"/>
                      <a:gd name="connsiteX37" fmla="*/ 0 w 1222279"/>
                      <a:gd name="connsiteY37" fmla="*/ 0 h 292485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83127 w 1102206"/>
                      <a:gd name="connsiteY31" fmla="*/ 15394 h 261697"/>
                      <a:gd name="connsiteX32" fmla="*/ 73891 w 1102206"/>
                      <a:gd name="connsiteY32" fmla="*/ 15394 h 261697"/>
                      <a:gd name="connsiteX33" fmla="*/ 67733 w 1102206"/>
                      <a:gd name="connsiteY33" fmla="*/ 30788 h 261697"/>
                      <a:gd name="connsiteX34" fmla="*/ 27709 w 1102206"/>
                      <a:gd name="connsiteY34" fmla="*/ 55418 h 261697"/>
                      <a:gd name="connsiteX35" fmla="*/ 27709 w 1102206"/>
                      <a:gd name="connsiteY35" fmla="*/ 40024 h 261697"/>
                      <a:gd name="connsiteX36" fmla="*/ 0 w 1102206"/>
                      <a:gd name="connsiteY36" fmla="*/ 0 h 261697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83127 w 1102206"/>
                      <a:gd name="connsiteY31" fmla="*/ 15394 h 261697"/>
                      <a:gd name="connsiteX32" fmla="*/ 73891 w 1102206"/>
                      <a:gd name="connsiteY32" fmla="*/ 15394 h 261697"/>
                      <a:gd name="connsiteX33" fmla="*/ 27709 w 1102206"/>
                      <a:gd name="connsiteY33" fmla="*/ 55418 h 261697"/>
                      <a:gd name="connsiteX34" fmla="*/ 27709 w 1102206"/>
                      <a:gd name="connsiteY34" fmla="*/ 40024 h 261697"/>
                      <a:gd name="connsiteX35" fmla="*/ 0 w 1102206"/>
                      <a:gd name="connsiteY35" fmla="*/ 0 h 261697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83127 w 1102206"/>
                      <a:gd name="connsiteY31" fmla="*/ 15394 h 261697"/>
                      <a:gd name="connsiteX32" fmla="*/ 73891 w 1102206"/>
                      <a:gd name="connsiteY32" fmla="*/ 15394 h 261697"/>
                      <a:gd name="connsiteX33" fmla="*/ 27709 w 1102206"/>
                      <a:gd name="connsiteY33" fmla="*/ 55418 h 261697"/>
                      <a:gd name="connsiteX34" fmla="*/ 0 w 1102206"/>
                      <a:gd name="connsiteY34" fmla="*/ 0 h 261697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73891 w 1102206"/>
                      <a:gd name="connsiteY31" fmla="*/ 15394 h 261697"/>
                      <a:gd name="connsiteX32" fmla="*/ 27709 w 1102206"/>
                      <a:gd name="connsiteY32" fmla="*/ 55418 h 261697"/>
                      <a:gd name="connsiteX33" fmla="*/ 0 w 1102206"/>
                      <a:gd name="connsiteY33" fmla="*/ 0 h 261697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73891 w 1102206"/>
                      <a:gd name="connsiteY31" fmla="*/ 15394 h 261697"/>
                      <a:gd name="connsiteX32" fmla="*/ 0 w 1102206"/>
                      <a:gd name="connsiteY32" fmla="*/ 0 h 261697"/>
                      <a:gd name="connsiteX0" fmla="*/ 1102206 w 1102206"/>
                      <a:gd name="connsiteY0" fmla="*/ 261697 h 261697"/>
                      <a:gd name="connsiteX1" fmla="*/ 1043709 w 1102206"/>
                      <a:gd name="connsiteY1" fmla="*/ 246303 h 261697"/>
                      <a:gd name="connsiteX2" fmla="*/ 1009842 w 1102206"/>
                      <a:gd name="connsiteY2" fmla="*/ 230909 h 261697"/>
                      <a:gd name="connsiteX3" fmla="*/ 994449 w 1102206"/>
                      <a:gd name="connsiteY3" fmla="*/ 218594 h 261697"/>
                      <a:gd name="connsiteX4" fmla="*/ 948267 w 1102206"/>
                      <a:gd name="connsiteY4" fmla="*/ 218594 h 261697"/>
                      <a:gd name="connsiteX5" fmla="*/ 932873 w 1102206"/>
                      <a:gd name="connsiteY5" fmla="*/ 209357 h 261697"/>
                      <a:gd name="connsiteX6" fmla="*/ 889770 w 1102206"/>
                      <a:gd name="connsiteY6" fmla="*/ 218594 h 261697"/>
                      <a:gd name="connsiteX7" fmla="*/ 846667 w 1102206"/>
                      <a:gd name="connsiteY7" fmla="*/ 218594 h 261697"/>
                      <a:gd name="connsiteX8" fmla="*/ 812800 w 1102206"/>
                      <a:gd name="connsiteY8" fmla="*/ 218594 h 261697"/>
                      <a:gd name="connsiteX9" fmla="*/ 778933 w 1102206"/>
                      <a:gd name="connsiteY9" fmla="*/ 200121 h 261697"/>
                      <a:gd name="connsiteX10" fmla="*/ 757382 w 1102206"/>
                      <a:gd name="connsiteY10" fmla="*/ 184727 h 261697"/>
                      <a:gd name="connsiteX11" fmla="*/ 754303 w 1102206"/>
                      <a:gd name="connsiteY11" fmla="*/ 169333 h 261697"/>
                      <a:gd name="connsiteX12" fmla="*/ 754303 w 1102206"/>
                      <a:gd name="connsiteY12" fmla="*/ 153939 h 261697"/>
                      <a:gd name="connsiteX13" fmla="*/ 760461 w 1102206"/>
                      <a:gd name="connsiteY13" fmla="*/ 138545 h 261697"/>
                      <a:gd name="connsiteX14" fmla="*/ 766618 w 1102206"/>
                      <a:gd name="connsiteY14" fmla="*/ 120073 h 261697"/>
                      <a:gd name="connsiteX15" fmla="*/ 748146 w 1102206"/>
                      <a:gd name="connsiteY15" fmla="*/ 104679 h 261697"/>
                      <a:gd name="connsiteX16" fmla="*/ 689649 w 1102206"/>
                      <a:gd name="connsiteY16" fmla="*/ 86206 h 261697"/>
                      <a:gd name="connsiteX17" fmla="*/ 640388 w 1102206"/>
                      <a:gd name="connsiteY17" fmla="*/ 64654 h 261697"/>
                      <a:gd name="connsiteX18" fmla="*/ 554182 w 1102206"/>
                      <a:gd name="connsiteY18" fmla="*/ 58497 h 261697"/>
                      <a:gd name="connsiteX19" fmla="*/ 498764 w 1102206"/>
                      <a:gd name="connsiteY19" fmla="*/ 58497 h 261697"/>
                      <a:gd name="connsiteX20" fmla="*/ 431030 w 1102206"/>
                      <a:gd name="connsiteY20" fmla="*/ 70812 h 261697"/>
                      <a:gd name="connsiteX21" fmla="*/ 387927 w 1102206"/>
                      <a:gd name="connsiteY21" fmla="*/ 80048 h 261697"/>
                      <a:gd name="connsiteX22" fmla="*/ 378691 w 1102206"/>
                      <a:gd name="connsiteY22" fmla="*/ 80048 h 261697"/>
                      <a:gd name="connsiteX23" fmla="*/ 372533 w 1102206"/>
                      <a:gd name="connsiteY23" fmla="*/ 61576 h 261697"/>
                      <a:gd name="connsiteX24" fmla="*/ 323273 w 1102206"/>
                      <a:gd name="connsiteY24" fmla="*/ 64654 h 261697"/>
                      <a:gd name="connsiteX25" fmla="*/ 274012 w 1102206"/>
                      <a:gd name="connsiteY25" fmla="*/ 46182 h 261697"/>
                      <a:gd name="connsiteX26" fmla="*/ 230909 w 1102206"/>
                      <a:gd name="connsiteY26" fmla="*/ 43103 h 261697"/>
                      <a:gd name="connsiteX27" fmla="*/ 187806 w 1102206"/>
                      <a:gd name="connsiteY27" fmla="*/ 40024 h 261697"/>
                      <a:gd name="connsiteX28" fmla="*/ 163176 w 1102206"/>
                      <a:gd name="connsiteY28" fmla="*/ 36945 h 261697"/>
                      <a:gd name="connsiteX29" fmla="*/ 147782 w 1102206"/>
                      <a:gd name="connsiteY29" fmla="*/ 49260 h 261697"/>
                      <a:gd name="connsiteX30" fmla="*/ 126230 w 1102206"/>
                      <a:gd name="connsiteY30" fmla="*/ 55418 h 261697"/>
                      <a:gd name="connsiteX31" fmla="*/ 0 w 1102206"/>
                      <a:gd name="connsiteY31" fmla="*/ 0 h 261697"/>
                      <a:gd name="connsiteX0" fmla="*/ 975976 w 975976"/>
                      <a:gd name="connsiteY0" fmla="*/ 225130 h 225130"/>
                      <a:gd name="connsiteX1" fmla="*/ 917479 w 975976"/>
                      <a:gd name="connsiteY1" fmla="*/ 209736 h 225130"/>
                      <a:gd name="connsiteX2" fmla="*/ 883612 w 975976"/>
                      <a:gd name="connsiteY2" fmla="*/ 194342 h 225130"/>
                      <a:gd name="connsiteX3" fmla="*/ 868219 w 975976"/>
                      <a:gd name="connsiteY3" fmla="*/ 182027 h 225130"/>
                      <a:gd name="connsiteX4" fmla="*/ 822037 w 975976"/>
                      <a:gd name="connsiteY4" fmla="*/ 182027 h 225130"/>
                      <a:gd name="connsiteX5" fmla="*/ 806643 w 975976"/>
                      <a:gd name="connsiteY5" fmla="*/ 172790 h 225130"/>
                      <a:gd name="connsiteX6" fmla="*/ 763540 w 975976"/>
                      <a:gd name="connsiteY6" fmla="*/ 182027 h 225130"/>
                      <a:gd name="connsiteX7" fmla="*/ 720437 w 975976"/>
                      <a:gd name="connsiteY7" fmla="*/ 182027 h 225130"/>
                      <a:gd name="connsiteX8" fmla="*/ 686570 w 975976"/>
                      <a:gd name="connsiteY8" fmla="*/ 182027 h 225130"/>
                      <a:gd name="connsiteX9" fmla="*/ 652703 w 975976"/>
                      <a:gd name="connsiteY9" fmla="*/ 163554 h 225130"/>
                      <a:gd name="connsiteX10" fmla="*/ 631152 w 975976"/>
                      <a:gd name="connsiteY10" fmla="*/ 148160 h 225130"/>
                      <a:gd name="connsiteX11" fmla="*/ 628073 w 975976"/>
                      <a:gd name="connsiteY11" fmla="*/ 132766 h 225130"/>
                      <a:gd name="connsiteX12" fmla="*/ 628073 w 975976"/>
                      <a:gd name="connsiteY12" fmla="*/ 117372 h 225130"/>
                      <a:gd name="connsiteX13" fmla="*/ 634231 w 975976"/>
                      <a:gd name="connsiteY13" fmla="*/ 101978 h 225130"/>
                      <a:gd name="connsiteX14" fmla="*/ 640388 w 975976"/>
                      <a:gd name="connsiteY14" fmla="*/ 83506 h 225130"/>
                      <a:gd name="connsiteX15" fmla="*/ 621916 w 975976"/>
                      <a:gd name="connsiteY15" fmla="*/ 68112 h 225130"/>
                      <a:gd name="connsiteX16" fmla="*/ 563419 w 975976"/>
                      <a:gd name="connsiteY16" fmla="*/ 49639 h 225130"/>
                      <a:gd name="connsiteX17" fmla="*/ 514158 w 975976"/>
                      <a:gd name="connsiteY17" fmla="*/ 28087 h 225130"/>
                      <a:gd name="connsiteX18" fmla="*/ 427952 w 975976"/>
                      <a:gd name="connsiteY18" fmla="*/ 21930 h 225130"/>
                      <a:gd name="connsiteX19" fmla="*/ 372534 w 975976"/>
                      <a:gd name="connsiteY19" fmla="*/ 21930 h 225130"/>
                      <a:gd name="connsiteX20" fmla="*/ 304800 w 975976"/>
                      <a:gd name="connsiteY20" fmla="*/ 34245 h 225130"/>
                      <a:gd name="connsiteX21" fmla="*/ 261697 w 975976"/>
                      <a:gd name="connsiteY21" fmla="*/ 43481 h 225130"/>
                      <a:gd name="connsiteX22" fmla="*/ 252461 w 975976"/>
                      <a:gd name="connsiteY22" fmla="*/ 43481 h 225130"/>
                      <a:gd name="connsiteX23" fmla="*/ 246303 w 975976"/>
                      <a:gd name="connsiteY23" fmla="*/ 25009 h 225130"/>
                      <a:gd name="connsiteX24" fmla="*/ 197043 w 975976"/>
                      <a:gd name="connsiteY24" fmla="*/ 28087 h 225130"/>
                      <a:gd name="connsiteX25" fmla="*/ 147782 w 975976"/>
                      <a:gd name="connsiteY25" fmla="*/ 9615 h 225130"/>
                      <a:gd name="connsiteX26" fmla="*/ 104679 w 975976"/>
                      <a:gd name="connsiteY26" fmla="*/ 6536 h 225130"/>
                      <a:gd name="connsiteX27" fmla="*/ 61576 w 975976"/>
                      <a:gd name="connsiteY27" fmla="*/ 3457 h 225130"/>
                      <a:gd name="connsiteX28" fmla="*/ 36946 w 975976"/>
                      <a:gd name="connsiteY28" fmla="*/ 378 h 225130"/>
                      <a:gd name="connsiteX29" fmla="*/ 21552 w 975976"/>
                      <a:gd name="connsiteY29" fmla="*/ 12693 h 225130"/>
                      <a:gd name="connsiteX30" fmla="*/ 0 w 975976"/>
                      <a:gd name="connsiteY30" fmla="*/ 18851 h 225130"/>
                      <a:gd name="connsiteX0" fmla="*/ 954424 w 954424"/>
                      <a:gd name="connsiteY0" fmla="*/ 225130 h 225130"/>
                      <a:gd name="connsiteX1" fmla="*/ 895927 w 954424"/>
                      <a:gd name="connsiteY1" fmla="*/ 209736 h 225130"/>
                      <a:gd name="connsiteX2" fmla="*/ 862060 w 954424"/>
                      <a:gd name="connsiteY2" fmla="*/ 194342 h 225130"/>
                      <a:gd name="connsiteX3" fmla="*/ 846667 w 954424"/>
                      <a:gd name="connsiteY3" fmla="*/ 182027 h 225130"/>
                      <a:gd name="connsiteX4" fmla="*/ 800485 w 954424"/>
                      <a:gd name="connsiteY4" fmla="*/ 182027 h 225130"/>
                      <a:gd name="connsiteX5" fmla="*/ 785091 w 954424"/>
                      <a:gd name="connsiteY5" fmla="*/ 172790 h 225130"/>
                      <a:gd name="connsiteX6" fmla="*/ 741988 w 954424"/>
                      <a:gd name="connsiteY6" fmla="*/ 182027 h 225130"/>
                      <a:gd name="connsiteX7" fmla="*/ 698885 w 954424"/>
                      <a:gd name="connsiteY7" fmla="*/ 182027 h 225130"/>
                      <a:gd name="connsiteX8" fmla="*/ 665018 w 954424"/>
                      <a:gd name="connsiteY8" fmla="*/ 182027 h 225130"/>
                      <a:gd name="connsiteX9" fmla="*/ 631151 w 954424"/>
                      <a:gd name="connsiteY9" fmla="*/ 163554 h 225130"/>
                      <a:gd name="connsiteX10" fmla="*/ 609600 w 954424"/>
                      <a:gd name="connsiteY10" fmla="*/ 148160 h 225130"/>
                      <a:gd name="connsiteX11" fmla="*/ 606521 w 954424"/>
                      <a:gd name="connsiteY11" fmla="*/ 132766 h 225130"/>
                      <a:gd name="connsiteX12" fmla="*/ 606521 w 954424"/>
                      <a:gd name="connsiteY12" fmla="*/ 117372 h 225130"/>
                      <a:gd name="connsiteX13" fmla="*/ 612679 w 954424"/>
                      <a:gd name="connsiteY13" fmla="*/ 101978 h 225130"/>
                      <a:gd name="connsiteX14" fmla="*/ 618836 w 954424"/>
                      <a:gd name="connsiteY14" fmla="*/ 83506 h 225130"/>
                      <a:gd name="connsiteX15" fmla="*/ 600364 w 954424"/>
                      <a:gd name="connsiteY15" fmla="*/ 68112 h 225130"/>
                      <a:gd name="connsiteX16" fmla="*/ 541867 w 954424"/>
                      <a:gd name="connsiteY16" fmla="*/ 49639 h 225130"/>
                      <a:gd name="connsiteX17" fmla="*/ 492606 w 954424"/>
                      <a:gd name="connsiteY17" fmla="*/ 28087 h 225130"/>
                      <a:gd name="connsiteX18" fmla="*/ 406400 w 954424"/>
                      <a:gd name="connsiteY18" fmla="*/ 21930 h 225130"/>
                      <a:gd name="connsiteX19" fmla="*/ 350982 w 954424"/>
                      <a:gd name="connsiteY19" fmla="*/ 21930 h 225130"/>
                      <a:gd name="connsiteX20" fmla="*/ 283248 w 954424"/>
                      <a:gd name="connsiteY20" fmla="*/ 34245 h 225130"/>
                      <a:gd name="connsiteX21" fmla="*/ 240145 w 954424"/>
                      <a:gd name="connsiteY21" fmla="*/ 43481 h 225130"/>
                      <a:gd name="connsiteX22" fmla="*/ 230909 w 954424"/>
                      <a:gd name="connsiteY22" fmla="*/ 43481 h 225130"/>
                      <a:gd name="connsiteX23" fmla="*/ 224751 w 954424"/>
                      <a:gd name="connsiteY23" fmla="*/ 25009 h 225130"/>
                      <a:gd name="connsiteX24" fmla="*/ 175491 w 954424"/>
                      <a:gd name="connsiteY24" fmla="*/ 28087 h 225130"/>
                      <a:gd name="connsiteX25" fmla="*/ 126230 w 954424"/>
                      <a:gd name="connsiteY25" fmla="*/ 9615 h 225130"/>
                      <a:gd name="connsiteX26" fmla="*/ 83127 w 954424"/>
                      <a:gd name="connsiteY26" fmla="*/ 6536 h 225130"/>
                      <a:gd name="connsiteX27" fmla="*/ 40024 w 954424"/>
                      <a:gd name="connsiteY27" fmla="*/ 3457 h 225130"/>
                      <a:gd name="connsiteX28" fmla="*/ 15394 w 954424"/>
                      <a:gd name="connsiteY28" fmla="*/ 378 h 225130"/>
                      <a:gd name="connsiteX29" fmla="*/ 0 w 954424"/>
                      <a:gd name="connsiteY29" fmla="*/ 12693 h 225130"/>
                      <a:gd name="connsiteX0" fmla="*/ 939030 w 939030"/>
                      <a:gd name="connsiteY0" fmla="*/ 225130 h 225130"/>
                      <a:gd name="connsiteX1" fmla="*/ 880533 w 939030"/>
                      <a:gd name="connsiteY1" fmla="*/ 209736 h 225130"/>
                      <a:gd name="connsiteX2" fmla="*/ 846666 w 939030"/>
                      <a:gd name="connsiteY2" fmla="*/ 194342 h 225130"/>
                      <a:gd name="connsiteX3" fmla="*/ 831273 w 939030"/>
                      <a:gd name="connsiteY3" fmla="*/ 182027 h 225130"/>
                      <a:gd name="connsiteX4" fmla="*/ 785091 w 939030"/>
                      <a:gd name="connsiteY4" fmla="*/ 182027 h 225130"/>
                      <a:gd name="connsiteX5" fmla="*/ 769697 w 939030"/>
                      <a:gd name="connsiteY5" fmla="*/ 172790 h 225130"/>
                      <a:gd name="connsiteX6" fmla="*/ 726594 w 939030"/>
                      <a:gd name="connsiteY6" fmla="*/ 182027 h 225130"/>
                      <a:gd name="connsiteX7" fmla="*/ 683491 w 939030"/>
                      <a:gd name="connsiteY7" fmla="*/ 182027 h 225130"/>
                      <a:gd name="connsiteX8" fmla="*/ 649624 w 939030"/>
                      <a:gd name="connsiteY8" fmla="*/ 182027 h 225130"/>
                      <a:gd name="connsiteX9" fmla="*/ 615757 w 939030"/>
                      <a:gd name="connsiteY9" fmla="*/ 163554 h 225130"/>
                      <a:gd name="connsiteX10" fmla="*/ 594206 w 939030"/>
                      <a:gd name="connsiteY10" fmla="*/ 148160 h 225130"/>
                      <a:gd name="connsiteX11" fmla="*/ 591127 w 939030"/>
                      <a:gd name="connsiteY11" fmla="*/ 132766 h 225130"/>
                      <a:gd name="connsiteX12" fmla="*/ 591127 w 939030"/>
                      <a:gd name="connsiteY12" fmla="*/ 117372 h 225130"/>
                      <a:gd name="connsiteX13" fmla="*/ 597285 w 939030"/>
                      <a:gd name="connsiteY13" fmla="*/ 101978 h 225130"/>
                      <a:gd name="connsiteX14" fmla="*/ 603442 w 939030"/>
                      <a:gd name="connsiteY14" fmla="*/ 83506 h 225130"/>
                      <a:gd name="connsiteX15" fmla="*/ 584970 w 939030"/>
                      <a:gd name="connsiteY15" fmla="*/ 68112 h 225130"/>
                      <a:gd name="connsiteX16" fmla="*/ 526473 w 939030"/>
                      <a:gd name="connsiteY16" fmla="*/ 49639 h 225130"/>
                      <a:gd name="connsiteX17" fmla="*/ 477212 w 939030"/>
                      <a:gd name="connsiteY17" fmla="*/ 28087 h 225130"/>
                      <a:gd name="connsiteX18" fmla="*/ 391006 w 939030"/>
                      <a:gd name="connsiteY18" fmla="*/ 21930 h 225130"/>
                      <a:gd name="connsiteX19" fmla="*/ 335588 w 939030"/>
                      <a:gd name="connsiteY19" fmla="*/ 21930 h 225130"/>
                      <a:gd name="connsiteX20" fmla="*/ 267854 w 939030"/>
                      <a:gd name="connsiteY20" fmla="*/ 34245 h 225130"/>
                      <a:gd name="connsiteX21" fmla="*/ 224751 w 939030"/>
                      <a:gd name="connsiteY21" fmla="*/ 43481 h 225130"/>
                      <a:gd name="connsiteX22" fmla="*/ 215515 w 939030"/>
                      <a:gd name="connsiteY22" fmla="*/ 43481 h 225130"/>
                      <a:gd name="connsiteX23" fmla="*/ 209357 w 939030"/>
                      <a:gd name="connsiteY23" fmla="*/ 25009 h 225130"/>
                      <a:gd name="connsiteX24" fmla="*/ 160097 w 939030"/>
                      <a:gd name="connsiteY24" fmla="*/ 28087 h 225130"/>
                      <a:gd name="connsiteX25" fmla="*/ 110836 w 939030"/>
                      <a:gd name="connsiteY25" fmla="*/ 9615 h 225130"/>
                      <a:gd name="connsiteX26" fmla="*/ 67733 w 939030"/>
                      <a:gd name="connsiteY26" fmla="*/ 6536 h 225130"/>
                      <a:gd name="connsiteX27" fmla="*/ 24630 w 939030"/>
                      <a:gd name="connsiteY27" fmla="*/ 3457 h 225130"/>
                      <a:gd name="connsiteX28" fmla="*/ 0 w 939030"/>
                      <a:gd name="connsiteY28" fmla="*/ 378 h 225130"/>
                      <a:gd name="connsiteX0" fmla="*/ 914400 w 914400"/>
                      <a:gd name="connsiteY0" fmla="*/ 221673 h 221673"/>
                      <a:gd name="connsiteX1" fmla="*/ 855903 w 914400"/>
                      <a:gd name="connsiteY1" fmla="*/ 206279 h 221673"/>
                      <a:gd name="connsiteX2" fmla="*/ 822036 w 914400"/>
                      <a:gd name="connsiteY2" fmla="*/ 190885 h 221673"/>
                      <a:gd name="connsiteX3" fmla="*/ 806643 w 914400"/>
                      <a:gd name="connsiteY3" fmla="*/ 178570 h 221673"/>
                      <a:gd name="connsiteX4" fmla="*/ 760461 w 914400"/>
                      <a:gd name="connsiteY4" fmla="*/ 178570 h 221673"/>
                      <a:gd name="connsiteX5" fmla="*/ 745067 w 914400"/>
                      <a:gd name="connsiteY5" fmla="*/ 169333 h 221673"/>
                      <a:gd name="connsiteX6" fmla="*/ 701964 w 914400"/>
                      <a:gd name="connsiteY6" fmla="*/ 178570 h 221673"/>
                      <a:gd name="connsiteX7" fmla="*/ 658861 w 914400"/>
                      <a:gd name="connsiteY7" fmla="*/ 178570 h 221673"/>
                      <a:gd name="connsiteX8" fmla="*/ 624994 w 914400"/>
                      <a:gd name="connsiteY8" fmla="*/ 178570 h 221673"/>
                      <a:gd name="connsiteX9" fmla="*/ 591127 w 914400"/>
                      <a:gd name="connsiteY9" fmla="*/ 160097 h 221673"/>
                      <a:gd name="connsiteX10" fmla="*/ 569576 w 914400"/>
                      <a:gd name="connsiteY10" fmla="*/ 144703 h 221673"/>
                      <a:gd name="connsiteX11" fmla="*/ 566497 w 914400"/>
                      <a:gd name="connsiteY11" fmla="*/ 129309 h 221673"/>
                      <a:gd name="connsiteX12" fmla="*/ 566497 w 914400"/>
                      <a:gd name="connsiteY12" fmla="*/ 113915 h 221673"/>
                      <a:gd name="connsiteX13" fmla="*/ 572655 w 914400"/>
                      <a:gd name="connsiteY13" fmla="*/ 98521 h 221673"/>
                      <a:gd name="connsiteX14" fmla="*/ 578812 w 914400"/>
                      <a:gd name="connsiteY14" fmla="*/ 80049 h 221673"/>
                      <a:gd name="connsiteX15" fmla="*/ 560340 w 914400"/>
                      <a:gd name="connsiteY15" fmla="*/ 64655 h 221673"/>
                      <a:gd name="connsiteX16" fmla="*/ 501843 w 914400"/>
                      <a:gd name="connsiteY16" fmla="*/ 46182 h 221673"/>
                      <a:gd name="connsiteX17" fmla="*/ 452582 w 914400"/>
                      <a:gd name="connsiteY17" fmla="*/ 24630 h 221673"/>
                      <a:gd name="connsiteX18" fmla="*/ 366376 w 914400"/>
                      <a:gd name="connsiteY18" fmla="*/ 18473 h 221673"/>
                      <a:gd name="connsiteX19" fmla="*/ 310958 w 914400"/>
                      <a:gd name="connsiteY19" fmla="*/ 18473 h 221673"/>
                      <a:gd name="connsiteX20" fmla="*/ 243224 w 914400"/>
                      <a:gd name="connsiteY20" fmla="*/ 30788 h 221673"/>
                      <a:gd name="connsiteX21" fmla="*/ 200121 w 914400"/>
                      <a:gd name="connsiteY21" fmla="*/ 40024 h 221673"/>
                      <a:gd name="connsiteX22" fmla="*/ 190885 w 914400"/>
                      <a:gd name="connsiteY22" fmla="*/ 40024 h 221673"/>
                      <a:gd name="connsiteX23" fmla="*/ 184727 w 914400"/>
                      <a:gd name="connsiteY23" fmla="*/ 21552 h 221673"/>
                      <a:gd name="connsiteX24" fmla="*/ 135467 w 914400"/>
                      <a:gd name="connsiteY24" fmla="*/ 24630 h 221673"/>
                      <a:gd name="connsiteX25" fmla="*/ 86206 w 914400"/>
                      <a:gd name="connsiteY25" fmla="*/ 6158 h 221673"/>
                      <a:gd name="connsiteX26" fmla="*/ 43103 w 914400"/>
                      <a:gd name="connsiteY26" fmla="*/ 3079 h 221673"/>
                      <a:gd name="connsiteX27" fmla="*/ 0 w 914400"/>
                      <a:gd name="connsiteY27" fmla="*/ 0 h 221673"/>
                      <a:gd name="connsiteX0" fmla="*/ 871297 w 871297"/>
                      <a:gd name="connsiteY0" fmla="*/ 218594 h 218594"/>
                      <a:gd name="connsiteX1" fmla="*/ 812800 w 871297"/>
                      <a:gd name="connsiteY1" fmla="*/ 203200 h 218594"/>
                      <a:gd name="connsiteX2" fmla="*/ 778933 w 871297"/>
                      <a:gd name="connsiteY2" fmla="*/ 187806 h 218594"/>
                      <a:gd name="connsiteX3" fmla="*/ 763540 w 871297"/>
                      <a:gd name="connsiteY3" fmla="*/ 175491 h 218594"/>
                      <a:gd name="connsiteX4" fmla="*/ 717358 w 871297"/>
                      <a:gd name="connsiteY4" fmla="*/ 175491 h 218594"/>
                      <a:gd name="connsiteX5" fmla="*/ 701964 w 871297"/>
                      <a:gd name="connsiteY5" fmla="*/ 166254 h 218594"/>
                      <a:gd name="connsiteX6" fmla="*/ 658861 w 871297"/>
                      <a:gd name="connsiteY6" fmla="*/ 175491 h 218594"/>
                      <a:gd name="connsiteX7" fmla="*/ 615758 w 871297"/>
                      <a:gd name="connsiteY7" fmla="*/ 175491 h 218594"/>
                      <a:gd name="connsiteX8" fmla="*/ 581891 w 871297"/>
                      <a:gd name="connsiteY8" fmla="*/ 175491 h 218594"/>
                      <a:gd name="connsiteX9" fmla="*/ 548024 w 871297"/>
                      <a:gd name="connsiteY9" fmla="*/ 157018 h 218594"/>
                      <a:gd name="connsiteX10" fmla="*/ 526473 w 871297"/>
                      <a:gd name="connsiteY10" fmla="*/ 141624 h 218594"/>
                      <a:gd name="connsiteX11" fmla="*/ 523394 w 871297"/>
                      <a:gd name="connsiteY11" fmla="*/ 126230 h 218594"/>
                      <a:gd name="connsiteX12" fmla="*/ 523394 w 871297"/>
                      <a:gd name="connsiteY12" fmla="*/ 110836 h 218594"/>
                      <a:gd name="connsiteX13" fmla="*/ 529552 w 871297"/>
                      <a:gd name="connsiteY13" fmla="*/ 95442 h 218594"/>
                      <a:gd name="connsiteX14" fmla="*/ 535709 w 871297"/>
                      <a:gd name="connsiteY14" fmla="*/ 76970 h 218594"/>
                      <a:gd name="connsiteX15" fmla="*/ 517237 w 871297"/>
                      <a:gd name="connsiteY15" fmla="*/ 61576 h 218594"/>
                      <a:gd name="connsiteX16" fmla="*/ 458740 w 871297"/>
                      <a:gd name="connsiteY16" fmla="*/ 43103 h 218594"/>
                      <a:gd name="connsiteX17" fmla="*/ 409479 w 871297"/>
                      <a:gd name="connsiteY17" fmla="*/ 21551 h 218594"/>
                      <a:gd name="connsiteX18" fmla="*/ 323273 w 871297"/>
                      <a:gd name="connsiteY18" fmla="*/ 15394 h 218594"/>
                      <a:gd name="connsiteX19" fmla="*/ 267855 w 871297"/>
                      <a:gd name="connsiteY19" fmla="*/ 15394 h 218594"/>
                      <a:gd name="connsiteX20" fmla="*/ 200121 w 871297"/>
                      <a:gd name="connsiteY20" fmla="*/ 27709 h 218594"/>
                      <a:gd name="connsiteX21" fmla="*/ 157018 w 871297"/>
                      <a:gd name="connsiteY21" fmla="*/ 36945 h 218594"/>
                      <a:gd name="connsiteX22" fmla="*/ 147782 w 871297"/>
                      <a:gd name="connsiteY22" fmla="*/ 36945 h 218594"/>
                      <a:gd name="connsiteX23" fmla="*/ 141624 w 871297"/>
                      <a:gd name="connsiteY23" fmla="*/ 18473 h 218594"/>
                      <a:gd name="connsiteX24" fmla="*/ 92364 w 871297"/>
                      <a:gd name="connsiteY24" fmla="*/ 21551 h 218594"/>
                      <a:gd name="connsiteX25" fmla="*/ 43103 w 871297"/>
                      <a:gd name="connsiteY25" fmla="*/ 3079 h 218594"/>
                      <a:gd name="connsiteX26" fmla="*/ 0 w 871297"/>
                      <a:gd name="connsiteY26" fmla="*/ 0 h 218594"/>
                      <a:gd name="connsiteX0" fmla="*/ 871297 w 871297"/>
                      <a:gd name="connsiteY0" fmla="*/ 218594 h 218594"/>
                      <a:gd name="connsiteX1" fmla="*/ 812800 w 871297"/>
                      <a:gd name="connsiteY1" fmla="*/ 203200 h 218594"/>
                      <a:gd name="connsiteX2" fmla="*/ 778933 w 871297"/>
                      <a:gd name="connsiteY2" fmla="*/ 187806 h 218594"/>
                      <a:gd name="connsiteX3" fmla="*/ 763540 w 871297"/>
                      <a:gd name="connsiteY3" fmla="*/ 175491 h 218594"/>
                      <a:gd name="connsiteX4" fmla="*/ 717358 w 871297"/>
                      <a:gd name="connsiteY4" fmla="*/ 175491 h 218594"/>
                      <a:gd name="connsiteX5" fmla="*/ 701964 w 871297"/>
                      <a:gd name="connsiteY5" fmla="*/ 166254 h 218594"/>
                      <a:gd name="connsiteX6" fmla="*/ 658861 w 871297"/>
                      <a:gd name="connsiteY6" fmla="*/ 175491 h 218594"/>
                      <a:gd name="connsiteX7" fmla="*/ 615758 w 871297"/>
                      <a:gd name="connsiteY7" fmla="*/ 175491 h 218594"/>
                      <a:gd name="connsiteX8" fmla="*/ 581891 w 871297"/>
                      <a:gd name="connsiteY8" fmla="*/ 175491 h 218594"/>
                      <a:gd name="connsiteX9" fmla="*/ 548024 w 871297"/>
                      <a:gd name="connsiteY9" fmla="*/ 157018 h 218594"/>
                      <a:gd name="connsiteX10" fmla="*/ 526473 w 871297"/>
                      <a:gd name="connsiteY10" fmla="*/ 141624 h 218594"/>
                      <a:gd name="connsiteX11" fmla="*/ 523394 w 871297"/>
                      <a:gd name="connsiteY11" fmla="*/ 126230 h 218594"/>
                      <a:gd name="connsiteX12" fmla="*/ 523394 w 871297"/>
                      <a:gd name="connsiteY12" fmla="*/ 110836 h 218594"/>
                      <a:gd name="connsiteX13" fmla="*/ 529552 w 871297"/>
                      <a:gd name="connsiteY13" fmla="*/ 95442 h 218594"/>
                      <a:gd name="connsiteX14" fmla="*/ 535709 w 871297"/>
                      <a:gd name="connsiteY14" fmla="*/ 76970 h 218594"/>
                      <a:gd name="connsiteX15" fmla="*/ 517237 w 871297"/>
                      <a:gd name="connsiteY15" fmla="*/ 61576 h 218594"/>
                      <a:gd name="connsiteX16" fmla="*/ 458740 w 871297"/>
                      <a:gd name="connsiteY16" fmla="*/ 43103 h 218594"/>
                      <a:gd name="connsiteX17" fmla="*/ 409479 w 871297"/>
                      <a:gd name="connsiteY17" fmla="*/ 21551 h 218594"/>
                      <a:gd name="connsiteX18" fmla="*/ 323273 w 871297"/>
                      <a:gd name="connsiteY18" fmla="*/ 15394 h 218594"/>
                      <a:gd name="connsiteX19" fmla="*/ 267855 w 871297"/>
                      <a:gd name="connsiteY19" fmla="*/ 15394 h 218594"/>
                      <a:gd name="connsiteX20" fmla="*/ 200121 w 871297"/>
                      <a:gd name="connsiteY20" fmla="*/ 27709 h 218594"/>
                      <a:gd name="connsiteX21" fmla="*/ 157018 w 871297"/>
                      <a:gd name="connsiteY21" fmla="*/ 36945 h 218594"/>
                      <a:gd name="connsiteX22" fmla="*/ 147782 w 871297"/>
                      <a:gd name="connsiteY22" fmla="*/ 36945 h 218594"/>
                      <a:gd name="connsiteX23" fmla="*/ 141624 w 871297"/>
                      <a:gd name="connsiteY23" fmla="*/ 18473 h 218594"/>
                      <a:gd name="connsiteX24" fmla="*/ 92364 w 871297"/>
                      <a:gd name="connsiteY24" fmla="*/ 21551 h 218594"/>
                      <a:gd name="connsiteX25" fmla="*/ 0 w 871297"/>
                      <a:gd name="connsiteY25" fmla="*/ 0 h 218594"/>
                      <a:gd name="connsiteX0" fmla="*/ 778933 w 778933"/>
                      <a:gd name="connsiteY0" fmla="*/ 204385 h 204385"/>
                      <a:gd name="connsiteX1" fmla="*/ 720436 w 778933"/>
                      <a:gd name="connsiteY1" fmla="*/ 188991 h 204385"/>
                      <a:gd name="connsiteX2" fmla="*/ 686569 w 778933"/>
                      <a:gd name="connsiteY2" fmla="*/ 173597 h 204385"/>
                      <a:gd name="connsiteX3" fmla="*/ 671176 w 778933"/>
                      <a:gd name="connsiteY3" fmla="*/ 161282 h 204385"/>
                      <a:gd name="connsiteX4" fmla="*/ 624994 w 778933"/>
                      <a:gd name="connsiteY4" fmla="*/ 161282 h 204385"/>
                      <a:gd name="connsiteX5" fmla="*/ 609600 w 778933"/>
                      <a:gd name="connsiteY5" fmla="*/ 152045 h 204385"/>
                      <a:gd name="connsiteX6" fmla="*/ 566497 w 778933"/>
                      <a:gd name="connsiteY6" fmla="*/ 161282 h 204385"/>
                      <a:gd name="connsiteX7" fmla="*/ 523394 w 778933"/>
                      <a:gd name="connsiteY7" fmla="*/ 161282 h 204385"/>
                      <a:gd name="connsiteX8" fmla="*/ 489527 w 778933"/>
                      <a:gd name="connsiteY8" fmla="*/ 161282 h 204385"/>
                      <a:gd name="connsiteX9" fmla="*/ 455660 w 778933"/>
                      <a:gd name="connsiteY9" fmla="*/ 142809 h 204385"/>
                      <a:gd name="connsiteX10" fmla="*/ 434109 w 778933"/>
                      <a:gd name="connsiteY10" fmla="*/ 127415 h 204385"/>
                      <a:gd name="connsiteX11" fmla="*/ 431030 w 778933"/>
                      <a:gd name="connsiteY11" fmla="*/ 112021 h 204385"/>
                      <a:gd name="connsiteX12" fmla="*/ 431030 w 778933"/>
                      <a:gd name="connsiteY12" fmla="*/ 96627 h 204385"/>
                      <a:gd name="connsiteX13" fmla="*/ 437188 w 778933"/>
                      <a:gd name="connsiteY13" fmla="*/ 81233 h 204385"/>
                      <a:gd name="connsiteX14" fmla="*/ 443345 w 778933"/>
                      <a:gd name="connsiteY14" fmla="*/ 62761 h 204385"/>
                      <a:gd name="connsiteX15" fmla="*/ 424873 w 778933"/>
                      <a:gd name="connsiteY15" fmla="*/ 47367 h 204385"/>
                      <a:gd name="connsiteX16" fmla="*/ 366376 w 778933"/>
                      <a:gd name="connsiteY16" fmla="*/ 28894 h 204385"/>
                      <a:gd name="connsiteX17" fmla="*/ 317115 w 778933"/>
                      <a:gd name="connsiteY17" fmla="*/ 7342 h 204385"/>
                      <a:gd name="connsiteX18" fmla="*/ 230909 w 778933"/>
                      <a:gd name="connsiteY18" fmla="*/ 1185 h 204385"/>
                      <a:gd name="connsiteX19" fmla="*/ 175491 w 778933"/>
                      <a:gd name="connsiteY19" fmla="*/ 1185 h 204385"/>
                      <a:gd name="connsiteX20" fmla="*/ 107757 w 778933"/>
                      <a:gd name="connsiteY20" fmla="*/ 13500 h 204385"/>
                      <a:gd name="connsiteX21" fmla="*/ 64654 w 778933"/>
                      <a:gd name="connsiteY21" fmla="*/ 22736 h 204385"/>
                      <a:gd name="connsiteX22" fmla="*/ 55418 w 778933"/>
                      <a:gd name="connsiteY22" fmla="*/ 22736 h 204385"/>
                      <a:gd name="connsiteX23" fmla="*/ 49260 w 778933"/>
                      <a:gd name="connsiteY23" fmla="*/ 4264 h 204385"/>
                      <a:gd name="connsiteX24" fmla="*/ 0 w 778933"/>
                      <a:gd name="connsiteY24" fmla="*/ 7342 h 204385"/>
                      <a:gd name="connsiteX0" fmla="*/ 729673 w 729673"/>
                      <a:gd name="connsiteY0" fmla="*/ 204385 h 204385"/>
                      <a:gd name="connsiteX1" fmla="*/ 671176 w 729673"/>
                      <a:gd name="connsiteY1" fmla="*/ 188991 h 204385"/>
                      <a:gd name="connsiteX2" fmla="*/ 637309 w 729673"/>
                      <a:gd name="connsiteY2" fmla="*/ 173597 h 204385"/>
                      <a:gd name="connsiteX3" fmla="*/ 621916 w 729673"/>
                      <a:gd name="connsiteY3" fmla="*/ 161282 h 204385"/>
                      <a:gd name="connsiteX4" fmla="*/ 575734 w 729673"/>
                      <a:gd name="connsiteY4" fmla="*/ 161282 h 204385"/>
                      <a:gd name="connsiteX5" fmla="*/ 560340 w 729673"/>
                      <a:gd name="connsiteY5" fmla="*/ 152045 h 204385"/>
                      <a:gd name="connsiteX6" fmla="*/ 517237 w 729673"/>
                      <a:gd name="connsiteY6" fmla="*/ 161282 h 204385"/>
                      <a:gd name="connsiteX7" fmla="*/ 474134 w 729673"/>
                      <a:gd name="connsiteY7" fmla="*/ 161282 h 204385"/>
                      <a:gd name="connsiteX8" fmla="*/ 440267 w 729673"/>
                      <a:gd name="connsiteY8" fmla="*/ 161282 h 204385"/>
                      <a:gd name="connsiteX9" fmla="*/ 406400 w 729673"/>
                      <a:gd name="connsiteY9" fmla="*/ 142809 h 204385"/>
                      <a:gd name="connsiteX10" fmla="*/ 384849 w 729673"/>
                      <a:gd name="connsiteY10" fmla="*/ 127415 h 204385"/>
                      <a:gd name="connsiteX11" fmla="*/ 381770 w 729673"/>
                      <a:gd name="connsiteY11" fmla="*/ 112021 h 204385"/>
                      <a:gd name="connsiteX12" fmla="*/ 381770 w 729673"/>
                      <a:gd name="connsiteY12" fmla="*/ 96627 h 204385"/>
                      <a:gd name="connsiteX13" fmla="*/ 387928 w 729673"/>
                      <a:gd name="connsiteY13" fmla="*/ 81233 h 204385"/>
                      <a:gd name="connsiteX14" fmla="*/ 394085 w 729673"/>
                      <a:gd name="connsiteY14" fmla="*/ 62761 h 204385"/>
                      <a:gd name="connsiteX15" fmla="*/ 375613 w 729673"/>
                      <a:gd name="connsiteY15" fmla="*/ 47367 h 204385"/>
                      <a:gd name="connsiteX16" fmla="*/ 317116 w 729673"/>
                      <a:gd name="connsiteY16" fmla="*/ 28894 h 204385"/>
                      <a:gd name="connsiteX17" fmla="*/ 267855 w 729673"/>
                      <a:gd name="connsiteY17" fmla="*/ 7342 h 204385"/>
                      <a:gd name="connsiteX18" fmla="*/ 181649 w 729673"/>
                      <a:gd name="connsiteY18" fmla="*/ 1185 h 204385"/>
                      <a:gd name="connsiteX19" fmla="*/ 126231 w 729673"/>
                      <a:gd name="connsiteY19" fmla="*/ 1185 h 204385"/>
                      <a:gd name="connsiteX20" fmla="*/ 58497 w 729673"/>
                      <a:gd name="connsiteY20" fmla="*/ 13500 h 204385"/>
                      <a:gd name="connsiteX21" fmla="*/ 15394 w 729673"/>
                      <a:gd name="connsiteY21" fmla="*/ 22736 h 204385"/>
                      <a:gd name="connsiteX22" fmla="*/ 6158 w 729673"/>
                      <a:gd name="connsiteY22" fmla="*/ 22736 h 204385"/>
                      <a:gd name="connsiteX23" fmla="*/ 0 w 729673"/>
                      <a:gd name="connsiteY23" fmla="*/ 4264 h 204385"/>
                      <a:gd name="connsiteX0" fmla="*/ 723515 w 723515"/>
                      <a:gd name="connsiteY0" fmla="*/ 204385 h 204385"/>
                      <a:gd name="connsiteX1" fmla="*/ 665018 w 723515"/>
                      <a:gd name="connsiteY1" fmla="*/ 188991 h 204385"/>
                      <a:gd name="connsiteX2" fmla="*/ 631151 w 723515"/>
                      <a:gd name="connsiteY2" fmla="*/ 173597 h 204385"/>
                      <a:gd name="connsiteX3" fmla="*/ 615758 w 723515"/>
                      <a:gd name="connsiteY3" fmla="*/ 161282 h 204385"/>
                      <a:gd name="connsiteX4" fmla="*/ 569576 w 723515"/>
                      <a:gd name="connsiteY4" fmla="*/ 161282 h 204385"/>
                      <a:gd name="connsiteX5" fmla="*/ 554182 w 723515"/>
                      <a:gd name="connsiteY5" fmla="*/ 152045 h 204385"/>
                      <a:gd name="connsiteX6" fmla="*/ 511079 w 723515"/>
                      <a:gd name="connsiteY6" fmla="*/ 161282 h 204385"/>
                      <a:gd name="connsiteX7" fmla="*/ 467976 w 723515"/>
                      <a:gd name="connsiteY7" fmla="*/ 161282 h 204385"/>
                      <a:gd name="connsiteX8" fmla="*/ 434109 w 723515"/>
                      <a:gd name="connsiteY8" fmla="*/ 161282 h 204385"/>
                      <a:gd name="connsiteX9" fmla="*/ 400242 w 723515"/>
                      <a:gd name="connsiteY9" fmla="*/ 142809 h 204385"/>
                      <a:gd name="connsiteX10" fmla="*/ 378691 w 723515"/>
                      <a:gd name="connsiteY10" fmla="*/ 127415 h 204385"/>
                      <a:gd name="connsiteX11" fmla="*/ 375612 w 723515"/>
                      <a:gd name="connsiteY11" fmla="*/ 112021 h 204385"/>
                      <a:gd name="connsiteX12" fmla="*/ 375612 w 723515"/>
                      <a:gd name="connsiteY12" fmla="*/ 96627 h 204385"/>
                      <a:gd name="connsiteX13" fmla="*/ 381770 w 723515"/>
                      <a:gd name="connsiteY13" fmla="*/ 81233 h 204385"/>
                      <a:gd name="connsiteX14" fmla="*/ 387927 w 723515"/>
                      <a:gd name="connsiteY14" fmla="*/ 62761 h 204385"/>
                      <a:gd name="connsiteX15" fmla="*/ 369455 w 723515"/>
                      <a:gd name="connsiteY15" fmla="*/ 47367 h 204385"/>
                      <a:gd name="connsiteX16" fmla="*/ 310958 w 723515"/>
                      <a:gd name="connsiteY16" fmla="*/ 28894 h 204385"/>
                      <a:gd name="connsiteX17" fmla="*/ 261697 w 723515"/>
                      <a:gd name="connsiteY17" fmla="*/ 7342 h 204385"/>
                      <a:gd name="connsiteX18" fmla="*/ 175491 w 723515"/>
                      <a:gd name="connsiteY18" fmla="*/ 1185 h 204385"/>
                      <a:gd name="connsiteX19" fmla="*/ 120073 w 723515"/>
                      <a:gd name="connsiteY19" fmla="*/ 1185 h 204385"/>
                      <a:gd name="connsiteX20" fmla="*/ 52339 w 723515"/>
                      <a:gd name="connsiteY20" fmla="*/ 13500 h 204385"/>
                      <a:gd name="connsiteX21" fmla="*/ 9236 w 723515"/>
                      <a:gd name="connsiteY21" fmla="*/ 22736 h 204385"/>
                      <a:gd name="connsiteX22" fmla="*/ 0 w 723515"/>
                      <a:gd name="connsiteY22" fmla="*/ 22736 h 204385"/>
                      <a:gd name="connsiteX0" fmla="*/ 714279 w 714279"/>
                      <a:gd name="connsiteY0" fmla="*/ 204385 h 204385"/>
                      <a:gd name="connsiteX1" fmla="*/ 655782 w 714279"/>
                      <a:gd name="connsiteY1" fmla="*/ 188991 h 204385"/>
                      <a:gd name="connsiteX2" fmla="*/ 621915 w 714279"/>
                      <a:gd name="connsiteY2" fmla="*/ 173597 h 204385"/>
                      <a:gd name="connsiteX3" fmla="*/ 606522 w 714279"/>
                      <a:gd name="connsiteY3" fmla="*/ 161282 h 204385"/>
                      <a:gd name="connsiteX4" fmla="*/ 560340 w 714279"/>
                      <a:gd name="connsiteY4" fmla="*/ 161282 h 204385"/>
                      <a:gd name="connsiteX5" fmla="*/ 544946 w 714279"/>
                      <a:gd name="connsiteY5" fmla="*/ 152045 h 204385"/>
                      <a:gd name="connsiteX6" fmla="*/ 501843 w 714279"/>
                      <a:gd name="connsiteY6" fmla="*/ 161282 h 204385"/>
                      <a:gd name="connsiteX7" fmla="*/ 458740 w 714279"/>
                      <a:gd name="connsiteY7" fmla="*/ 161282 h 204385"/>
                      <a:gd name="connsiteX8" fmla="*/ 424873 w 714279"/>
                      <a:gd name="connsiteY8" fmla="*/ 161282 h 204385"/>
                      <a:gd name="connsiteX9" fmla="*/ 391006 w 714279"/>
                      <a:gd name="connsiteY9" fmla="*/ 142809 h 204385"/>
                      <a:gd name="connsiteX10" fmla="*/ 369455 w 714279"/>
                      <a:gd name="connsiteY10" fmla="*/ 127415 h 204385"/>
                      <a:gd name="connsiteX11" fmla="*/ 366376 w 714279"/>
                      <a:gd name="connsiteY11" fmla="*/ 112021 h 204385"/>
                      <a:gd name="connsiteX12" fmla="*/ 366376 w 714279"/>
                      <a:gd name="connsiteY12" fmla="*/ 96627 h 204385"/>
                      <a:gd name="connsiteX13" fmla="*/ 372534 w 714279"/>
                      <a:gd name="connsiteY13" fmla="*/ 81233 h 204385"/>
                      <a:gd name="connsiteX14" fmla="*/ 378691 w 714279"/>
                      <a:gd name="connsiteY14" fmla="*/ 62761 h 204385"/>
                      <a:gd name="connsiteX15" fmla="*/ 360219 w 714279"/>
                      <a:gd name="connsiteY15" fmla="*/ 47367 h 204385"/>
                      <a:gd name="connsiteX16" fmla="*/ 301722 w 714279"/>
                      <a:gd name="connsiteY16" fmla="*/ 28894 h 204385"/>
                      <a:gd name="connsiteX17" fmla="*/ 252461 w 714279"/>
                      <a:gd name="connsiteY17" fmla="*/ 7342 h 204385"/>
                      <a:gd name="connsiteX18" fmla="*/ 166255 w 714279"/>
                      <a:gd name="connsiteY18" fmla="*/ 1185 h 204385"/>
                      <a:gd name="connsiteX19" fmla="*/ 110837 w 714279"/>
                      <a:gd name="connsiteY19" fmla="*/ 1185 h 204385"/>
                      <a:gd name="connsiteX20" fmla="*/ 43103 w 714279"/>
                      <a:gd name="connsiteY20" fmla="*/ 13500 h 204385"/>
                      <a:gd name="connsiteX21" fmla="*/ 0 w 714279"/>
                      <a:gd name="connsiteY21" fmla="*/ 22736 h 204385"/>
                      <a:gd name="connsiteX0" fmla="*/ 671176 w 671176"/>
                      <a:gd name="connsiteY0" fmla="*/ 204385 h 204385"/>
                      <a:gd name="connsiteX1" fmla="*/ 612679 w 671176"/>
                      <a:gd name="connsiteY1" fmla="*/ 188991 h 204385"/>
                      <a:gd name="connsiteX2" fmla="*/ 578812 w 671176"/>
                      <a:gd name="connsiteY2" fmla="*/ 173597 h 204385"/>
                      <a:gd name="connsiteX3" fmla="*/ 563419 w 671176"/>
                      <a:gd name="connsiteY3" fmla="*/ 161282 h 204385"/>
                      <a:gd name="connsiteX4" fmla="*/ 517237 w 671176"/>
                      <a:gd name="connsiteY4" fmla="*/ 161282 h 204385"/>
                      <a:gd name="connsiteX5" fmla="*/ 501843 w 671176"/>
                      <a:gd name="connsiteY5" fmla="*/ 152045 h 204385"/>
                      <a:gd name="connsiteX6" fmla="*/ 458740 w 671176"/>
                      <a:gd name="connsiteY6" fmla="*/ 161282 h 204385"/>
                      <a:gd name="connsiteX7" fmla="*/ 415637 w 671176"/>
                      <a:gd name="connsiteY7" fmla="*/ 161282 h 204385"/>
                      <a:gd name="connsiteX8" fmla="*/ 381770 w 671176"/>
                      <a:gd name="connsiteY8" fmla="*/ 161282 h 204385"/>
                      <a:gd name="connsiteX9" fmla="*/ 347903 w 671176"/>
                      <a:gd name="connsiteY9" fmla="*/ 142809 h 204385"/>
                      <a:gd name="connsiteX10" fmla="*/ 326352 w 671176"/>
                      <a:gd name="connsiteY10" fmla="*/ 127415 h 204385"/>
                      <a:gd name="connsiteX11" fmla="*/ 323273 w 671176"/>
                      <a:gd name="connsiteY11" fmla="*/ 112021 h 204385"/>
                      <a:gd name="connsiteX12" fmla="*/ 323273 w 671176"/>
                      <a:gd name="connsiteY12" fmla="*/ 96627 h 204385"/>
                      <a:gd name="connsiteX13" fmla="*/ 329431 w 671176"/>
                      <a:gd name="connsiteY13" fmla="*/ 81233 h 204385"/>
                      <a:gd name="connsiteX14" fmla="*/ 335588 w 671176"/>
                      <a:gd name="connsiteY14" fmla="*/ 62761 h 204385"/>
                      <a:gd name="connsiteX15" fmla="*/ 317116 w 671176"/>
                      <a:gd name="connsiteY15" fmla="*/ 47367 h 204385"/>
                      <a:gd name="connsiteX16" fmla="*/ 258619 w 671176"/>
                      <a:gd name="connsiteY16" fmla="*/ 28894 h 204385"/>
                      <a:gd name="connsiteX17" fmla="*/ 209358 w 671176"/>
                      <a:gd name="connsiteY17" fmla="*/ 7342 h 204385"/>
                      <a:gd name="connsiteX18" fmla="*/ 123152 w 671176"/>
                      <a:gd name="connsiteY18" fmla="*/ 1185 h 204385"/>
                      <a:gd name="connsiteX19" fmla="*/ 67734 w 671176"/>
                      <a:gd name="connsiteY19" fmla="*/ 1185 h 204385"/>
                      <a:gd name="connsiteX20" fmla="*/ 0 w 671176"/>
                      <a:gd name="connsiteY20" fmla="*/ 13500 h 20438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</a:cxnLst>
                    <a:rect l="l" t="t" r="r" b="b"/>
                    <a:pathLst>
                      <a:path w="671176" h="204385">
                        <a:moveTo>
                          <a:pt x="671176" y="204385"/>
                        </a:moveTo>
                        <a:cubicBezTo>
                          <a:pt x="649624" y="199253"/>
                          <a:pt x="628073" y="194122"/>
                          <a:pt x="612679" y="188991"/>
                        </a:cubicBezTo>
                        <a:cubicBezTo>
                          <a:pt x="597285" y="183860"/>
                          <a:pt x="587022" y="178215"/>
                          <a:pt x="578812" y="173597"/>
                        </a:cubicBezTo>
                        <a:cubicBezTo>
                          <a:pt x="570602" y="168979"/>
                          <a:pt x="573681" y="163334"/>
                          <a:pt x="563419" y="161282"/>
                        </a:cubicBezTo>
                        <a:cubicBezTo>
                          <a:pt x="553157" y="159230"/>
                          <a:pt x="527500" y="162821"/>
                          <a:pt x="517237" y="161282"/>
                        </a:cubicBezTo>
                        <a:cubicBezTo>
                          <a:pt x="506974" y="159743"/>
                          <a:pt x="511592" y="152045"/>
                          <a:pt x="501843" y="152045"/>
                        </a:cubicBezTo>
                        <a:cubicBezTo>
                          <a:pt x="492094" y="152045"/>
                          <a:pt x="473108" y="159742"/>
                          <a:pt x="458740" y="161282"/>
                        </a:cubicBezTo>
                        <a:cubicBezTo>
                          <a:pt x="444372" y="162821"/>
                          <a:pt x="415637" y="161282"/>
                          <a:pt x="415637" y="161282"/>
                        </a:cubicBezTo>
                        <a:cubicBezTo>
                          <a:pt x="402809" y="161282"/>
                          <a:pt x="393059" y="164361"/>
                          <a:pt x="381770" y="161282"/>
                        </a:cubicBezTo>
                        <a:cubicBezTo>
                          <a:pt x="370481" y="158203"/>
                          <a:pt x="357139" y="148453"/>
                          <a:pt x="347903" y="142809"/>
                        </a:cubicBezTo>
                        <a:cubicBezTo>
                          <a:pt x="338667" y="137164"/>
                          <a:pt x="326352" y="127415"/>
                          <a:pt x="326352" y="127415"/>
                        </a:cubicBezTo>
                        <a:cubicBezTo>
                          <a:pt x="322247" y="122284"/>
                          <a:pt x="323786" y="117152"/>
                          <a:pt x="323273" y="112021"/>
                        </a:cubicBezTo>
                        <a:cubicBezTo>
                          <a:pt x="322760" y="106890"/>
                          <a:pt x="322247" y="101758"/>
                          <a:pt x="323273" y="96627"/>
                        </a:cubicBezTo>
                        <a:cubicBezTo>
                          <a:pt x="324299" y="91496"/>
                          <a:pt x="327379" y="86877"/>
                          <a:pt x="329431" y="81233"/>
                        </a:cubicBezTo>
                        <a:cubicBezTo>
                          <a:pt x="331483" y="75589"/>
                          <a:pt x="337640" y="68405"/>
                          <a:pt x="335588" y="62761"/>
                        </a:cubicBezTo>
                        <a:cubicBezTo>
                          <a:pt x="333536" y="57117"/>
                          <a:pt x="329944" y="53011"/>
                          <a:pt x="317116" y="47367"/>
                        </a:cubicBezTo>
                        <a:cubicBezTo>
                          <a:pt x="304288" y="41723"/>
                          <a:pt x="276579" y="35565"/>
                          <a:pt x="258619" y="28894"/>
                        </a:cubicBezTo>
                        <a:cubicBezTo>
                          <a:pt x="240659" y="22223"/>
                          <a:pt x="231936" y="11960"/>
                          <a:pt x="209358" y="7342"/>
                        </a:cubicBezTo>
                        <a:cubicBezTo>
                          <a:pt x="186780" y="2724"/>
                          <a:pt x="146756" y="2211"/>
                          <a:pt x="123152" y="1185"/>
                        </a:cubicBezTo>
                        <a:cubicBezTo>
                          <a:pt x="99548" y="159"/>
                          <a:pt x="88259" y="-867"/>
                          <a:pt x="67734" y="1185"/>
                        </a:cubicBezTo>
                        <a:cubicBezTo>
                          <a:pt x="47209" y="3237"/>
                          <a:pt x="18473" y="9908"/>
                          <a:pt x="0" y="1350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1" name="Полилиния 200"/>
                  <p:cNvSpPr/>
                  <p:nvPr/>
                </p:nvSpPr>
                <p:spPr>
                  <a:xfrm>
                    <a:off x="5300267" y="5139323"/>
                    <a:ext cx="1150944" cy="416600"/>
                  </a:xfrm>
                  <a:custGeom>
                    <a:avLst/>
                    <a:gdLst>
                      <a:gd name="connsiteX0" fmla="*/ 1150944 w 1150944"/>
                      <a:gd name="connsiteY0" fmla="*/ 0 h 416600"/>
                      <a:gd name="connsiteX1" fmla="*/ 1108578 w 1150944"/>
                      <a:gd name="connsiteY1" fmla="*/ 31775 h 416600"/>
                      <a:gd name="connsiteX2" fmla="*/ 1059151 w 1150944"/>
                      <a:gd name="connsiteY2" fmla="*/ 70610 h 416600"/>
                      <a:gd name="connsiteX3" fmla="*/ 1002663 w 1150944"/>
                      <a:gd name="connsiteY3" fmla="*/ 102385 h 416600"/>
                      <a:gd name="connsiteX4" fmla="*/ 956766 w 1150944"/>
                      <a:gd name="connsiteY4" fmla="*/ 141220 h 416600"/>
                      <a:gd name="connsiteX5" fmla="*/ 886156 w 1150944"/>
                      <a:gd name="connsiteY5" fmla="*/ 180056 h 416600"/>
                      <a:gd name="connsiteX6" fmla="*/ 833199 w 1150944"/>
                      <a:gd name="connsiteY6" fmla="*/ 187117 h 416600"/>
                      <a:gd name="connsiteX7" fmla="*/ 794363 w 1150944"/>
                      <a:gd name="connsiteY7" fmla="*/ 172995 h 416600"/>
                      <a:gd name="connsiteX8" fmla="*/ 741406 w 1150944"/>
                      <a:gd name="connsiteY8" fmla="*/ 176525 h 416600"/>
                      <a:gd name="connsiteX9" fmla="*/ 684918 w 1150944"/>
                      <a:gd name="connsiteY9" fmla="*/ 151812 h 416600"/>
                      <a:gd name="connsiteX10" fmla="*/ 635491 w 1150944"/>
                      <a:gd name="connsiteY10" fmla="*/ 144751 h 416600"/>
                      <a:gd name="connsiteX11" fmla="*/ 547228 w 1150944"/>
                      <a:gd name="connsiteY11" fmla="*/ 155342 h 416600"/>
                      <a:gd name="connsiteX12" fmla="*/ 480149 w 1150944"/>
                      <a:gd name="connsiteY12" fmla="*/ 180056 h 416600"/>
                      <a:gd name="connsiteX13" fmla="*/ 437783 w 1150944"/>
                      <a:gd name="connsiteY13" fmla="*/ 204769 h 416600"/>
                      <a:gd name="connsiteX14" fmla="*/ 388356 w 1150944"/>
                      <a:gd name="connsiteY14" fmla="*/ 229483 h 416600"/>
                      <a:gd name="connsiteX15" fmla="*/ 324807 w 1150944"/>
                      <a:gd name="connsiteY15" fmla="*/ 264788 h 416600"/>
                      <a:gd name="connsiteX16" fmla="*/ 282441 w 1150944"/>
                      <a:gd name="connsiteY16" fmla="*/ 303623 h 416600"/>
                      <a:gd name="connsiteX17" fmla="*/ 236544 w 1150944"/>
                      <a:gd name="connsiteY17" fmla="*/ 338928 h 416600"/>
                      <a:gd name="connsiteX18" fmla="*/ 187117 w 1150944"/>
                      <a:gd name="connsiteY18" fmla="*/ 335398 h 416600"/>
                      <a:gd name="connsiteX19" fmla="*/ 137690 w 1150944"/>
                      <a:gd name="connsiteY19" fmla="*/ 331867 h 416600"/>
                      <a:gd name="connsiteX20" fmla="*/ 105915 w 1150944"/>
                      <a:gd name="connsiteY20" fmla="*/ 353050 h 416600"/>
                      <a:gd name="connsiteX21" fmla="*/ 52958 w 1150944"/>
                      <a:gd name="connsiteY21" fmla="*/ 384825 h 416600"/>
                      <a:gd name="connsiteX22" fmla="*/ 28244 w 1150944"/>
                      <a:gd name="connsiteY22" fmla="*/ 398947 h 416600"/>
                      <a:gd name="connsiteX23" fmla="*/ 0 w 1150944"/>
                      <a:gd name="connsiteY23" fmla="*/ 416600 h 41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150944" h="416600">
                        <a:moveTo>
                          <a:pt x="1150944" y="0"/>
                        </a:moveTo>
                        <a:cubicBezTo>
                          <a:pt x="1137410" y="10003"/>
                          <a:pt x="1123877" y="20007"/>
                          <a:pt x="1108578" y="31775"/>
                        </a:cubicBezTo>
                        <a:cubicBezTo>
                          <a:pt x="1093279" y="43543"/>
                          <a:pt x="1076803" y="58842"/>
                          <a:pt x="1059151" y="70610"/>
                        </a:cubicBezTo>
                        <a:cubicBezTo>
                          <a:pt x="1041499" y="82378"/>
                          <a:pt x="1019727" y="90617"/>
                          <a:pt x="1002663" y="102385"/>
                        </a:cubicBezTo>
                        <a:cubicBezTo>
                          <a:pt x="985599" y="114153"/>
                          <a:pt x="976184" y="128275"/>
                          <a:pt x="956766" y="141220"/>
                        </a:cubicBezTo>
                        <a:cubicBezTo>
                          <a:pt x="937348" y="154165"/>
                          <a:pt x="906751" y="172406"/>
                          <a:pt x="886156" y="180056"/>
                        </a:cubicBezTo>
                        <a:cubicBezTo>
                          <a:pt x="865561" y="187706"/>
                          <a:pt x="848498" y="188294"/>
                          <a:pt x="833199" y="187117"/>
                        </a:cubicBezTo>
                        <a:cubicBezTo>
                          <a:pt x="817900" y="185940"/>
                          <a:pt x="809662" y="174760"/>
                          <a:pt x="794363" y="172995"/>
                        </a:cubicBezTo>
                        <a:cubicBezTo>
                          <a:pt x="779064" y="171230"/>
                          <a:pt x="759647" y="180056"/>
                          <a:pt x="741406" y="176525"/>
                        </a:cubicBezTo>
                        <a:cubicBezTo>
                          <a:pt x="723165" y="172994"/>
                          <a:pt x="702570" y="157108"/>
                          <a:pt x="684918" y="151812"/>
                        </a:cubicBezTo>
                        <a:cubicBezTo>
                          <a:pt x="667265" y="146516"/>
                          <a:pt x="658439" y="144163"/>
                          <a:pt x="635491" y="144751"/>
                        </a:cubicBezTo>
                        <a:cubicBezTo>
                          <a:pt x="612543" y="145339"/>
                          <a:pt x="573118" y="149458"/>
                          <a:pt x="547228" y="155342"/>
                        </a:cubicBezTo>
                        <a:cubicBezTo>
                          <a:pt x="521338" y="161226"/>
                          <a:pt x="498390" y="171818"/>
                          <a:pt x="480149" y="180056"/>
                        </a:cubicBezTo>
                        <a:cubicBezTo>
                          <a:pt x="461908" y="188294"/>
                          <a:pt x="453082" y="196531"/>
                          <a:pt x="437783" y="204769"/>
                        </a:cubicBezTo>
                        <a:cubicBezTo>
                          <a:pt x="422484" y="213007"/>
                          <a:pt x="407185" y="219480"/>
                          <a:pt x="388356" y="229483"/>
                        </a:cubicBezTo>
                        <a:cubicBezTo>
                          <a:pt x="369527" y="239486"/>
                          <a:pt x="342459" y="252431"/>
                          <a:pt x="324807" y="264788"/>
                        </a:cubicBezTo>
                        <a:cubicBezTo>
                          <a:pt x="307155" y="277145"/>
                          <a:pt x="297151" y="291266"/>
                          <a:pt x="282441" y="303623"/>
                        </a:cubicBezTo>
                        <a:cubicBezTo>
                          <a:pt x="267730" y="315980"/>
                          <a:pt x="252431" y="333632"/>
                          <a:pt x="236544" y="338928"/>
                        </a:cubicBezTo>
                        <a:cubicBezTo>
                          <a:pt x="220657" y="344224"/>
                          <a:pt x="187117" y="335398"/>
                          <a:pt x="187117" y="335398"/>
                        </a:cubicBezTo>
                        <a:cubicBezTo>
                          <a:pt x="170641" y="334221"/>
                          <a:pt x="151224" y="328925"/>
                          <a:pt x="137690" y="331867"/>
                        </a:cubicBezTo>
                        <a:cubicBezTo>
                          <a:pt x="124156" y="334809"/>
                          <a:pt x="120037" y="344224"/>
                          <a:pt x="105915" y="353050"/>
                        </a:cubicBezTo>
                        <a:cubicBezTo>
                          <a:pt x="91793" y="361876"/>
                          <a:pt x="65903" y="377176"/>
                          <a:pt x="52958" y="384825"/>
                        </a:cubicBezTo>
                        <a:cubicBezTo>
                          <a:pt x="40013" y="392474"/>
                          <a:pt x="37070" y="393651"/>
                          <a:pt x="28244" y="398947"/>
                        </a:cubicBezTo>
                        <a:cubicBezTo>
                          <a:pt x="19418" y="404243"/>
                          <a:pt x="9709" y="410421"/>
                          <a:pt x="0" y="41660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2" name="Полилиния 201"/>
                  <p:cNvSpPr/>
                  <p:nvPr/>
                </p:nvSpPr>
                <p:spPr>
                  <a:xfrm>
                    <a:off x="5302484" y="5112236"/>
                    <a:ext cx="1150944" cy="416600"/>
                  </a:xfrm>
                  <a:custGeom>
                    <a:avLst/>
                    <a:gdLst>
                      <a:gd name="connsiteX0" fmla="*/ 1150944 w 1150944"/>
                      <a:gd name="connsiteY0" fmla="*/ 0 h 416600"/>
                      <a:gd name="connsiteX1" fmla="*/ 1108578 w 1150944"/>
                      <a:gd name="connsiteY1" fmla="*/ 31775 h 416600"/>
                      <a:gd name="connsiteX2" fmla="*/ 1059151 w 1150944"/>
                      <a:gd name="connsiteY2" fmla="*/ 70610 h 416600"/>
                      <a:gd name="connsiteX3" fmla="*/ 1002663 w 1150944"/>
                      <a:gd name="connsiteY3" fmla="*/ 102385 h 416600"/>
                      <a:gd name="connsiteX4" fmla="*/ 956766 w 1150944"/>
                      <a:gd name="connsiteY4" fmla="*/ 141220 h 416600"/>
                      <a:gd name="connsiteX5" fmla="*/ 886156 w 1150944"/>
                      <a:gd name="connsiteY5" fmla="*/ 180056 h 416600"/>
                      <a:gd name="connsiteX6" fmla="*/ 833199 w 1150944"/>
                      <a:gd name="connsiteY6" fmla="*/ 187117 h 416600"/>
                      <a:gd name="connsiteX7" fmla="*/ 794363 w 1150944"/>
                      <a:gd name="connsiteY7" fmla="*/ 172995 h 416600"/>
                      <a:gd name="connsiteX8" fmla="*/ 741406 w 1150944"/>
                      <a:gd name="connsiteY8" fmla="*/ 176525 h 416600"/>
                      <a:gd name="connsiteX9" fmla="*/ 684918 w 1150944"/>
                      <a:gd name="connsiteY9" fmla="*/ 151812 h 416600"/>
                      <a:gd name="connsiteX10" fmla="*/ 635491 w 1150944"/>
                      <a:gd name="connsiteY10" fmla="*/ 144751 h 416600"/>
                      <a:gd name="connsiteX11" fmla="*/ 547228 w 1150944"/>
                      <a:gd name="connsiteY11" fmla="*/ 155342 h 416600"/>
                      <a:gd name="connsiteX12" fmla="*/ 480149 w 1150944"/>
                      <a:gd name="connsiteY12" fmla="*/ 180056 h 416600"/>
                      <a:gd name="connsiteX13" fmla="*/ 437783 w 1150944"/>
                      <a:gd name="connsiteY13" fmla="*/ 204769 h 416600"/>
                      <a:gd name="connsiteX14" fmla="*/ 388356 w 1150944"/>
                      <a:gd name="connsiteY14" fmla="*/ 229483 h 416600"/>
                      <a:gd name="connsiteX15" fmla="*/ 324807 w 1150944"/>
                      <a:gd name="connsiteY15" fmla="*/ 264788 h 416600"/>
                      <a:gd name="connsiteX16" fmla="*/ 282441 w 1150944"/>
                      <a:gd name="connsiteY16" fmla="*/ 303623 h 416600"/>
                      <a:gd name="connsiteX17" fmla="*/ 236544 w 1150944"/>
                      <a:gd name="connsiteY17" fmla="*/ 338928 h 416600"/>
                      <a:gd name="connsiteX18" fmla="*/ 187117 w 1150944"/>
                      <a:gd name="connsiteY18" fmla="*/ 335398 h 416600"/>
                      <a:gd name="connsiteX19" fmla="*/ 137690 w 1150944"/>
                      <a:gd name="connsiteY19" fmla="*/ 331867 h 416600"/>
                      <a:gd name="connsiteX20" fmla="*/ 105915 w 1150944"/>
                      <a:gd name="connsiteY20" fmla="*/ 353050 h 416600"/>
                      <a:gd name="connsiteX21" fmla="*/ 52958 w 1150944"/>
                      <a:gd name="connsiteY21" fmla="*/ 384825 h 416600"/>
                      <a:gd name="connsiteX22" fmla="*/ 28244 w 1150944"/>
                      <a:gd name="connsiteY22" fmla="*/ 398947 h 416600"/>
                      <a:gd name="connsiteX23" fmla="*/ 0 w 1150944"/>
                      <a:gd name="connsiteY23" fmla="*/ 416600 h 41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150944" h="416600">
                        <a:moveTo>
                          <a:pt x="1150944" y="0"/>
                        </a:moveTo>
                        <a:cubicBezTo>
                          <a:pt x="1137410" y="10003"/>
                          <a:pt x="1123877" y="20007"/>
                          <a:pt x="1108578" y="31775"/>
                        </a:cubicBezTo>
                        <a:cubicBezTo>
                          <a:pt x="1093279" y="43543"/>
                          <a:pt x="1076803" y="58842"/>
                          <a:pt x="1059151" y="70610"/>
                        </a:cubicBezTo>
                        <a:cubicBezTo>
                          <a:pt x="1041499" y="82378"/>
                          <a:pt x="1019727" y="90617"/>
                          <a:pt x="1002663" y="102385"/>
                        </a:cubicBezTo>
                        <a:cubicBezTo>
                          <a:pt x="985599" y="114153"/>
                          <a:pt x="976184" y="128275"/>
                          <a:pt x="956766" y="141220"/>
                        </a:cubicBezTo>
                        <a:cubicBezTo>
                          <a:pt x="937348" y="154165"/>
                          <a:pt x="906751" y="172406"/>
                          <a:pt x="886156" y="180056"/>
                        </a:cubicBezTo>
                        <a:cubicBezTo>
                          <a:pt x="865561" y="187706"/>
                          <a:pt x="848498" y="188294"/>
                          <a:pt x="833199" y="187117"/>
                        </a:cubicBezTo>
                        <a:cubicBezTo>
                          <a:pt x="817900" y="185940"/>
                          <a:pt x="809662" y="174760"/>
                          <a:pt x="794363" y="172995"/>
                        </a:cubicBezTo>
                        <a:cubicBezTo>
                          <a:pt x="779064" y="171230"/>
                          <a:pt x="759647" y="180056"/>
                          <a:pt x="741406" y="176525"/>
                        </a:cubicBezTo>
                        <a:cubicBezTo>
                          <a:pt x="723165" y="172994"/>
                          <a:pt x="702570" y="157108"/>
                          <a:pt x="684918" y="151812"/>
                        </a:cubicBezTo>
                        <a:cubicBezTo>
                          <a:pt x="667265" y="146516"/>
                          <a:pt x="658439" y="144163"/>
                          <a:pt x="635491" y="144751"/>
                        </a:cubicBezTo>
                        <a:cubicBezTo>
                          <a:pt x="612543" y="145339"/>
                          <a:pt x="573118" y="149458"/>
                          <a:pt x="547228" y="155342"/>
                        </a:cubicBezTo>
                        <a:cubicBezTo>
                          <a:pt x="521338" y="161226"/>
                          <a:pt x="498390" y="171818"/>
                          <a:pt x="480149" y="180056"/>
                        </a:cubicBezTo>
                        <a:cubicBezTo>
                          <a:pt x="461908" y="188294"/>
                          <a:pt x="453082" y="196531"/>
                          <a:pt x="437783" y="204769"/>
                        </a:cubicBezTo>
                        <a:cubicBezTo>
                          <a:pt x="422484" y="213007"/>
                          <a:pt x="407185" y="219480"/>
                          <a:pt x="388356" y="229483"/>
                        </a:cubicBezTo>
                        <a:cubicBezTo>
                          <a:pt x="369527" y="239486"/>
                          <a:pt x="342459" y="252431"/>
                          <a:pt x="324807" y="264788"/>
                        </a:cubicBezTo>
                        <a:cubicBezTo>
                          <a:pt x="307155" y="277145"/>
                          <a:pt x="297151" y="291266"/>
                          <a:pt x="282441" y="303623"/>
                        </a:cubicBezTo>
                        <a:cubicBezTo>
                          <a:pt x="267730" y="315980"/>
                          <a:pt x="252431" y="333632"/>
                          <a:pt x="236544" y="338928"/>
                        </a:cubicBezTo>
                        <a:cubicBezTo>
                          <a:pt x="220657" y="344224"/>
                          <a:pt x="187117" y="335398"/>
                          <a:pt x="187117" y="335398"/>
                        </a:cubicBezTo>
                        <a:cubicBezTo>
                          <a:pt x="170641" y="334221"/>
                          <a:pt x="151224" y="328925"/>
                          <a:pt x="137690" y="331867"/>
                        </a:cubicBezTo>
                        <a:cubicBezTo>
                          <a:pt x="124156" y="334809"/>
                          <a:pt x="120037" y="344224"/>
                          <a:pt x="105915" y="353050"/>
                        </a:cubicBezTo>
                        <a:cubicBezTo>
                          <a:pt x="91793" y="361876"/>
                          <a:pt x="65903" y="377176"/>
                          <a:pt x="52958" y="384825"/>
                        </a:cubicBezTo>
                        <a:cubicBezTo>
                          <a:pt x="40013" y="392474"/>
                          <a:pt x="37070" y="393651"/>
                          <a:pt x="28244" y="398947"/>
                        </a:cubicBezTo>
                        <a:cubicBezTo>
                          <a:pt x="19418" y="404243"/>
                          <a:pt x="9709" y="410421"/>
                          <a:pt x="0" y="41660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3" name="Полилиния 202"/>
                  <p:cNvSpPr/>
                  <p:nvPr/>
                </p:nvSpPr>
                <p:spPr>
                  <a:xfrm>
                    <a:off x="5303022" y="5090111"/>
                    <a:ext cx="1150944" cy="416600"/>
                  </a:xfrm>
                  <a:custGeom>
                    <a:avLst/>
                    <a:gdLst>
                      <a:gd name="connsiteX0" fmla="*/ 1150944 w 1150944"/>
                      <a:gd name="connsiteY0" fmla="*/ 0 h 416600"/>
                      <a:gd name="connsiteX1" fmla="*/ 1108578 w 1150944"/>
                      <a:gd name="connsiteY1" fmla="*/ 31775 h 416600"/>
                      <a:gd name="connsiteX2" fmla="*/ 1059151 w 1150944"/>
                      <a:gd name="connsiteY2" fmla="*/ 70610 h 416600"/>
                      <a:gd name="connsiteX3" fmla="*/ 1002663 w 1150944"/>
                      <a:gd name="connsiteY3" fmla="*/ 102385 h 416600"/>
                      <a:gd name="connsiteX4" fmla="*/ 956766 w 1150944"/>
                      <a:gd name="connsiteY4" fmla="*/ 141220 h 416600"/>
                      <a:gd name="connsiteX5" fmla="*/ 886156 w 1150944"/>
                      <a:gd name="connsiteY5" fmla="*/ 180056 h 416600"/>
                      <a:gd name="connsiteX6" fmla="*/ 833199 w 1150944"/>
                      <a:gd name="connsiteY6" fmla="*/ 187117 h 416600"/>
                      <a:gd name="connsiteX7" fmla="*/ 794363 w 1150944"/>
                      <a:gd name="connsiteY7" fmla="*/ 172995 h 416600"/>
                      <a:gd name="connsiteX8" fmla="*/ 741406 w 1150944"/>
                      <a:gd name="connsiteY8" fmla="*/ 176525 h 416600"/>
                      <a:gd name="connsiteX9" fmla="*/ 684918 w 1150944"/>
                      <a:gd name="connsiteY9" fmla="*/ 151812 h 416600"/>
                      <a:gd name="connsiteX10" fmla="*/ 635491 w 1150944"/>
                      <a:gd name="connsiteY10" fmla="*/ 144751 h 416600"/>
                      <a:gd name="connsiteX11" fmla="*/ 547228 w 1150944"/>
                      <a:gd name="connsiteY11" fmla="*/ 155342 h 416600"/>
                      <a:gd name="connsiteX12" fmla="*/ 480149 w 1150944"/>
                      <a:gd name="connsiteY12" fmla="*/ 180056 h 416600"/>
                      <a:gd name="connsiteX13" fmla="*/ 437783 w 1150944"/>
                      <a:gd name="connsiteY13" fmla="*/ 204769 h 416600"/>
                      <a:gd name="connsiteX14" fmla="*/ 388356 w 1150944"/>
                      <a:gd name="connsiteY14" fmla="*/ 229483 h 416600"/>
                      <a:gd name="connsiteX15" fmla="*/ 324807 w 1150944"/>
                      <a:gd name="connsiteY15" fmla="*/ 264788 h 416600"/>
                      <a:gd name="connsiteX16" fmla="*/ 282441 w 1150944"/>
                      <a:gd name="connsiteY16" fmla="*/ 303623 h 416600"/>
                      <a:gd name="connsiteX17" fmla="*/ 236544 w 1150944"/>
                      <a:gd name="connsiteY17" fmla="*/ 338928 h 416600"/>
                      <a:gd name="connsiteX18" fmla="*/ 187117 w 1150944"/>
                      <a:gd name="connsiteY18" fmla="*/ 335398 h 416600"/>
                      <a:gd name="connsiteX19" fmla="*/ 137690 w 1150944"/>
                      <a:gd name="connsiteY19" fmla="*/ 331867 h 416600"/>
                      <a:gd name="connsiteX20" fmla="*/ 105915 w 1150944"/>
                      <a:gd name="connsiteY20" fmla="*/ 353050 h 416600"/>
                      <a:gd name="connsiteX21" fmla="*/ 52958 w 1150944"/>
                      <a:gd name="connsiteY21" fmla="*/ 384825 h 416600"/>
                      <a:gd name="connsiteX22" fmla="*/ 28244 w 1150944"/>
                      <a:gd name="connsiteY22" fmla="*/ 398947 h 416600"/>
                      <a:gd name="connsiteX23" fmla="*/ 0 w 1150944"/>
                      <a:gd name="connsiteY23" fmla="*/ 416600 h 4166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1150944" h="416600">
                        <a:moveTo>
                          <a:pt x="1150944" y="0"/>
                        </a:moveTo>
                        <a:cubicBezTo>
                          <a:pt x="1137410" y="10003"/>
                          <a:pt x="1123877" y="20007"/>
                          <a:pt x="1108578" y="31775"/>
                        </a:cubicBezTo>
                        <a:cubicBezTo>
                          <a:pt x="1093279" y="43543"/>
                          <a:pt x="1076803" y="58842"/>
                          <a:pt x="1059151" y="70610"/>
                        </a:cubicBezTo>
                        <a:cubicBezTo>
                          <a:pt x="1041499" y="82378"/>
                          <a:pt x="1019727" y="90617"/>
                          <a:pt x="1002663" y="102385"/>
                        </a:cubicBezTo>
                        <a:cubicBezTo>
                          <a:pt x="985599" y="114153"/>
                          <a:pt x="976184" y="128275"/>
                          <a:pt x="956766" y="141220"/>
                        </a:cubicBezTo>
                        <a:cubicBezTo>
                          <a:pt x="937348" y="154165"/>
                          <a:pt x="906751" y="172406"/>
                          <a:pt x="886156" y="180056"/>
                        </a:cubicBezTo>
                        <a:cubicBezTo>
                          <a:pt x="865561" y="187706"/>
                          <a:pt x="848498" y="188294"/>
                          <a:pt x="833199" y="187117"/>
                        </a:cubicBezTo>
                        <a:cubicBezTo>
                          <a:pt x="817900" y="185940"/>
                          <a:pt x="809662" y="174760"/>
                          <a:pt x="794363" y="172995"/>
                        </a:cubicBezTo>
                        <a:cubicBezTo>
                          <a:pt x="779064" y="171230"/>
                          <a:pt x="759647" y="180056"/>
                          <a:pt x="741406" y="176525"/>
                        </a:cubicBezTo>
                        <a:cubicBezTo>
                          <a:pt x="723165" y="172994"/>
                          <a:pt x="702570" y="157108"/>
                          <a:pt x="684918" y="151812"/>
                        </a:cubicBezTo>
                        <a:cubicBezTo>
                          <a:pt x="667265" y="146516"/>
                          <a:pt x="658439" y="144163"/>
                          <a:pt x="635491" y="144751"/>
                        </a:cubicBezTo>
                        <a:cubicBezTo>
                          <a:pt x="612543" y="145339"/>
                          <a:pt x="573118" y="149458"/>
                          <a:pt x="547228" y="155342"/>
                        </a:cubicBezTo>
                        <a:cubicBezTo>
                          <a:pt x="521338" y="161226"/>
                          <a:pt x="498390" y="171818"/>
                          <a:pt x="480149" y="180056"/>
                        </a:cubicBezTo>
                        <a:cubicBezTo>
                          <a:pt x="461908" y="188294"/>
                          <a:pt x="453082" y="196531"/>
                          <a:pt x="437783" y="204769"/>
                        </a:cubicBezTo>
                        <a:cubicBezTo>
                          <a:pt x="422484" y="213007"/>
                          <a:pt x="407185" y="219480"/>
                          <a:pt x="388356" y="229483"/>
                        </a:cubicBezTo>
                        <a:cubicBezTo>
                          <a:pt x="369527" y="239486"/>
                          <a:pt x="342459" y="252431"/>
                          <a:pt x="324807" y="264788"/>
                        </a:cubicBezTo>
                        <a:cubicBezTo>
                          <a:pt x="307155" y="277145"/>
                          <a:pt x="297151" y="291266"/>
                          <a:pt x="282441" y="303623"/>
                        </a:cubicBezTo>
                        <a:cubicBezTo>
                          <a:pt x="267730" y="315980"/>
                          <a:pt x="252431" y="333632"/>
                          <a:pt x="236544" y="338928"/>
                        </a:cubicBezTo>
                        <a:cubicBezTo>
                          <a:pt x="220657" y="344224"/>
                          <a:pt x="187117" y="335398"/>
                          <a:pt x="187117" y="335398"/>
                        </a:cubicBezTo>
                        <a:cubicBezTo>
                          <a:pt x="170641" y="334221"/>
                          <a:pt x="151224" y="328925"/>
                          <a:pt x="137690" y="331867"/>
                        </a:cubicBezTo>
                        <a:cubicBezTo>
                          <a:pt x="124156" y="334809"/>
                          <a:pt x="120037" y="344224"/>
                          <a:pt x="105915" y="353050"/>
                        </a:cubicBezTo>
                        <a:cubicBezTo>
                          <a:pt x="91793" y="361876"/>
                          <a:pt x="65903" y="377176"/>
                          <a:pt x="52958" y="384825"/>
                        </a:cubicBezTo>
                        <a:cubicBezTo>
                          <a:pt x="40013" y="392474"/>
                          <a:pt x="37070" y="393651"/>
                          <a:pt x="28244" y="398947"/>
                        </a:cubicBezTo>
                        <a:cubicBezTo>
                          <a:pt x="19418" y="404243"/>
                          <a:pt x="9709" y="410421"/>
                          <a:pt x="0" y="41660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4" name="Блок-схема: узел 203"/>
                  <p:cNvSpPr/>
                  <p:nvPr/>
                </p:nvSpPr>
                <p:spPr>
                  <a:xfrm>
                    <a:off x="7285671" y="4550364"/>
                    <a:ext cx="74333" cy="70655"/>
                  </a:xfrm>
                  <a:prstGeom prst="flowChartConnector">
                    <a:avLst/>
                  </a:pr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5" name="Полилиния 204"/>
                  <p:cNvSpPr/>
                  <p:nvPr/>
                </p:nvSpPr>
                <p:spPr>
                  <a:xfrm>
                    <a:off x="7070757" y="4442974"/>
                    <a:ext cx="239296" cy="594641"/>
                  </a:xfrm>
                  <a:custGeom>
                    <a:avLst/>
                    <a:gdLst>
                      <a:gd name="connsiteX0" fmla="*/ 239296 w 239296"/>
                      <a:gd name="connsiteY0" fmla="*/ 0 h 594641"/>
                      <a:gd name="connsiteX1" fmla="*/ 236491 w 239296"/>
                      <a:gd name="connsiteY1" fmla="*/ 50489 h 594641"/>
                      <a:gd name="connsiteX2" fmla="*/ 225271 w 239296"/>
                      <a:gd name="connsiteY2" fmla="*/ 70123 h 594641"/>
                      <a:gd name="connsiteX3" fmla="*/ 228076 w 239296"/>
                      <a:gd name="connsiteY3" fmla="*/ 103782 h 594641"/>
                      <a:gd name="connsiteX4" fmla="*/ 216857 w 239296"/>
                      <a:gd name="connsiteY4" fmla="*/ 137441 h 594641"/>
                      <a:gd name="connsiteX5" fmla="*/ 208442 w 239296"/>
                      <a:gd name="connsiteY5" fmla="*/ 157075 h 594641"/>
                      <a:gd name="connsiteX6" fmla="*/ 216857 w 239296"/>
                      <a:gd name="connsiteY6" fmla="*/ 187929 h 594641"/>
                      <a:gd name="connsiteX7" fmla="*/ 216857 w 239296"/>
                      <a:gd name="connsiteY7" fmla="*/ 218783 h 594641"/>
                      <a:gd name="connsiteX8" fmla="*/ 197222 w 239296"/>
                      <a:gd name="connsiteY8" fmla="*/ 238417 h 594641"/>
                      <a:gd name="connsiteX9" fmla="*/ 169173 w 239296"/>
                      <a:gd name="connsiteY9" fmla="*/ 260857 h 594641"/>
                      <a:gd name="connsiteX10" fmla="*/ 160758 w 239296"/>
                      <a:gd name="connsiteY10" fmla="*/ 283296 h 594641"/>
                      <a:gd name="connsiteX11" fmla="*/ 135514 w 239296"/>
                      <a:gd name="connsiteY11" fmla="*/ 300125 h 594641"/>
                      <a:gd name="connsiteX12" fmla="*/ 129904 w 239296"/>
                      <a:gd name="connsiteY12" fmla="*/ 345004 h 594641"/>
                      <a:gd name="connsiteX13" fmla="*/ 107465 w 239296"/>
                      <a:gd name="connsiteY13" fmla="*/ 356224 h 594641"/>
                      <a:gd name="connsiteX14" fmla="*/ 62587 w 239296"/>
                      <a:gd name="connsiteY14" fmla="*/ 359028 h 594641"/>
                      <a:gd name="connsiteX15" fmla="*/ 17708 w 239296"/>
                      <a:gd name="connsiteY15" fmla="*/ 378663 h 594641"/>
                      <a:gd name="connsiteX16" fmla="*/ 879 w 239296"/>
                      <a:gd name="connsiteY16" fmla="*/ 392687 h 594641"/>
                      <a:gd name="connsiteX17" fmla="*/ 3684 w 239296"/>
                      <a:gd name="connsiteY17" fmla="*/ 437566 h 594641"/>
                      <a:gd name="connsiteX18" fmla="*/ 14903 w 239296"/>
                      <a:gd name="connsiteY18" fmla="*/ 485249 h 594641"/>
                      <a:gd name="connsiteX19" fmla="*/ 17708 w 239296"/>
                      <a:gd name="connsiteY19" fmla="*/ 541347 h 594641"/>
                      <a:gd name="connsiteX20" fmla="*/ 12098 w 239296"/>
                      <a:gd name="connsiteY20" fmla="*/ 572201 h 594641"/>
                      <a:gd name="connsiteX21" fmla="*/ 12098 w 239296"/>
                      <a:gd name="connsiteY21" fmla="*/ 594641 h 594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39296" h="594641">
                        <a:moveTo>
                          <a:pt x="239296" y="0"/>
                        </a:moveTo>
                        <a:cubicBezTo>
                          <a:pt x="239062" y="19401"/>
                          <a:pt x="238828" y="38802"/>
                          <a:pt x="236491" y="50489"/>
                        </a:cubicBezTo>
                        <a:cubicBezTo>
                          <a:pt x="234154" y="62176"/>
                          <a:pt x="226673" y="61241"/>
                          <a:pt x="225271" y="70123"/>
                        </a:cubicBezTo>
                        <a:cubicBezTo>
                          <a:pt x="223868" y="79005"/>
                          <a:pt x="229478" y="92562"/>
                          <a:pt x="228076" y="103782"/>
                        </a:cubicBezTo>
                        <a:cubicBezTo>
                          <a:pt x="226674" y="115002"/>
                          <a:pt x="220129" y="128559"/>
                          <a:pt x="216857" y="137441"/>
                        </a:cubicBezTo>
                        <a:cubicBezTo>
                          <a:pt x="213585" y="146323"/>
                          <a:pt x="208442" y="148660"/>
                          <a:pt x="208442" y="157075"/>
                        </a:cubicBezTo>
                        <a:cubicBezTo>
                          <a:pt x="208442" y="165490"/>
                          <a:pt x="215455" y="177644"/>
                          <a:pt x="216857" y="187929"/>
                        </a:cubicBezTo>
                        <a:cubicBezTo>
                          <a:pt x="218259" y="198214"/>
                          <a:pt x="220129" y="210368"/>
                          <a:pt x="216857" y="218783"/>
                        </a:cubicBezTo>
                        <a:cubicBezTo>
                          <a:pt x="213585" y="227198"/>
                          <a:pt x="205169" y="231405"/>
                          <a:pt x="197222" y="238417"/>
                        </a:cubicBezTo>
                        <a:cubicBezTo>
                          <a:pt x="189275" y="245429"/>
                          <a:pt x="175250" y="253377"/>
                          <a:pt x="169173" y="260857"/>
                        </a:cubicBezTo>
                        <a:cubicBezTo>
                          <a:pt x="163096" y="268337"/>
                          <a:pt x="166368" y="276751"/>
                          <a:pt x="160758" y="283296"/>
                        </a:cubicBezTo>
                        <a:cubicBezTo>
                          <a:pt x="155148" y="289841"/>
                          <a:pt x="140656" y="289840"/>
                          <a:pt x="135514" y="300125"/>
                        </a:cubicBezTo>
                        <a:cubicBezTo>
                          <a:pt x="130372" y="310410"/>
                          <a:pt x="134579" y="335654"/>
                          <a:pt x="129904" y="345004"/>
                        </a:cubicBezTo>
                        <a:cubicBezTo>
                          <a:pt x="125229" y="354354"/>
                          <a:pt x="118685" y="353887"/>
                          <a:pt x="107465" y="356224"/>
                        </a:cubicBezTo>
                        <a:cubicBezTo>
                          <a:pt x="96245" y="358561"/>
                          <a:pt x="77547" y="355288"/>
                          <a:pt x="62587" y="359028"/>
                        </a:cubicBezTo>
                        <a:cubicBezTo>
                          <a:pt x="47627" y="362768"/>
                          <a:pt x="27993" y="373053"/>
                          <a:pt x="17708" y="378663"/>
                        </a:cubicBezTo>
                        <a:cubicBezTo>
                          <a:pt x="7423" y="384273"/>
                          <a:pt x="3216" y="382870"/>
                          <a:pt x="879" y="392687"/>
                        </a:cubicBezTo>
                        <a:cubicBezTo>
                          <a:pt x="-1458" y="402504"/>
                          <a:pt x="1347" y="422139"/>
                          <a:pt x="3684" y="437566"/>
                        </a:cubicBezTo>
                        <a:cubicBezTo>
                          <a:pt x="6021" y="452993"/>
                          <a:pt x="12566" y="467952"/>
                          <a:pt x="14903" y="485249"/>
                        </a:cubicBezTo>
                        <a:cubicBezTo>
                          <a:pt x="17240" y="502546"/>
                          <a:pt x="18175" y="526855"/>
                          <a:pt x="17708" y="541347"/>
                        </a:cubicBezTo>
                        <a:cubicBezTo>
                          <a:pt x="17241" y="555839"/>
                          <a:pt x="13033" y="563319"/>
                          <a:pt x="12098" y="572201"/>
                        </a:cubicBezTo>
                        <a:cubicBezTo>
                          <a:pt x="11163" y="581083"/>
                          <a:pt x="11630" y="587862"/>
                          <a:pt x="12098" y="594641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6" name="Полилиния 205"/>
                  <p:cNvSpPr/>
                  <p:nvPr/>
                </p:nvSpPr>
                <p:spPr>
                  <a:xfrm>
                    <a:off x="7077771" y="4442042"/>
                    <a:ext cx="239296" cy="594641"/>
                  </a:xfrm>
                  <a:custGeom>
                    <a:avLst/>
                    <a:gdLst>
                      <a:gd name="connsiteX0" fmla="*/ 239296 w 239296"/>
                      <a:gd name="connsiteY0" fmla="*/ 0 h 594641"/>
                      <a:gd name="connsiteX1" fmla="*/ 236491 w 239296"/>
                      <a:gd name="connsiteY1" fmla="*/ 50489 h 594641"/>
                      <a:gd name="connsiteX2" fmla="*/ 225271 w 239296"/>
                      <a:gd name="connsiteY2" fmla="*/ 70123 h 594641"/>
                      <a:gd name="connsiteX3" fmla="*/ 228076 w 239296"/>
                      <a:gd name="connsiteY3" fmla="*/ 103782 h 594641"/>
                      <a:gd name="connsiteX4" fmla="*/ 216857 w 239296"/>
                      <a:gd name="connsiteY4" fmla="*/ 137441 h 594641"/>
                      <a:gd name="connsiteX5" fmla="*/ 208442 w 239296"/>
                      <a:gd name="connsiteY5" fmla="*/ 157075 h 594641"/>
                      <a:gd name="connsiteX6" fmla="*/ 216857 w 239296"/>
                      <a:gd name="connsiteY6" fmla="*/ 187929 h 594641"/>
                      <a:gd name="connsiteX7" fmla="*/ 216857 w 239296"/>
                      <a:gd name="connsiteY7" fmla="*/ 218783 h 594641"/>
                      <a:gd name="connsiteX8" fmla="*/ 197222 w 239296"/>
                      <a:gd name="connsiteY8" fmla="*/ 238417 h 594641"/>
                      <a:gd name="connsiteX9" fmla="*/ 169173 w 239296"/>
                      <a:gd name="connsiteY9" fmla="*/ 260857 h 594641"/>
                      <a:gd name="connsiteX10" fmla="*/ 160758 w 239296"/>
                      <a:gd name="connsiteY10" fmla="*/ 283296 h 594641"/>
                      <a:gd name="connsiteX11" fmla="*/ 135514 w 239296"/>
                      <a:gd name="connsiteY11" fmla="*/ 300125 h 594641"/>
                      <a:gd name="connsiteX12" fmla="*/ 129904 w 239296"/>
                      <a:gd name="connsiteY12" fmla="*/ 345004 h 594641"/>
                      <a:gd name="connsiteX13" fmla="*/ 107465 w 239296"/>
                      <a:gd name="connsiteY13" fmla="*/ 356224 h 594641"/>
                      <a:gd name="connsiteX14" fmla="*/ 62587 w 239296"/>
                      <a:gd name="connsiteY14" fmla="*/ 359028 h 594641"/>
                      <a:gd name="connsiteX15" fmla="*/ 17708 w 239296"/>
                      <a:gd name="connsiteY15" fmla="*/ 378663 h 594641"/>
                      <a:gd name="connsiteX16" fmla="*/ 879 w 239296"/>
                      <a:gd name="connsiteY16" fmla="*/ 392687 h 594641"/>
                      <a:gd name="connsiteX17" fmla="*/ 3684 w 239296"/>
                      <a:gd name="connsiteY17" fmla="*/ 437566 h 594641"/>
                      <a:gd name="connsiteX18" fmla="*/ 14903 w 239296"/>
                      <a:gd name="connsiteY18" fmla="*/ 485249 h 594641"/>
                      <a:gd name="connsiteX19" fmla="*/ 17708 w 239296"/>
                      <a:gd name="connsiteY19" fmla="*/ 541347 h 594641"/>
                      <a:gd name="connsiteX20" fmla="*/ 12098 w 239296"/>
                      <a:gd name="connsiteY20" fmla="*/ 572201 h 594641"/>
                      <a:gd name="connsiteX21" fmla="*/ 12098 w 239296"/>
                      <a:gd name="connsiteY21" fmla="*/ 594641 h 594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39296" h="594641">
                        <a:moveTo>
                          <a:pt x="239296" y="0"/>
                        </a:moveTo>
                        <a:cubicBezTo>
                          <a:pt x="239062" y="19401"/>
                          <a:pt x="238828" y="38802"/>
                          <a:pt x="236491" y="50489"/>
                        </a:cubicBezTo>
                        <a:cubicBezTo>
                          <a:pt x="234154" y="62176"/>
                          <a:pt x="226673" y="61241"/>
                          <a:pt x="225271" y="70123"/>
                        </a:cubicBezTo>
                        <a:cubicBezTo>
                          <a:pt x="223868" y="79005"/>
                          <a:pt x="229478" y="92562"/>
                          <a:pt x="228076" y="103782"/>
                        </a:cubicBezTo>
                        <a:cubicBezTo>
                          <a:pt x="226674" y="115002"/>
                          <a:pt x="220129" y="128559"/>
                          <a:pt x="216857" y="137441"/>
                        </a:cubicBezTo>
                        <a:cubicBezTo>
                          <a:pt x="213585" y="146323"/>
                          <a:pt x="208442" y="148660"/>
                          <a:pt x="208442" y="157075"/>
                        </a:cubicBezTo>
                        <a:cubicBezTo>
                          <a:pt x="208442" y="165490"/>
                          <a:pt x="215455" y="177644"/>
                          <a:pt x="216857" y="187929"/>
                        </a:cubicBezTo>
                        <a:cubicBezTo>
                          <a:pt x="218259" y="198214"/>
                          <a:pt x="220129" y="210368"/>
                          <a:pt x="216857" y="218783"/>
                        </a:cubicBezTo>
                        <a:cubicBezTo>
                          <a:pt x="213585" y="227198"/>
                          <a:pt x="205169" y="231405"/>
                          <a:pt x="197222" y="238417"/>
                        </a:cubicBezTo>
                        <a:cubicBezTo>
                          <a:pt x="189275" y="245429"/>
                          <a:pt x="175250" y="253377"/>
                          <a:pt x="169173" y="260857"/>
                        </a:cubicBezTo>
                        <a:cubicBezTo>
                          <a:pt x="163096" y="268337"/>
                          <a:pt x="166368" y="276751"/>
                          <a:pt x="160758" y="283296"/>
                        </a:cubicBezTo>
                        <a:cubicBezTo>
                          <a:pt x="155148" y="289841"/>
                          <a:pt x="140656" y="289840"/>
                          <a:pt x="135514" y="300125"/>
                        </a:cubicBezTo>
                        <a:cubicBezTo>
                          <a:pt x="130372" y="310410"/>
                          <a:pt x="134579" y="335654"/>
                          <a:pt x="129904" y="345004"/>
                        </a:cubicBezTo>
                        <a:cubicBezTo>
                          <a:pt x="125229" y="354354"/>
                          <a:pt x="118685" y="353887"/>
                          <a:pt x="107465" y="356224"/>
                        </a:cubicBezTo>
                        <a:cubicBezTo>
                          <a:pt x="96245" y="358561"/>
                          <a:pt x="77547" y="355288"/>
                          <a:pt x="62587" y="359028"/>
                        </a:cubicBezTo>
                        <a:cubicBezTo>
                          <a:pt x="47627" y="362768"/>
                          <a:pt x="27993" y="373053"/>
                          <a:pt x="17708" y="378663"/>
                        </a:cubicBezTo>
                        <a:cubicBezTo>
                          <a:pt x="7423" y="384273"/>
                          <a:pt x="3216" y="382870"/>
                          <a:pt x="879" y="392687"/>
                        </a:cubicBezTo>
                        <a:cubicBezTo>
                          <a:pt x="-1458" y="402504"/>
                          <a:pt x="1347" y="422139"/>
                          <a:pt x="3684" y="437566"/>
                        </a:cubicBezTo>
                        <a:cubicBezTo>
                          <a:pt x="6021" y="452993"/>
                          <a:pt x="12566" y="467952"/>
                          <a:pt x="14903" y="485249"/>
                        </a:cubicBezTo>
                        <a:cubicBezTo>
                          <a:pt x="17240" y="502546"/>
                          <a:pt x="18175" y="526855"/>
                          <a:pt x="17708" y="541347"/>
                        </a:cubicBezTo>
                        <a:cubicBezTo>
                          <a:pt x="17241" y="555839"/>
                          <a:pt x="13033" y="563319"/>
                          <a:pt x="12098" y="572201"/>
                        </a:cubicBezTo>
                        <a:cubicBezTo>
                          <a:pt x="11163" y="581083"/>
                          <a:pt x="11630" y="587862"/>
                          <a:pt x="12098" y="594641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7" name="Полилиния 206"/>
                  <p:cNvSpPr/>
                  <p:nvPr/>
                </p:nvSpPr>
                <p:spPr>
                  <a:xfrm>
                    <a:off x="7093686" y="4455974"/>
                    <a:ext cx="239296" cy="594641"/>
                  </a:xfrm>
                  <a:custGeom>
                    <a:avLst/>
                    <a:gdLst>
                      <a:gd name="connsiteX0" fmla="*/ 239296 w 239296"/>
                      <a:gd name="connsiteY0" fmla="*/ 0 h 594641"/>
                      <a:gd name="connsiteX1" fmla="*/ 236491 w 239296"/>
                      <a:gd name="connsiteY1" fmla="*/ 50489 h 594641"/>
                      <a:gd name="connsiteX2" fmla="*/ 225271 w 239296"/>
                      <a:gd name="connsiteY2" fmla="*/ 70123 h 594641"/>
                      <a:gd name="connsiteX3" fmla="*/ 228076 w 239296"/>
                      <a:gd name="connsiteY3" fmla="*/ 103782 h 594641"/>
                      <a:gd name="connsiteX4" fmla="*/ 216857 w 239296"/>
                      <a:gd name="connsiteY4" fmla="*/ 137441 h 594641"/>
                      <a:gd name="connsiteX5" fmla="*/ 208442 w 239296"/>
                      <a:gd name="connsiteY5" fmla="*/ 157075 h 594641"/>
                      <a:gd name="connsiteX6" fmla="*/ 216857 w 239296"/>
                      <a:gd name="connsiteY6" fmla="*/ 187929 h 594641"/>
                      <a:gd name="connsiteX7" fmla="*/ 216857 w 239296"/>
                      <a:gd name="connsiteY7" fmla="*/ 218783 h 594641"/>
                      <a:gd name="connsiteX8" fmla="*/ 197222 w 239296"/>
                      <a:gd name="connsiteY8" fmla="*/ 238417 h 594641"/>
                      <a:gd name="connsiteX9" fmla="*/ 169173 w 239296"/>
                      <a:gd name="connsiteY9" fmla="*/ 260857 h 594641"/>
                      <a:gd name="connsiteX10" fmla="*/ 160758 w 239296"/>
                      <a:gd name="connsiteY10" fmla="*/ 283296 h 594641"/>
                      <a:gd name="connsiteX11" fmla="*/ 135514 w 239296"/>
                      <a:gd name="connsiteY11" fmla="*/ 300125 h 594641"/>
                      <a:gd name="connsiteX12" fmla="*/ 129904 w 239296"/>
                      <a:gd name="connsiteY12" fmla="*/ 345004 h 594641"/>
                      <a:gd name="connsiteX13" fmla="*/ 107465 w 239296"/>
                      <a:gd name="connsiteY13" fmla="*/ 356224 h 594641"/>
                      <a:gd name="connsiteX14" fmla="*/ 62587 w 239296"/>
                      <a:gd name="connsiteY14" fmla="*/ 359028 h 594641"/>
                      <a:gd name="connsiteX15" fmla="*/ 17708 w 239296"/>
                      <a:gd name="connsiteY15" fmla="*/ 378663 h 594641"/>
                      <a:gd name="connsiteX16" fmla="*/ 879 w 239296"/>
                      <a:gd name="connsiteY16" fmla="*/ 392687 h 594641"/>
                      <a:gd name="connsiteX17" fmla="*/ 3684 w 239296"/>
                      <a:gd name="connsiteY17" fmla="*/ 437566 h 594641"/>
                      <a:gd name="connsiteX18" fmla="*/ 14903 w 239296"/>
                      <a:gd name="connsiteY18" fmla="*/ 485249 h 594641"/>
                      <a:gd name="connsiteX19" fmla="*/ 17708 w 239296"/>
                      <a:gd name="connsiteY19" fmla="*/ 541347 h 594641"/>
                      <a:gd name="connsiteX20" fmla="*/ 12098 w 239296"/>
                      <a:gd name="connsiteY20" fmla="*/ 572201 h 594641"/>
                      <a:gd name="connsiteX21" fmla="*/ 12098 w 239296"/>
                      <a:gd name="connsiteY21" fmla="*/ 594641 h 594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39296" h="594641">
                        <a:moveTo>
                          <a:pt x="239296" y="0"/>
                        </a:moveTo>
                        <a:cubicBezTo>
                          <a:pt x="239062" y="19401"/>
                          <a:pt x="238828" y="38802"/>
                          <a:pt x="236491" y="50489"/>
                        </a:cubicBezTo>
                        <a:cubicBezTo>
                          <a:pt x="234154" y="62176"/>
                          <a:pt x="226673" y="61241"/>
                          <a:pt x="225271" y="70123"/>
                        </a:cubicBezTo>
                        <a:cubicBezTo>
                          <a:pt x="223868" y="79005"/>
                          <a:pt x="229478" y="92562"/>
                          <a:pt x="228076" y="103782"/>
                        </a:cubicBezTo>
                        <a:cubicBezTo>
                          <a:pt x="226674" y="115002"/>
                          <a:pt x="220129" y="128559"/>
                          <a:pt x="216857" y="137441"/>
                        </a:cubicBezTo>
                        <a:cubicBezTo>
                          <a:pt x="213585" y="146323"/>
                          <a:pt x="208442" y="148660"/>
                          <a:pt x="208442" y="157075"/>
                        </a:cubicBezTo>
                        <a:cubicBezTo>
                          <a:pt x="208442" y="165490"/>
                          <a:pt x="215455" y="177644"/>
                          <a:pt x="216857" y="187929"/>
                        </a:cubicBezTo>
                        <a:cubicBezTo>
                          <a:pt x="218259" y="198214"/>
                          <a:pt x="220129" y="210368"/>
                          <a:pt x="216857" y="218783"/>
                        </a:cubicBezTo>
                        <a:cubicBezTo>
                          <a:pt x="213585" y="227198"/>
                          <a:pt x="205169" y="231405"/>
                          <a:pt x="197222" y="238417"/>
                        </a:cubicBezTo>
                        <a:cubicBezTo>
                          <a:pt x="189275" y="245429"/>
                          <a:pt x="175250" y="253377"/>
                          <a:pt x="169173" y="260857"/>
                        </a:cubicBezTo>
                        <a:cubicBezTo>
                          <a:pt x="163096" y="268337"/>
                          <a:pt x="166368" y="276751"/>
                          <a:pt x="160758" y="283296"/>
                        </a:cubicBezTo>
                        <a:cubicBezTo>
                          <a:pt x="155148" y="289841"/>
                          <a:pt x="140656" y="289840"/>
                          <a:pt x="135514" y="300125"/>
                        </a:cubicBezTo>
                        <a:cubicBezTo>
                          <a:pt x="130372" y="310410"/>
                          <a:pt x="134579" y="335654"/>
                          <a:pt x="129904" y="345004"/>
                        </a:cubicBezTo>
                        <a:cubicBezTo>
                          <a:pt x="125229" y="354354"/>
                          <a:pt x="118685" y="353887"/>
                          <a:pt x="107465" y="356224"/>
                        </a:cubicBezTo>
                        <a:cubicBezTo>
                          <a:pt x="96245" y="358561"/>
                          <a:pt x="77547" y="355288"/>
                          <a:pt x="62587" y="359028"/>
                        </a:cubicBezTo>
                        <a:cubicBezTo>
                          <a:pt x="47627" y="362768"/>
                          <a:pt x="27993" y="373053"/>
                          <a:pt x="17708" y="378663"/>
                        </a:cubicBezTo>
                        <a:cubicBezTo>
                          <a:pt x="7423" y="384273"/>
                          <a:pt x="3216" y="382870"/>
                          <a:pt x="879" y="392687"/>
                        </a:cubicBezTo>
                        <a:cubicBezTo>
                          <a:pt x="-1458" y="402504"/>
                          <a:pt x="1347" y="422139"/>
                          <a:pt x="3684" y="437566"/>
                        </a:cubicBezTo>
                        <a:cubicBezTo>
                          <a:pt x="6021" y="452993"/>
                          <a:pt x="12566" y="467952"/>
                          <a:pt x="14903" y="485249"/>
                        </a:cubicBezTo>
                        <a:cubicBezTo>
                          <a:pt x="17240" y="502546"/>
                          <a:pt x="18175" y="526855"/>
                          <a:pt x="17708" y="541347"/>
                        </a:cubicBezTo>
                        <a:cubicBezTo>
                          <a:pt x="17241" y="555839"/>
                          <a:pt x="13033" y="563319"/>
                          <a:pt x="12098" y="572201"/>
                        </a:cubicBezTo>
                        <a:cubicBezTo>
                          <a:pt x="11163" y="581083"/>
                          <a:pt x="11630" y="587862"/>
                          <a:pt x="12098" y="594641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8" name="Полилиния 207"/>
                  <p:cNvSpPr/>
                  <p:nvPr/>
                </p:nvSpPr>
                <p:spPr>
                  <a:xfrm>
                    <a:off x="7058131" y="4430818"/>
                    <a:ext cx="239296" cy="594641"/>
                  </a:xfrm>
                  <a:custGeom>
                    <a:avLst/>
                    <a:gdLst>
                      <a:gd name="connsiteX0" fmla="*/ 239296 w 239296"/>
                      <a:gd name="connsiteY0" fmla="*/ 0 h 594641"/>
                      <a:gd name="connsiteX1" fmla="*/ 236491 w 239296"/>
                      <a:gd name="connsiteY1" fmla="*/ 50489 h 594641"/>
                      <a:gd name="connsiteX2" fmla="*/ 225271 w 239296"/>
                      <a:gd name="connsiteY2" fmla="*/ 70123 h 594641"/>
                      <a:gd name="connsiteX3" fmla="*/ 228076 w 239296"/>
                      <a:gd name="connsiteY3" fmla="*/ 103782 h 594641"/>
                      <a:gd name="connsiteX4" fmla="*/ 216857 w 239296"/>
                      <a:gd name="connsiteY4" fmla="*/ 137441 h 594641"/>
                      <a:gd name="connsiteX5" fmla="*/ 208442 w 239296"/>
                      <a:gd name="connsiteY5" fmla="*/ 157075 h 594641"/>
                      <a:gd name="connsiteX6" fmla="*/ 216857 w 239296"/>
                      <a:gd name="connsiteY6" fmla="*/ 187929 h 594641"/>
                      <a:gd name="connsiteX7" fmla="*/ 216857 w 239296"/>
                      <a:gd name="connsiteY7" fmla="*/ 218783 h 594641"/>
                      <a:gd name="connsiteX8" fmla="*/ 197222 w 239296"/>
                      <a:gd name="connsiteY8" fmla="*/ 238417 h 594641"/>
                      <a:gd name="connsiteX9" fmla="*/ 169173 w 239296"/>
                      <a:gd name="connsiteY9" fmla="*/ 260857 h 594641"/>
                      <a:gd name="connsiteX10" fmla="*/ 160758 w 239296"/>
                      <a:gd name="connsiteY10" fmla="*/ 283296 h 594641"/>
                      <a:gd name="connsiteX11" fmla="*/ 135514 w 239296"/>
                      <a:gd name="connsiteY11" fmla="*/ 300125 h 594641"/>
                      <a:gd name="connsiteX12" fmla="*/ 129904 w 239296"/>
                      <a:gd name="connsiteY12" fmla="*/ 345004 h 594641"/>
                      <a:gd name="connsiteX13" fmla="*/ 107465 w 239296"/>
                      <a:gd name="connsiteY13" fmla="*/ 356224 h 594641"/>
                      <a:gd name="connsiteX14" fmla="*/ 62587 w 239296"/>
                      <a:gd name="connsiteY14" fmla="*/ 359028 h 594641"/>
                      <a:gd name="connsiteX15" fmla="*/ 17708 w 239296"/>
                      <a:gd name="connsiteY15" fmla="*/ 378663 h 594641"/>
                      <a:gd name="connsiteX16" fmla="*/ 879 w 239296"/>
                      <a:gd name="connsiteY16" fmla="*/ 392687 h 594641"/>
                      <a:gd name="connsiteX17" fmla="*/ 3684 w 239296"/>
                      <a:gd name="connsiteY17" fmla="*/ 437566 h 594641"/>
                      <a:gd name="connsiteX18" fmla="*/ 14903 w 239296"/>
                      <a:gd name="connsiteY18" fmla="*/ 485249 h 594641"/>
                      <a:gd name="connsiteX19" fmla="*/ 17708 w 239296"/>
                      <a:gd name="connsiteY19" fmla="*/ 541347 h 594641"/>
                      <a:gd name="connsiteX20" fmla="*/ 12098 w 239296"/>
                      <a:gd name="connsiteY20" fmla="*/ 572201 h 594641"/>
                      <a:gd name="connsiteX21" fmla="*/ 12098 w 239296"/>
                      <a:gd name="connsiteY21" fmla="*/ 594641 h 5946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</a:cxnLst>
                    <a:rect l="l" t="t" r="r" b="b"/>
                    <a:pathLst>
                      <a:path w="239296" h="594641">
                        <a:moveTo>
                          <a:pt x="239296" y="0"/>
                        </a:moveTo>
                        <a:cubicBezTo>
                          <a:pt x="239062" y="19401"/>
                          <a:pt x="238828" y="38802"/>
                          <a:pt x="236491" y="50489"/>
                        </a:cubicBezTo>
                        <a:cubicBezTo>
                          <a:pt x="234154" y="62176"/>
                          <a:pt x="226673" y="61241"/>
                          <a:pt x="225271" y="70123"/>
                        </a:cubicBezTo>
                        <a:cubicBezTo>
                          <a:pt x="223868" y="79005"/>
                          <a:pt x="229478" y="92562"/>
                          <a:pt x="228076" y="103782"/>
                        </a:cubicBezTo>
                        <a:cubicBezTo>
                          <a:pt x="226674" y="115002"/>
                          <a:pt x="220129" y="128559"/>
                          <a:pt x="216857" y="137441"/>
                        </a:cubicBezTo>
                        <a:cubicBezTo>
                          <a:pt x="213585" y="146323"/>
                          <a:pt x="208442" y="148660"/>
                          <a:pt x="208442" y="157075"/>
                        </a:cubicBezTo>
                        <a:cubicBezTo>
                          <a:pt x="208442" y="165490"/>
                          <a:pt x="215455" y="177644"/>
                          <a:pt x="216857" y="187929"/>
                        </a:cubicBezTo>
                        <a:cubicBezTo>
                          <a:pt x="218259" y="198214"/>
                          <a:pt x="220129" y="210368"/>
                          <a:pt x="216857" y="218783"/>
                        </a:cubicBezTo>
                        <a:cubicBezTo>
                          <a:pt x="213585" y="227198"/>
                          <a:pt x="205169" y="231405"/>
                          <a:pt x="197222" y="238417"/>
                        </a:cubicBezTo>
                        <a:cubicBezTo>
                          <a:pt x="189275" y="245429"/>
                          <a:pt x="175250" y="253377"/>
                          <a:pt x="169173" y="260857"/>
                        </a:cubicBezTo>
                        <a:cubicBezTo>
                          <a:pt x="163096" y="268337"/>
                          <a:pt x="166368" y="276751"/>
                          <a:pt x="160758" y="283296"/>
                        </a:cubicBezTo>
                        <a:cubicBezTo>
                          <a:pt x="155148" y="289841"/>
                          <a:pt x="140656" y="289840"/>
                          <a:pt x="135514" y="300125"/>
                        </a:cubicBezTo>
                        <a:cubicBezTo>
                          <a:pt x="130372" y="310410"/>
                          <a:pt x="134579" y="335654"/>
                          <a:pt x="129904" y="345004"/>
                        </a:cubicBezTo>
                        <a:cubicBezTo>
                          <a:pt x="125229" y="354354"/>
                          <a:pt x="118685" y="353887"/>
                          <a:pt x="107465" y="356224"/>
                        </a:cubicBezTo>
                        <a:cubicBezTo>
                          <a:pt x="96245" y="358561"/>
                          <a:pt x="77547" y="355288"/>
                          <a:pt x="62587" y="359028"/>
                        </a:cubicBezTo>
                        <a:cubicBezTo>
                          <a:pt x="47627" y="362768"/>
                          <a:pt x="27993" y="373053"/>
                          <a:pt x="17708" y="378663"/>
                        </a:cubicBezTo>
                        <a:cubicBezTo>
                          <a:pt x="7423" y="384273"/>
                          <a:pt x="3216" y="382870"/>
                          <a:pt x="879" y="392687"/>
                        </a:cubicBezTo>
                        <a:cubicBezTo>
                          <a:pt x="-1458" y="402504"/>
                          <a:pt x="1347" y="422139"/>
                          <a:pt x="3684" y="437566"/>
                        </a:cubicBezTo>
                        <a:cubicBezTo>
                          <a:pt x="6021" y="452993"/>
                          <a:pt x="12566" y="467952"/>
                          <a:pt x="14903" y="485249"/>
                        </a:cubicBezTo>
                        <a:cubicBezTo>
                          <a:pt x="17240" y="502546"/>
                          <a:pt x="18175" y="526855"/>
                          <a:pt x="17708" y="541347"/>
                        </a:cubicBezTo>
                        <a:cubicBezTo>
                          <a:pt x="17241" y="555839"/>
                          <a:pt x="13033" y="563319"/>
                          <a:pt x="12098" y="572201"/>
                        </a:cubicBezTo>
                        <a:cubicBezTo>
                          <a:pt x="11163" y="581083"/>
                          <a:pt x="11630" y="587862"/>
                          <a:pt x="12098" y="594641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09" name="Блок-схема: узел 208"/>
                  <p:cNvSpPr/>
                  <p:nvPr/>
                </p:nvSpPr>
                <p:spPr>
                  <a:xfrm>
                    <a:off x="7050134" y="5003211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0" name="Блок-схема: узел 209"/>
                  <p:cNvSpPr/>
                  <p:nvPr/>
                </p:nvSpPr>
                <p:spPr>
                  <a:xfrm>
                    <a:off x="7284398" y="4408588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1" name="Полилиния 210"/>
                  <p:cNvSpPr/>
                  <p:nvPr/>
                </p:nvSpPr>
                <p:spPr>
                  <a:xfrm>
                    <a:off x="6158188" y="2180153"/>
                    <a:ext cx="343561" cy="122076"/>
                  </a:xfrm>
                  <a:custGeom>
                    <a:avLst/>
                    <a:gdLst>
                      <a:gd name="connsiteX0" fmla="*/ 343561 w 343561"/>
                      <a:gd name="connsiteY0" fmla="*/ 0 h 122076"/>
                      <a:gd name="connsiteX1" fmla="*/ 274849 w 343561"/>
                      <a:gd name="connsiteY1" fmla="*/ 52856 h 122076"/>
                      <a:gd name="connsiteX2" fmla="*/ 221993 w 343561"/>
                      <a:gd name="connsiteY2" fmla="*/ 89854 h 122076"/>
                      <a:gd name="connsiteX3" fmla="*/ 174423 w 343561"/>
                      <a:gd name="connsiteY3" fmla="*/ 100425 h 122076"/>
                      <a:gd name="connsiteX4" fmla="*/ 137425 w 343561"/>
                      <a:gd name="connsiteY4" fmla="*/ 105711 h 122076"/>
                      <a:gd name="connsiteX5" fmla="*/ 89855 w 343561"/>
                      <a:gd name="connsiteY5" fmla="*/ 116282 h 122076"/>
                      <a:gd name="connsiteX6" fmla="*/ 58141 w 343561"/>
                      <a:gd name="connsiteY6" fmla="*/ 121568 h 122076"/>
                      <a:gd name="connsiteX7" fmla="*/ 0 w 343561"/>
                      <a:gd name="connsiteY7" fmla="*/ 121568 h 1220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43561" h="122076">
                        <a:moveTo>
                          <a:pt x="343561" y="0"/>
                        </a:moveTo>
                        <a:cubicBezTo>
                          <a:pt x="319335" y="18940"/>
                          <a:pt x="295110" y="37880"/>
                          <a:pt x="274849" y="52856"/>
                        </a:cubicBezTo>
                        <a:cubicBezTo>
                          <a:pt x="254588" y="67832"/>
                          <a:pt x="238731" y="81926"/>
                          <a:pt x="221993" y="89854"/>
                        </a:cubicBezTo>
                        <a:cubicBezTo>
                          <a:pt x="205255" y="97782"/>
                          <a:pt x="188518" y="97782"/>
                          <a:pt x="174423" y="100425"/>
                        </a:cubicBezTo>
                        <a:cubicBezTo>
                          <a:pt x="160328" y="103068"/>
                          <a:pt x="151520" y="103068"/>
                          <a:pt x="137425" y="105711"/>
                        </a:cubicBezTo>
                        <a:cubicBezTo>
                          <a:pt x="123330" y="108354"/>
                          <a:pt x="103069" y="113639"/>
                          <a:pt x="89855" y="116282"/>
                        </a:cubicBezTo>
                        <a:cubicBezTo>
                          <a:pt x="76641" y="118925"/>
                          <a:pt x="73117" y="120687"/>
                          <a:pt x="58141" y="121568"/>
                        </a:cubicBezTo>
                        <a:cubicBezTo>
                          <a:pt x="43165" y="122449"/>
                          <a:pt x="21582" y="122008"/>
                          <a:pt x="0" y="12156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2" name="Полилиния 211"/>
                  <p:cNvSpPr/>
                  <p:nvPr/>
                </p:nvSpPr>
                <p:spPr>
                  <a:xfrm>
                    <a:off x="6495940" y="2144365"/>
                    <a:ext cx="36999" cy="36999"/>
                  </a:xfrm>
                  <a:custGeom>
                    <a:avLst/>
                    <a:gdLst>
                      <a:gd name="connsiteX0" fmla="*/ 36999 w 36999"/>
                      <a:gd name="connsiteY0" fmla="*/ 0 h 36999"/>
                      <a:gd name="connsiteX1" fmla="*/ 0 w 36999"/>
                      <a:gd name="connsiteY1" fmla="*/ 36999 h 369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36999" h="36999">
                        <a:moveTo>
                          <a:pt x="36999" y="0"/>
                        </a:moveTo>
                        <a:lnTo>
                          <a:pt x="0" y="36999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3" name="Полилиния 212"/>
                  <p:cNvSpPr/>
                  <p:nvPr/>
                </p:nvSpPr>
                <p:spPr>
                  <a:xfrm>
                    <a:off x="6945212" y="2291760"/>
                    <a:ext cx="169715" cy="52408"/>
                  </a:xfrm>
                  <a:custGeom>
                    <a:avLst/>
                    <a:gdLst>
                      <a:gd name="connsiteX0" fmla="*/ 0 w 127439"/>
                      <a:gd name="connsiteY0" fmla="*/ 7454 h 28596"/>
                      <a:gd name="connsiteX1" fmla="*/ 84568 w 127439"/>
                      <a:gd name="connsiteY1" fmla="*/ 2168 h 28596"/>
                      <a:gd name="connsiteX2" fmla="*/ 121567 w 127439"/>
                      <a:gd name="connsiteY2" fmla="*/ 2168 h 28596"/>
                      <a:gd name="connsiteX3" fmla="*/ 126853 w 127439"/>
                      <a:gd name="connsiteY3" fmla="*/ 28596 h 28596"/>
                      <a:gd name="connsiteX0" fmla="*/ 0 w 169728"/>
                      <a:gd name="connsiteY0" fmla="*/ 7454 h 52408"/>
                      <a:gd name="connsiteX1" fmla="*/ 84568 w 169728"/>
                      <a:gd name="connsiteY1" fmla="*/ 2168 h 52408"/>
                      <a:gd name="connsiteX2" fmla="*/ 121567 w 169728"/>
                      <a:gd name="connsiteY2" fmla="*/ 2168 h 52408"/>
                      <a:gd name="connsiteX3" fmla="*/ 169715 w 169728"/>
                      <a:gd name="connsiteY3" fmla="*/ 52408 h 52408"/>
                      <a:gd name="connsiteX0" fmla="*/ 0 w 169715"/>
                      <a:gd name="connsiteY0" fmla="*/ 7454 h 52408"/>
                      <a:gd name="connsiteX1" fmla="*/ 84568 w 169715"/>
                      <a:gd name="connsiteY1" fmla="*/ 2168 h 52408"/>
                      <a:gd name="connsiteX2" fmla="*/ 121567 w 169715"/>
                      <a:gd name="connsiteY2" fmla="*/ 2168 h 52408"/>
                      <a:gd name="connsiteX3" fmla="*/ 169715 w 169715"/>
                      <a:gd name="connsiteY3" fmla="*/ 52408 h 524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69715" h="52408">
                        <a:moveTo>
                          <a:pt x="0" y="7454"/>
                        </a:moveTo>
                        <a:lnTo>
                          <a:pt x="84568" y="2168"/>
                        </a:lnTo>
                        <a:cubicBezTo>
                          <a:pt x="104829" y="1287"/>
                          <a:pt x="114520" y="-2237"/>
                          <a:pt x="121567" y="2168"/>
                        </a:cubicBezTo>
                        <a:cubicBezTo>
                          <a:pt x="128614" y="6573"/>
                          <a:pt x="153926" y="31871"/>
                          <a:pt x="169715" y="52408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4" name="Блок-схема: узел 213"/>
                  <p:cNvSpPr/>
                  <p:nvPr/>
                </p:nvSpPr>
                <p:spPr>
                  <a:xfrm>
                    <a:off x="5691653" y="5271887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5" name="Блок-схема: узел 214"/>
                  <p:cNvSpPr/>
                  <p:nvPr/>
                </p:nvSpPr>
                <p:spPr>
                  <a:xfrm>
                    <a:off x="6161680" y="526040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16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131856" y="4796941"/>
                    <a:ext cx="481794" cy="93627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апшагай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1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911350" y="2898018"/>
                    <a:ext cx="548971" cy="164681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андыагаш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19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423900" y="2819724"/>
                    <a:ext cx="42528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еміртау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20" name="Полилиния 219"/>
                  <p:cNvSpPr/>
                  <p:nvPr/>
                </p:nvSpPr>
                <p:spPr>
                  <a:xfrm>
                    <a:off x="6741319" y="2145507"/>
                    <a:ext cx="409637" cy="216708"/>
                  </a:xfrm>
                  <a:custGeom>
                    <a:avLst/>
                    <a:gdLst>
                      <a:gd name="connsiteX0" fmla="*/ 0 w 323850"/>
                      <a:gd name="connsiteY0" fmla="*/ 0 h 150195"/>
                      <a:gd name="connsiteX1" fmla="*/ 64294 w 323850"/>
                      <a:gd name="connsiteY1" fmla="*/ 54769 h 150195"/>
                      <a:gd name="connsiteX2" fmla="*/ 95250 w 323850"/>
                      <a:gd name="connsiteY2" fmla="*/ 111919 h 150195"/>
                      <a:gd name="connsiteX3" fmla="*/ 123825 w 323850"/>
                      <a:gd name="connsiteY3" fmla="*/ 145257 h 150195"/>
                      <a:gd name="connsiteX4" fmla="*/ 173831 w 323850"/>
                      <a:gd name="connsiteY4" fmla="*/ 150019 h 150195"/>
                      <a:gd name="connsiteX5" fmla="*/ 247650 w 323850"/>
                      <a:gd name="connsiteY5" fmla="*/ 145257 h 150195"/>
                      <a:gd name="connsiteX6" fmla="*/ 323850 w 323850"/>
                      <a:gd name="connsiteY6" fmla="*/ 142875 h 150195"/>
                      <a:gd name="connsiteX0" fmla="*/ 0 w 350043"/>
                      <a:gd name="connsiteY0" fmla="*/ 0 h 171450"/>
                      <a:gd name="connsiteX1" fmla="*/ 64294 w 350043"/>
                      <a:gd name="connsiteY1" fmla="*/ 54769 h 171450"/>
                      <a:gd name="connsiteX2" fmla="*/ 95250 w 350043"/>
                      <a:gd name="connsiteY2" fmla="*/ 111919 h 171450"/>
                      <a:gd name="connsiteX3" fmla="*/ 123825 w 350043"/>
                      <a:gd name="connsiteY3" fmla="*/ 145257 h 171450"/>
                      <a:gd name="connsiteX4" fmla="*/ 173831 w 350043"/>
                      <a:gd name="connsiteY4" fmla="*/ 150019 h 171450"/>
                      <a:gd name="connsiteX5" fmla="*/ 247650 w 350043"/>
                      <a:gd name="connsiteY5" fmla="*/ 145257 h 171450"/>
                      <a:gd name="connsiteX6" fmla="*/ 350043 w 350043"/>
                      <a:gd name="connsiteY6" fmla="*/ 171450 h 171450"/>
                      <a:gd name="connsiteX0" fmla="*/ 0 w 340518"/>
                      <a:gd name="connsiteY0" fmla="*/ 0 h 154781"/>
                      <a:gd name="connsiteX1" fmla="*/ 64294 w 340518"/>
                      <a:gd name="connsiteY1" fmla="*/ 54769 h 154781"/>
                      <a:gd name="connsiteX2" fmla="*/ 95250 w 340518"/>
                      <a:gd name="connsiteY2" fmla="*/ 111919 h 154781"/>
                      <a:gd name="connsiteX3" fmla="*/ 123825 w 340518"/>
                      <a:gd name="connsiteY3" fmla="*/ 145257 h 154781"/>
                      <a:gd name="connsiteX4" fmla="*/ 173831 w 340518"/>
                      <a:gd name="connsiteY4" fmla="*/ 150019 h 154781"/>
                      <a:gd name="connsiteX5" fmla="*/ 247650 w 340518"/>
                      <a:gd name="connsiteY5" fmla="*/ 145257 h 154781"/>
                      <a:gd name="connsiteX6" fmla="*/ 340518 w 340518"/>
                      <a:gd name="connsiteY6" fmla="*/ 154781 h 154781"/>
                      <a:gd name="connsiteX0" fmla="*/ 0 w 354805"/>
                      <a:gd name="connsiteY0" fmla="*/ 0 h 185738"/>
                      <a:gd name="connsiteX1" fmla="*/ 64294 w 354805"/>
                      <a:gd name="connsiteY1" fmla="*/ 54769 h 185738"/>
                      <a:gd name="connsiteX2" fmla="*/ 95250 w 354805"/>
                      <a:gd name="connsiteY2" fmla="*/ 111919 h 185738"/>
                      <a:gd name="connsiteX3" fmla="*/ 123825 w 354805"/>
                      <a:gd name="connsiteY3" fmla="*/ 145257 h 185738"/>
                      <a:gd name="connsiteX4" fmla="*/ 173831 w 354805"/>
                      <a:gd name="connsiteY4" fmla="*/ 150019 h 185738"/>
                      <a:gd name="connsiteX5" fmla="*/ 247650 w 354805"/>
                      <a:gd name="connsiteY5" fmla="*/ 145257 h 185738"/>
                      <a:gd name="connsiteX6" fmla="*/ 354805 w 354805"/>
                      <a:gd name="connsiteY6" fmla="*/ 185738 h 185738"/>
                      <a:gd name="connsiteX0" fmla="*/ 0 w 328612"/>
                      <a:gd name="connsiteY0" fmla="*/ 0 h 152401"/>
                      <a:gd name="connsiteX1" fmla="*/ 64294 w 328612"/>
                      <a:gd name="connsiteY1" fmla="*/ 54769 h 152401"/>
                      <a:gd name="connsiteX2" fmla="*/ 95250 w 328612"/>
                      <a:gd name="connsiteY2" fmla="*/ 111919 h 152401"/>
                      <a:gd name="connsiteX3" fmla="*/ 123825 w 328612"/>
                      <a:gd name="connsiteY3" fmla="*/ 145257 h 152401"/>
                      <a:gd name="connsiteX4" fmla="*/ 173831 w 328612"/>
                      <a:gd name="connsiteY4" fmla="*/ 150019 h 152401"/>
                      <a:gd name="connsiteX5" fmla="*/ 247650 w 328612"/>
                      <a:gd name="connsiteY5" fmla="*/ 145257 h 152401"/>
                      <a:gd name="connsiteX6" fmla="*/ 328612 w 328612"/>
                      <a:gd name="connsiteY6" fmla="*/ 152401 h 152401"/>
                      <a:gd name="connsiteX0" fmla="*/ 0 w 333967"/>
                      <a:gd name="connsiteY0" fmla="*/ 0 h 152427"/>
                      <a:gd name="connsiteX1" fmla="*/ 64294 w 333967"/>
                      <a:gd name="connsiteY1" fmla="*/ 54769 h 152427"/>
                      <a:gd name="connsiteX2" fmla="*/ 95250 w 333967"/>
                      <a:gd name="connsiteY2" fmla="*/ 111919 h 152427"/>
                      <a:gd name="connsiteX3" fmla="*/ 123825 w 333967"/>
                      <a:gd name="connsiteY3" fmla="*/ 145257 h 152427"/>
                      <a:gd name="connsiteX4" fmla="*/ 173831 w 333967"/>
                      <a:gd name="connsiteY4" fmla="*/ 150019 h 152427"/>
                      <a:gd name="connsiteX5" fmla="*/ 247650 w 333967"/>
                      <a:gd name="connsiteY5" fmla="*/ 145257 h 152427"/>
                      <a:gd name="connsiteX6" fmla="*/ 328612 w 333967"/>
                      <a:gd name="connsiteY6" fmla="*/ 152401 h 152427"/>
                      <a:gd name="connsiteX7" fmla="*/ 326231 w 333967"/>
                      <a:gd name="connsiteY7" fmla="*/ 147638 h 152427"/>
                      <a:gd name="connsiteX0" fmla="*/ 0 w 378623"/>
                      <a:gd name="connsiteY0" fmla="*/ 0 h 197659"/>
                      <a:gd name="connsiteX1" fmla="*/ 64294 w 378623"/>
                      <a:gd name="connsiteY1" fmla="*/ 54769 h 197659"/>
                      <a:gd name="connsiteX2" fmla="*/ 95250 w 378623"/>
                      <a:gd name="connsiteY2" fmla="*/ 111919 h 197659"/>
                      <a:gd name="connsiteX3" fmla="*/ 123825 w 378623"/>
                      <a:gd name="connsiteY3" fmla="*/ 145257 h 197659"/>
                      <a:gd name="connsiteX4" fmla="*/ 173831 w 378623"/>
                      <a:gd name="connsiteY4" fmla="*/ 150019 h 197659"/>
                      <a:gd name="connsiteX5" fmla="*/ 247650 w 378623"/>
                      <a:gd name="connsiteY5" fmla="*/ 145257 h 197659"/>
                      <a:gd name="connsiteX6" fmla="*/ 328612 w 378623"/>
                      <a:gd name="connsiteY6" fmla="*/ 152401 h 197659"/>
                      <a:gd name="connsiteX7" fmla="*/ 378619 w 378623"/>
                      <a:gd name="connsiteY7" fmla="*/ 197644 h 197659"/>
                      <a:gd name="connsiteX0" fmla="*/ 0 w 380771"/>
                      <a:gd name="connsiteY0" fmla="*/ 0 h 200383"/>
                      <a:gd name="connsiteX1" fmla="*/ 64294 w 380771"/>
                      <a:gd name="connsiteY1" fmla="*/ 54769 h 200383"/>
                      <a:gd name="connsiteX2" fmla="*/ 95250 w 380771"/>
                      <a:gd name="connsiteY2" fmla="*/ 111919 h 200383"/>
                      <a:gd name="connsiteX3" fmla="*/ 123825 w 380771"/>
                      <a:gd name="connsiteY3" fmla="*/ 145257 h 200383"/>
                      <a:gd name="connsiteX4" fmla="*/ 173831 w 380771"/>
                      <a:gd name="connsiteY4" fmla="*/ 150019 h 200383"/>
                      <a:gd name="connsiteX5" fmla="*/ 247650 w 380771"/>
                      <a:gd name="connsiteY5" fmla="*/ 145257 h 200383"/>
                      <a:gd name="connsiteX6" fmla="*/ 328612 w 380771"/>
                      <a:gd name="connsiteY6" fmla="*/ 152401 h 200383"/>
                      <a:gd name="connsiteX7" fmla="*/ 378619 w 380771"/>
                      <a:gd name="connsiteY7" fmla="*/ 197644 h 200383"/>
                      <a:gd name="connsiteX8" fmla="*/ 371475 w 380771"/>
                      <a:gd name="connsiteY8" fmla="*/ 195263 h 200383"/>
                      <a:gd name="connsiteX0" fmla="*/ 0 w 409637"/>
                      <a:gd name="connsiteY0" fmla="*/ 0 h 216708"/>
                      <a:gd name="connsiteX1" fmla="*/ 64294 w 409637"/>
                      <a:gd name="connsiteY1" fmla="*/ 54769 h 216708"/>
                      <a:gd name="connsiteX2" fmla="*/ 95250 w 409637"/>
                      <a:gd name="connsiteY2" fmla="*/ 111919 h 216708"/>
                      <a:gd name="connsiteX3" fmla="*/ 123825 w 409637"/>
                      <a:gd name="connsiteY3" fmla="*/ 145257 h 216708"/>
                      <a:gd name="connsiteX4" fmla="*/ 173831 w 409637"/>
                      <a:gd name="connsiteY4" fmla="*/ 150019 h 216708"/>
                      <a:gd name="connsiteX5" fmla="*/ 247650 w 409637"/>
                      <a:gd name="connsiteY5" fmla="*/ 145257 h 216708"/>
                      <a:gd name="connsiteX6" fmla="*/ 328612 w 409637"/>
                      <a:gd name="connsiteY6" fmla="*/ 152401 h 216708"/>
                      <a:gd name="connsiteX7" fmla="*/ 378619 w 409637"/>
                      <a:gd name="connsiteY7" fmla="*/ 197644 h 216708"/>
                      <a:gd name="connsiteX8" fmla="*/ 409575 w 409637"/>
                      <a:gd name="connsiteY8" fmla="*/ 216694 h 21670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409637" h="216708">
                        <a:moveTo>
                          <a:pt x="0" y="0"/>
                        </a:moveTo>
                        <a:cubicBezTo>
                          <a:pt x="24209" y="18058"/>
                          <a:pt x="48419" y="36116"/>
                          <a:pt x="64294" y="54769"/>
                        </a:cubicBezTo>
                        <a:cubicBezTo>
                          <a:pt x="80169" y="73422"/>
                          <a:pt x="85328" y="96838"/>
                          <a:pt x="95250" y="111919"/>
                        </a:cubicBezTo>
                        <a:cubicBezTo>
                          <a:pt x="105172" y="127000"/>
                          <a:pt x="110728" y="138907"/>
                          <a:pt x="123825" y="145257"/>
                        </a:cubicBezTo>
                        <a:cubicBezTo>
                          <a:pt x="136922" y="151607"/>
                          <a:pt x="153194" y="150019"/>
                          <a:pt x="173831" y="150019"/>
                        </a:cubicBezTo>
                        <a:cubicBezTo>
                          <a:pt x="194468" y="150019"/>
                          <a:pt x="221853" y="144860"/>
                          <a:pt x="247650" y="145257"/>
                        </a:cubicBezTo>
                        <a:cubicBezTo>
                          <a:pt x="273447" y="145654"/>
                          <a:pt x="328612" y="152401"/>
                          <a:pt x="328612" y="152401"/>
                        </a:cubicBezTo>
                        <a:cubicBezTo>
                          <a:pt x="341709" y="152798"/>
                          <a:pt x="379115" y="198636"/>
                          <a:pt x="378619" y="197644"/>
                        </a:cubicBezTo>
                        <a:cubicBezTo>
                          <a:pt x="385763" y="204788"/>
                          <a:pt x="411063" y="217190"/>
                          <a:pt x="409575" y="216694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1" name="Полилиния 220"/>
                  <p:cNvSpPr/>
                  <p:nvPr/>
                </p:nvSpPr>
                <p:spPr>
                  <a:xfrm>
                    <a:off x="6529495" y="2062163"/>
                    <a:ext cx="95250" cy="83344"/>
                  </a:xfrm>
                  <a:custGeom>
                    <a:avLst/>
                    <a:gdLst>
                      <a:gd name="connsiteX0" fmla="*/ 95250 w 95250"/>
                      <a:gd name="connsiteY0" fmla="*/ 0 h 83344"/>
                      <a:gd name="connsiteX1" fmla="*/ 0 w 95250"/>
                      <a:gd name="connsiteY1" fmla="*/ 83344 h 833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95250" h="83344">
                        <a:moveTo>
                          <a:pt x="95250" y="0"/>
                        </a:moveTo>
                        <a:lnTo>
                          <a:pt x="0" y="83344"/>
                        </a:ln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2" name="Полилиния 221"/>
                  <p:cNvSpPr/>
                  <p:nvPr/>
                </p:nvSpPr>
                <p:spPr>
                  <a:xfrm>
                    <a:off x="6053138" y="2299378"/>
                    <a:ext cx="119063" cy="47848"/>
                  </a:xfrm>
                  <a:custGeom>
                    <a:avLst/>
                    <a:gdLst>
                      <a:gd name="connsiteX0" fmla="*/ 0 w 119063"/>
                      <a:gd name="connsiteY0" fmla="*/ 47848 h 47848"/>
                      <a:gd name="connsiteX1" fmla="*/ 69057 w 119063"/>
                      <a:gd name="connsiteY1" fmla="*/ 4986 h 47848"/>
                      <a:gd name="connsiteX2" fmla="*/ 119063 w 119063"/>
                      <a:gd name="connsiteY2" fmla="*/ 2604 h 478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9063" h="47848">
                        <a:moveTo>
                          <a:pt x="0" y="47848"/>
                        </a:moveTo>
                        <a:cubicBezTo>
                          <a:pt x="24606" y="30187"/>
                          <a:pt x="49213" y="12527"/>
                          <a:pt x="69057" y="4986"/>
                        </a:cubicBezTo>
                        <a:cubicBezTo>
                          <a:pt x="88901" y="-2555"/>
                          <a:pt x="103982" y="24"/>
                          <a:pt x="119063" y="2604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3" name="Полилиния 222"/>
                  <p:cNvSpPr/>
                  <p:nvPr/>
                </p:nvSpPr>
                <p:spPr>
                  <a:xfrm>
                    <a:off x="5604095" y="2050610"/>
                    <a:ext cx="1013988" cy="457200"/>
                  </a:xfrm>
                  <a:custGeom>
                    <a:avLst/>
                    <a:gdLst>
                      <a:gd name="connsiteX0" fmla="*/ 0 w 1013988"/>
                      <a:gd name="connsiteY0" fmla="*/ 457200 h 457200"/>
                      <a:gd name="connsiteX1" fmla="*/ 49794 w 1013988"/>
                      <a:gd name="connsiteY1" fmla="*/ 398352 h 457200"/>
                      <a:gd name="connsiteX2" fmla="*/ 90535 w 1013988"/>
                      <a:gd name="connsiteY2" fmla="*/ 357612 h 457200"/>
                      <a:gd name="connsiteX3" fmla="*/ 149382 w 1013988"/>
                      <a:gd name="connsiteY3" fmla="*/ 298764 h 457200"/>
                      <a:gd name="connsiteX4" fmla="*/ 248970 w 1013988"/>
                      <a:gd name="connsiteY4" fmla="*/ 289711 h 457200"/>
                      <a:gd name="connsiteX5" fmla="*/ 339505 w 1013988"/>
                      <a:gd name="connsiteY5" fmla="*/ 321398 h 457200"/>
                      <a:gd name="connsiteX6" fmla="*/ 443620 w 1013988"/>
                      <a:gd name="connsiteY6" fmla="*/ 289711 h 457200"/>
                      <a:gd name="connsiteX7" fmla="*/ 538681 w 1013988"/>
                      <a:gd name="connsiteY7" fmla="*/ 244443 h 457200"/>
                      <a:gd name="connsiteX8" fmla="*/ 597529 w 1013988"/>
                      <a:gd name="connsiteY8" fmla="*/ 244443 h 457200"/>
                      <a:gd name="connsiteX9" fmla="*/ 665430 w 1013988"/>
                      <a:gd name="connsiteY9" fmla="*/ 244443 h 457200"/>
                      <a:gd name="connsiteX10" fmla="*/ 746911 w 1013988"/>
                      <a:gd name="connsiteY10" fmla="*/ 221810 h 457200"/>
                      <a:gd name="connsiteX11" fmla="*/ 810285 w 1013988"/>
                      <a:gd name="connsiteY11" fmla="*/ 176542 h 457200"/>
                      <a:gd name="connsiteX12" fmla="*/ 878186 w 1013988"/>
                      <a:gd name="connsiteY12" fmla="*/ 140328 h 457200"/>
                      <a:gd name="connsiteX13" fmla="*/ 946087 w 1013988"/>
                      <a:gd name="connsiteY13" fmla="*/ 67901 h 457200"/>
                      <a:gd name="connsiteX14" fmla="*/ 982301 w 1013988"/>
                      <a:gd name="connsiteY14" fmla="*/ 40740 h 457200"/>
                      <a:gd name="connsiteX15" fmla="*/ 1013988 w 1013988"/>
                      <a:gd name="connsiteY15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13988" h="457200">
                        <a:moveTo>
                          <a:pt x="0" y="457200"/>
                        </a:moveTo>
                        <a:cubicBezTo>
                          <a:pt x="17352" y="436075"/>
                          <a:pt x="34705" y="414950"/>
                          <a:pt x="49794" y="398352"/>
                        </a:cubicBezTo>
                        <a:cubicBezTo>
                          <a:pt x="64883" y="381754"/>
                          <a:pt x="90535" y="357612"/>
                          <a:pt x="90535" y="357612"/>
                        </a:cubicBezTo>
                        <a:cubicBezTo>
                          <a:pt x="107133" y="341014"/>
                          <a:pt x="122976" y="310081"/>
                          <a:pt x="149382" y="298764"/>
                        </a:cubicBezTo>
                        <a:cubicBezTo>
                          <a:pt x="175788" y="287447"/>
                          <a:pt x="217283" y="285939"/>
                          <a:pt x="248970" y="289711"/>
                        </a:cubicBezTo>
                        <a:cubicBezTo>
                          <a:pt x="280657" y="293483"/>
                          <a:pt x="307063" y="321398"/>
                          <a:pt x="339505" y="321398"/>
                        </a:cubicBezTo>
                        <a:cubicBezTo>
                          <a:pt x="371947" y="321398"/>
                          <a:pt x="410424" y="302537"/>
                          <a:pt x="443620" y="289711"/>
                        </a:cubicBezTo>
                        <a:cubicBezTo>
                          <a:pt x="476816" y="276885"/>
                          <a:pt x="513030" y="251988"/>
                          <a:pt x="538681" y="244443"/>
                        </a:cubicBezTo>
                        <a:cubicBezTo>
                          <a:pt x="564332" y="236898"/>
                          <a:pt x="597529" y="244443"/>
                          <a:pt x="597529" y="244443"/>
                        </a:cubicBezTo>
                        <a:cubicBezTo>
                          <a:pt x="618654" y="244443"/>
                          <a:pt x="640533" y="248215"/>
                          <a:pt x="665430" y="244443"/>
                        </a:cubicBezTo>
                        <a:cubicBezTo>
                          <a:pt x="690327" y="240671"/>
                          <a:pt x="722769" y="233127"/>
                          <a:pt x="746911" y="221810"/>
                        </a:cubicBezTo>
                        <a:cubicBezTo>
                          <a:pt x="771053" y="210493"/>
                          <a:pt x="788406" y="190122"/>
                          <a:pt x="810285" y="176542"/>
                        </a:cubicBezTo>
                        <a:cubicBezTo>
                          <a:pt x="832164" y="162962"/>
                          <a:pt x="855552" y="158435"/>
                          <a:pt x="878186" y="140328"/>
                        </a:cubicBezTo>
                        <a:cubicBezTo>
                          <a:pt x="900820" y="122221"/>
                          <a:pt x="928735" y="84499"/>
                          <a:pt x="946087" y="67901"/>
                        </a:cubicBezTo>
                        <a:cubicBezTo>
                          <a:pt x="963439" y="51303"/>
                          <a:pt x="970984" y="52057"/>
                          <a:pt x="982301" y="40740"/>
                        </a:cubicBezTo>
                        <a:cubicBezTo>
                          <a:pt x="993618" y="29423"/>
                          <a:pt x="1003803" y="14711"/>
                          <a:pt x="1013988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4" name="Блок-схема: узел 223"/>
                  <p:cNvSpPr/>
                  <p:nvPr/>
                </p:nvSpPr>
                <p:spPr>
                  <a:xfrm>
                    <a:off x="7292830" y="4550380"/>
                    <a:ext cx="74333" cy="70655"/>
                  </a:xfrm>
                  <a:prstGeom prst="flowChartConnector">
                    <a:avLst/>
                  </a:pr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5" name="Блок-схема: узел 224"/>
                  <p:cNvSpPr/>
                  <p:nvPr/>
                </p:nvSpPr>
                <p:spPr>
                  <a:xfrm>
                    <a:off x="7036688" y="481363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6" name="Блок-схема: узел 225"/>
                  <p:cNvSpPr/>
                  <p:nvPr/>
                </p:nvSpPr>
                <p:spPr>
                  <a:xfrm>
                    <a:off x="1088296" y="4795666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7" name="Блок-схема: узел 226"/>
                  <p:cNvSpPr/>
                  <p:nvPr/>
                </p:nvSpPr>
                <p:spPr>
                  <a:xfrm>
                    <a:off x="1637060" y="3624026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8" name="Полилиния 227"/>
                  <p:cNvSpPr/>
                  <p:nvPr/>
                </p:nvSpPr>
                <p:spPr>
                  <a:xfrm>
                    <a:off x="2538303" y="2712954"/>
                    <a:ext cx="1761322" cy="1993758"/>
                  </a:xfrm>
                  <a:custGeom>
                    <a:avLst/>
                    <a:gdLst>
                      <a:gd name="connsiteX0" fmla="*/ 1761322 w 1761322"/>
                      <a:gd name="connsiteY0" fmla="*/ 1993758 h 1993758"/>
                      <a:gd name="connsiteX1" fmla="*/ 1704172 w 1761322"/>
                      <a:gd name="connsiteY1" fmla="*/ 1978518 h 1993758"/>
                      <a:gd name="connsiteX2" fmla="*/ 1662262 w 1761322"/>
                      <a:gd name="connsiteY2" fmla="*/ 1970898 h 1993758"/>
                      <a:gd name="connsiteX3" fmla="*/ 1620352 w 1761322"/>
                      <a:gd name="connsiteY3" fmla="*/ 1967088 h 1993758"/>
                      <a:gd name="connsiteX4" fmla="*/ 1586062 w 1761322"/>
                      <a:gd name="connsiteY4" fmla="*/ 1959468 h 1993758"/>
                      <a:gd name="connsiteX5" fmla="*/ 1574632 w 1761322"/>
                      <a:gd name="connsiteY5" fmla="*/ 1963278 h 1993758"/>
                      <a:gd name="connsiteX6" fmla="*/ 1551772 w 1761322"/>
                      <a:gd name="connsiteY6" fmla="*/ 1928988 h 1993758"/>
                      <a:gd name="connsiteX7" fmla="*/ 1506052 w 1761322"/>
                      <a:gd name="connsiteY7" fmla="*/ 1906128 h 1993758"/>
                      <a:gd name="connsiteX8" fmla="*/ 1452712 w 1761322"/>
                      <a:gd name="connsiteY8" fmla="*/ 1883268 h 1993758"/>
                      <a:gd name="connsiteX9" fmla="*/ 1422232 w 1761322"/>
                      <a:gd name="connsiteY9" fmla="*/ 1868028 h 1993758"/>
                      <a:gd name="connsiteX10" fmla="*/ 1406992 w 1761322"/>
                      <a:gd name="connsiteY10" fmla="*/ 1814688 h 1993758"/>
                      <a:gd name="connsiteX11" fmla="*/ 1403182 w 1761322"/>
                      <a:gd name="connsiteY11" fmla="*/ 1746108 h 1993758"/>
                      <a:gd name="connsiteX12" fmla="*/ 1418422 w 1761322"/>
                      <a:gd name="connsiteY12" fmla="*/ 1723248 h 1993758"/>
                      <a:gd name="connsiteX13" fmla="*/ 1391752 w 1761322"/>
                      <a:gd name="connsiteY13" fmla="*/ 1681338 h 1993758"/>
                      <a:gd name="connsiteX14" fmla="*/ 1380322 w 1761322"/>
                      <a:gd name="connsiteY14" fmla="*/ 1654668 h 1993758"/>
                      <a:gd name="connsiteX15" fmla="*/ 1342222 w 1761322"/>
                      <a:gd name="connsiteY15" fmla="*/ 1639428 h 1993758"/>
                      <a:gd name="connsiteX16" fmla="*/ 1254592 w 1761322"/>
                      <a:gd name="connsiteY16" fmla="*/ 1662288 h 1993758"/>
                      <a:gd name="connsiteX17" fmla="*/ 1227922 w 1761322"/>
                      <a:gd name="connsiteY17" fmla="*/ 1677528 h 1993758"/>
                      <a:gd name="connsiteX18" fmla="*/ 1140292 w 1761322"/>
                      <a:gd name="connsiteY18" fmla="*/ 1639428 h 1993758"/>
                      <a:gd name="connsiteX19" fmla="*/ 1083142 w 1761322"/>
                      <a:gd name="connsiteY19" fmla="*/ 1608948 h 1993758"/>
                      <a:gd name="connsiteX20" fmla="*/ 1014562 w 1761322"/>
                      <a:gd name="connsiteY20" fmla="*/ 1589898 h 1993758"/>
                      <a:gd name="connsiteX21" fmla="*/ 965032 w 1761322"/>
                      <a:gd name="connsiteY21" fmla="*/ 1597518 h 1993758"/>
                      <a:gd name="connsiteX22" fmla="*/ 957412 w 1761322"/>
                      <a:gd name="connsiteY22" fmla="*/ 1525128 h 1993758"/>
                      <a:gd name="connsiteX23" fmla="*/ 930742 w 1761322"/>
                      <a:gd name="connsiteY23" fmla="*/ 1448928 h 1993758"/>
                      <a:gd name="connsiteX24" fmla="*/ 919312 w 1761322"/>
                      <a:gd name="connsiteY24" fmla="*/ 1384158 h 1993758"/>
                      <a:gd name="connsiteX25" fmla="*/ 911692 w 1761322"/>
                      <a:gd name="connsiteY25" fmla="*/ 1361298 h 1993758"/>
                      <a:gd name="connsiteX26" fmla="*/ 907882 w 1761322"/>
                      <a:gd name="connsiteY26" fmla="*/ 1311768 h 1993758"/>
                      <a:gd name="connsiteX27" fmla="*/ 885022 w 1761322"/>
                      <a:gd name="connsiteY27" fmla="*/ 1269858 h 1993758"/>
                      <a:gd name="connsiteX28" fmla="*/ 858352 w 1761322"/>
                      <a:gd name="connsiteY28" fmla="*/ 1205088 h 1993758"/>
                      <a:gd name="connsiteX29" fmla="*/ 846922 w 1761322"/>
                      <a:gd name="connsiteY29" fmla="*/ 1163178 h 1993758"/>
                      <a:gd name="connsiteX30" fmla="*/ 865972 w 1761322"/>
                      <a:gd name="connsiteY30" fmla="*/ 1140318 h 1993758"/>
                      <a:gd name="connsiteX31" fmla="*/ 862162 w 1761322"/>
                      <a:gd name="connsiteY31" fmla="*/ 1060308 h 1993758"/>
                      <a:gd name="connsiteX32" fmla="*/ 869782 w 1761322"/>
                      <a:gd name="connsiteY32" fmla="*/ 1003158 h 1993758"/>
                      <a:gd name="connsiteX33" fmla="*/ 831682 w 1761322"/>
                      <a:gd name="connsiteY33" fmla="*/ 949818 h 1993758"/>
                      <a:gd name="connsiteX34" fmla="*/ 805012 w 1761322"/>
                      <a:gd name="connsiteY34" fmla="*/ 820278 h 1993758"/>
                      <a:gd name="connsiteX35" fmla="*/ 766912 w 1761322"/>
                      <a:gd name="connsiteY35" fmla="*/ 606918 h 1993758"/>
                      <a:gd name="connsiteX36" fmla="*/ 713572 w 1761322"/>
                      <a:gd name="connsiteY36" fmla="*/ 443088 h 1993758"/>
                      <a:gd name="connsiteX37" fmla="*/ 656422 w 1761322"/>
                      <a:gd name="connsiteY37" fmla="*/ 355458 h 1993758"/>
                      <a:gd name="connsiteX38" fmla="*/ 622132 w 1761322"/>
                      <a:gd name="connsiteY38" fmla="*/ 260208 h 1993758"/>
                      <a:gd name="connsiteX39" fmla="*/ 610702 w 1761322"/>
                      <a:gd name="connsiteY39" fmla="*/ 225918 h 1993758"/>
                      <a:gd name="connsiteX40" fmla="*/ 614512 w 1761322"/>
                      <a:gd name="connsiteY40" fmla="*/ 187818 h 1993758"/>
                      <a:gd name="connsiteX41" fmla="*/ 534502 w 1761322"/>
                      <a:gd name="connsiteY41" fmla="*/ 138288 h 1993758"/>
                      <a:gd name="connsiteX42" fmla="*/ 450682 w 1761322"/>
                      <a:gd name="connsiteY42" fmla="*/ 111618 h 1993758"/>
                      <a:gd name="connsiteX43" fmla="*/ 374482 w 1761322"/>
                      <a:gd name="connsiteY43" fmla="*/ 103998 h 1993758"/>
                      <a:gd name="connsiteX44" fmla="*/ 305902 w 1761322"/>
                      <a:gd name="connsiteY44" fmla="*/ 84948 h 1993758"/>
                      <a:gd name="connsiteX45" fmla="*/ 279232 w 1761322"/>
                      <a:gd name="connsiteY45" fmla="*/ 54468 h 1993758"/>
                      <a:gd name="connsiteX46" fmla="*/ 199222 w 1761322"/>
                      <a:gd name="connsiteY46" fmla="*/ 43038 h 1993758"/>
                      <a:gd name="connsiteX47" fmla="*/ 149692 w 1761322"/>
                      <a:gd name="connsiteY47" fmla="*/ 31608 h 1993758"/>
                      <a:gd name="connsiteX48" fmla="*/ 107782 w 1761322"/>
                      <a:gd name="connsiteY48" fmla="*/ 16368 h 1993758"/>
                      <a:gd name="connsiteX49" fmla="*/ 12532 w 1761322"/>
                      <a:gd name="connsiteY49" fmla="*/ 1128 h 1993758"/>
                      <a:gd name="connsiteX50" fmla="*/ 1102 w 1761322"/>
                      <a:gd name="connsiteY50" fmla="*/ 1128 h 1993758"/>
                      <a:gd name="connsiteX51" fmla="*/ 1102 w 1761322"/>
                      <a:gd name="connsiteY51" fmla="*/ 1128 h 19937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</a:cxnLst>
                    <a:rect l="l" t="t" r="r" b="b"/>
                    <a:pathLst>
                      <a:path w="1761322" h="1993758">
                        <a:moveTo>
                          <a:pt x="1761322" y="1993758"/>
                        </a:moveTo>
                        <a:cubicBezTo>
                          <a:pt x="1741002" y="1988043"/>
                          <a:pt x="1720682" y="1982328"/>
                          <a:pt x="1704172" y="1978518"/>
                        </a:cubicBezTo>
                        <a:cubicBezTo>
                          <a:pt x="1687662" y="1974708"/>
                          <a:pt x="1676232" y="1972803"/>
                          <a:pt x="1662262" y="1970898"/>
                        </a:cubicBezTo>
                        <a:cubicBezTo>
                          <a:pt x="1648292" y="1968993"/>
                          <a:pt x="1633052" y="1968993"/>
                          <a:pt x="1620352" y="1967088"/>
                        </a:cubicBezTo>
                        <a:cubicBezTo>
                          <a:pt x="1607652" y="1965183"/>
                          <a:pt x="1586062" y="1959468"/>
                          <a:pt x="1586062" y="1959468"/>
                        </a:cubicBezTo>
                        <a:cubicBezTo>
                          <a:pt x="1578442" y="1958833"/>
                          <a:pt x="1580347" y="1968358"/>
                          <a:pt x="1574632" y="1963278"/>
                        </a:cubicBezTo>
                        <a:cubicBezTo>
                          <a:pt x="1568917" y="1958198"/>
                          <a:pt x="1563202" y="1938513"/>
                          <a:pt x="1551772" y="1928988"/>
                        </a:cubicBezTo>
                        <a:cubicBezTo>
                          <a:pt x="1540342" y="1919463"/>
                          <a:pt x="1522562" y="1913748"/>
                          <a:pt x="1506052" y="1906128"/>
                        </a:cubicBezTo>
                        <a:cubicBezTo>
                          <a:pt x="1489542" y="1898508"/>
                          <a:pt x="1466682" y="1889618"/>
                          <a:pt x="1452712" y="1883268"/>
                        </a:cubicBezTo>
                        <a:cubicBezTo>
                          <a:pt x="1438742" y="1876918"/>
                          <a:pt x="1429852" y="1879458"/>
                          <a:pt x="1422232" y="1868028"/>
                        </a:cubicBezTo>
                        <a:cubicBezTo>
                          <a:pt x="1414612" y="1856598"/>
                          <a:pt x="1410167" y="1835008"/>
                          <a:pt x="1406992" y="1814688"/>
                        </a:cubicBezTo>
                        <a:cubicBezTo>
                          <a:pt x="1403817" y="1794368"/>
                          <a:pt x="1401277" y="1761348"/>
                          <a:pt x="1403182" y="1746108"/>
                        </a:cubicBezTo>
                        <a:cubicBezTo>
                          <a:pt x="1405087" y="1730868"/>
                          <a:pt x="1420327" y="1734043"/>
                          <a:pt x="1418422" y="1723248"/>
                        </a:cubicBezTo>
                        <a:cubicBezTo>
                          <a:pt x="1416517" y="1712453"/>
                          <a:pt x="1398102" y="1692768"/>
                          <a:pt x="1391752" y="1681338"/>
                        </a:cubicBezTo>
                        <a:cubicBezTo>
                          <a:pt x="1385402" y="1669908"/>
                          <a:pt x="1388577" y="1661653"/>
                          <a:pt x="1380322" y="1654668"/>
                        </a:cubicBezTo>
                        <a:cubicBezTo>
                          <a:pt x="1372067" y="1647683"/>
                          <a:pt x="1363177" y="1638158"/>
                          <a:pt x="1342222" y="1639428"/>
                        </a:cubicBezTo>
                        <a:cubicBezTo>
                          <a:pt x="1321267" y="1640698"/>
                          <a:pt x="1273642" y="1655938"/>
                          <a:pt x="1254592" y="1662288"/>
                        </a:cubicBezTo>
                        <a:cubicBezTo>
                          <a:pt x="1235542" y="1668638"/>
                          <a:pt x="1246972" y="1681338"/>
                          <a:pt x="1227922" y="1677528"/>
                        </a:cubicBezTo>
                        <a:cubicBezTo>
                          <a:pt x="1208872" y="1673718"/>
                          <a:pt x="1164422" y="1650858"/>
                          <a:pt x="1140292" y="1639428"/>
                        </a:cubicBezTo>
                        <a:cubicBezTo>
                          <a:pt x="1116162" y="1627998"/>
                          <a:pt x="1104097" y="1617203"/>
                          <a:pt x="1083142" y="1608948"/>
                        </a:cubicBezTo>
                        <a:cubicBezTo>
                          <a:pt x="1062187" y="1600693"/>
                          <a:pt x="1034247" y="1591803"/>
                          <a:pt x="1014562" y="1589898"/>
                        </a:cubicBezTo>
                        <a:cubicBezTo>
                          <a:pt x="994877" y="1587993"/>
                          <a:pt x="974557" y="1608313"/>
                          <a:pt x="965032" y="1597518"/>
                        </a:cubicBezTo>
                        <a:cubicBezTo>
                          <a:pt x="955507" y="1586723"/>
                          <a:pt x="963127" y="1549893"/>
                          <a:pt x="957412" y="1525128"/>
                        </a:cubicBezTo>
                        <a:cubicBezTo>
                          <a:pt x="951697" y="1500363"/>
                          <a:pt x="937092" y="1472423"/>
                          <a:pt x="930742" y="1448928"/>
                        </a:cubicBezTo>
                        <a:cubicBezTo>
                          <a:pt x="924392" y="1425433"/>
                          <a:pt x="922487" y="1398763"/>
                          <a:pt x="919312" y="1384158"/>
                        </a:cubicBezTo>
                        <a:cubicBezTo>
                          <a:pt x="916137" y="1369553"/>
                          <a:pt x="913597" y="1373363"/>
                          <a:pt x="911692" y="1361298"/>
                        </a:cubicBezTo>
                        <a:cubicBezTo>
                          <a:pt x="909787" y="1349233"/>
                          <a:pt x="912327" y="1327008"/>
                          <a:pt x="907882" y="1311768"/>
                        </a:cubicBezTo>
                        <a:cubicBezTo>
                          <a:pt x="903437" y="1296528"/>
                          <a:pt x="893277" y="1287638"/>
                          <a:pt x="885022" y="1269858"/>
                        </a:cubicBezTo>
                        <a:cubicBezTo>
                          <a:pt x="876767" y="1252078"/>
                          <a:pt x="864702" y="1222868"/>
                          <a:pt x="858352" y="1205088"/>
                        </a:cubicBezTo>
                        <a:cubicBezTo>
                          <a:pt x="852002" y="1187308"/>
                          <a:pt x="845652" y="1173973"/>
                          <a:pt x="846922" y="1163178"/>
                        </a:cubicBezTo>
                        <a:cubicBezTo>
                          <a:pt x="848192" y="1152383"/>
                          <a:pt x="863432" y="1157463"/>
                          <a:pt x="865972" y="1140318"/>
                        </a:cubicBezTo>
                        <a:cubicBezTo>
                          <a:pt x="868512" y="1123173"/>
                          <a:pt x="861527" y="1083168"/>
                          <a:pt x="862162" y="1060308"/>
                        </a:cubicBezTo>
                        <a:cubicBezTo>
                          <a:pt x="862797" y="1037448"/>
                          <a:pt x="874862" y="1021573"/>
                          <a:pt x="869782" y="1003158"/>
                        </a:cubicBezTo>
                        <a:cubicBezTo>
                          <a:pt x="864702" y="984743"/>
                          <a:pt x="842477" y="980298"/>
                          <a:pt x="831682" y="949818"/>
                        </a:cubicBezTo>
                        <a:cubicBezTo>
                          <a:pt x="820887" y="919338"/>
                          <a:pt x="815807" y="877428"/>
                          <a:pt x="805012" y="820278"/>
                        </a:cubicBezTo>
                        <a:cubicBezTo>
                          <a:pt x="794217" y="763128"/>
                          <a:pt x="782152" y="669783"/>
                          <a:pt x="766912" y="606918"/>
                        </a:cubicBezTo>
                        <a:cubicBezTo>
                          <a:pt x="751672" y="544053"/>
                          <a:pt x="731987" y="484998"/>
                          <a:pt x="713572" y="443088"/>
                        </a:cubicBezTo>
                        <a:cubicBezTo>
                          <a:pt x="695157" y="401178"/>
                          <a:pt x="671662" y="385938"/>
                          <a:pt x="656422" y="355458"/>
                        </a:cubicBezTo>
                        <a:cubicBezTo>
                          <a:pt x="641182" y="324978"/>
                          <a:pt x="629752" y="281798"/>
                          <a:pt x="622132" y="260208"/>
                        </a:cubicBezTo>
                        <a:cubicBezTo>
                          <a:pt x="614512" y="238618"/>
                          <a:pt x="611972" y="237983"/>
                          <a:pt x="610702" y="225918"/>
                        </a:cubicBezTo>
                        <a:cubicBezTo>
                          <a:pt x="609432" y="213853"/>
                          <a:pt x="627212" y="202423"/>
                          <a:pt x="614512" y="187818"/>
                        </a:cubicBezTo>
                        <a:cubicBezTo>
                          <a:pt x="601812" y="173213"/>
                          <a:pt x="561807" y="150988"/>
                          <a:pt x="534502" y="138288"/>
                        </a:cubicBezTo>
                        <a:cubicBezTo>
                          <a:pt x="507197" y="125588"/>
                          <a:pt x="477352" y="117333"/>
                          <a:pt x="450682" y="111618"/>
                        </a:cubicBezTo>
                        <a:cubicBezTo>
                          <a:pt x="424012" y="105903"/>
                          <a:pt x="398612" y="108443"/>
                          <a:pt x="374482" y="103998"/>
                        </a:cubicBezTo>
                        <a:cubicBezTo>
                          <a:pt x="350352" y="99553"/>
                          <a:pt x="321777" y="93203"/>
                          <a:pt x="305902" y="84948"/>
                        </a:cubicBezTo>
                        <a:cubicBezTo>
                          <a:pt x="290027" y="76693"/>
                          <a:pt x="297012" y="61453"/>
                          <a:pt x="279232" y="54468"/>
                        </a:cubicBezTo>
                        <a:cubicBezTo>
                          <a:pt x="261452" y="47483"/>
                          <a:pt x="220812" y="46848"/>
                          <a:pt x="199222" y="43038"/>
                        </a:cubicBezTo>
                        <a:cubicBezTo>
                          <a:pt x="177632" y="39228"/>
                          <a:pt x="164932" y="36053"/>
                          <a:pt x="149692" y="31608"/>
                        </a:cubicBezTo>
                        <a:cubicBezTo>
                          <a:pt x="134452" y="27163"/>
                          <a:pt x="130642" y="21448"/>
                          <a:pt x="107782" y="16368"/>
                        </a:cubicBezTo>
                        <a:cubicBezTo>
                          <a:pt x="84922" y="11288"/>
                          <a:pt x="30312" y="3668"/>
                          <a:pt x="12532" y="1128"/>
                        </a:cubicBezTo>
                        <a:cubicBezTo>
                          <a:pt x="-5248" y="-1412"/>
                          <a:pt x="1102" y="1128"/>
                          <a:pt x="1102" y="1128"/>
                        </a:cubicBezTo>
                        <a:lnTo>
                          <a:pt x="1102" y="1128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29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3352730" y="3239623"/>
                    <a:ext cx="468000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Ұлғайсы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30" name="Блок-схема: узел 229"/>
                  <p:cNvSpPr/>
                  <p:nvPr/>
                </p:nvSpPr>
                <p:spPr>
                  <a:xfrm>
                    <a:off x="3545370" y="153454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33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4566680" y="1759045"/>
                    <a:ext cx="494646" cy="102047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Көкшетау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34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4951421" y="2229101"/>
                    <a:ext cx="380491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тбасар</a:t>
                    </a:r>
                  </a:p>
                </p:txBody>
              </p:sp>
              <p:sp>
                <p:nvSpPr>
                  <p:cNvPr id="235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695785" y="3260847"/>
                    <a:ext cx="288000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ягөз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36" name="Блок-схема: узел 235"/>
                  <p:cNvSpPr/>
                  <p:nvPr/>
                </p:nvSpPr>
                <p:spPr>
                  <a:xfrm>
                    <a:off x="7613650" y="331804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38" name="Полилиния 237"/>
                  <p:cNvSpPr/>
                  <p:nvPr/>
                </p:nvSpPr>
                <p:spPr>
                  <a:xfrm>
                    <a:off x="5895975" y="2876550"/>
                    <a:ext cx="85725" cy="127000"/>
                  </a:xfrm>
                  <a:custGeom>
                    <a:avLst/>
                    <a:gdLst>
                      <a:gd name="connsiteX0" fmla="*/ 85725 w 85725"/>
                      <a:gd name="connsiteY0" fmla="*/ 127000 h 127000"/>
                      <a:gd name="connsiteX1" fmla="*/ 50800 w 85725"/>
                      <a:gd name="connsiteY1" fmla="*/ 66675 h 127000"/>
                      <a:gd name="connsiteX2" fmla="*/ 31750 w 85725"/>
                      <a:gd name="connsiteY2" fmla="*/ 53975 h 127000"/>
                      <a:gd name="connsiteX3" fmla="*/ 15875 w 85725"/>
                      <a:gd name="connsiteY3" fmla="*/ 44450 h 127000"/>
                      <a:gd name="connsiteX4" fmla="*/ 3175 w 85725"/>
                      <a:gd name="connsiteY4" fmla="*/ 31750 h 127000"/>
                      <a:gd name="connsiteX5" fmla="*/ 0 w 85725"/>
                      <a:gd name="connsiteY5" fmla="*/ 12700 h 127000"/>
                      <a:gd name="connsiteX6" fmla="*/ 3175 w 85725"/>
                      <a:gd name="connsiteY6" fmla="*/ 0 h 127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5725" h="127000">
                        <a:moveTo>
                          <a:pt x="85725" y="127000"/>
                        </a:moveTo>
                        <a:cubicBezTo>
                          <a:pt x="72760" y="102923"/>
                          <a:pt x="59796" y="78846"/>
                          <a:pt x="50800" y="66675"/>
                        </a:cubicBezTo>
                        <a:cubicBezTo>
                          <a:pt x="41804" y="54504"/>
                          <a:pt x="37571" y="57679"/>
                          <a:pt x="31750" y="53975"/>
                        </a:cubicBezTo>
                        <a:cubicBezTo>
                          <a:pt x="25929" y="50271"/>
                          <a:pt x="15875" y="44450"/>
                          <a:pt x="15875" y="44450"/>
                        </a:cubicBezTo>
                        <a:cubicBezTo>
                          <a:pt x="11113" y="40746"/>
                          <a:pt x="5821" y="37042"/>
                          <a:pt x="3175" y="31750"/>
                        </a:cubicBezTo>
                        <a:cubicBezTo>
                          <a:pt x="529" y="26458"/>
                          <a:pt x="0" y="12700"/>
                          <a:pt x="0" y="12700"/>
                        </a:cubicBezTo>
                        <a:cubicBezTo>
                          <a:pt x="0" y="7408"/>
                          <a:pt x="1587" y="3704"/>
                          <a:pt x="3175" y="0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39" name="Полилиния 238"/>
                  <p:cNvSpPr/>
                  <p:nvPr/>
                </p:nvSpPr>
                <p:spPr>
                  <a:xfrm>
                    <a:off x="5895975" y="2876550"/>
                    <a:ext cx="85725" cy="127000"/>
                  </a:xfrm>
                  <a:custGeom>
                    <a:avLst/>
                    <a:gdLst>
                      <a:gd name="connsiteX0" fmla="*/ 85725 w 85725"/>
                      <a:gd name="connsiteY0" fmla="*/ 127000 h 127000"/>
                      <a:gd name="connsiteX1" fmla="*/ 50800 w 85725"/>
                      <a:gd name="connsiteY1" fmla="*/ 66675 h 127000"/>
                      <a:gd name="connsiteX2" fmla="*/ 31750 w 85725"/>
                      <a:gd name="connsiteY2" fmla="*/ 53975 h 127000"/>
                      <a:gd name="connsiteX3" fmla="*/ 15875 w 85725"/>
                      <a:gd name="connsiteY3" fmla="*/ 44450 h 127000"/>
                      <a:gd name="connsiteX4" fmla="*/ 3175 w 85725"/>
                      <a:gd name="connsiteY4" fmla="*/ 31750 h 127000"/>
                      <a:gd name="connsiteX5" fmla="*/ 0 w 85725"/>
                      <a:gd name="connsiteY5" fmla="*/ 12700 h 127000"/>
                      <a:gd name="connsiteX6" fmla="*/ 3175 w 85725"/>
                      <a:gd name="connsiteY6" fmla="*/ 0 h 127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5725" h="127000">
                        <a:moveTo>
                          <a:pt x="85725" y="127000"/>
                        </a:moveTo>
                        <a:cubicBezTo>
                          <a:pt x="72760" y="102923"/>
                          <a:pt x="59796" y="78846"/>
                          <a:pt x="50800" y="66675"/>
                        </a:cubicBezTo>
                        <a:cubicBezTo>
                          <a:pt x="41804" y="54504"/>
                          <a:pt x="37571" y="57679"/>
                          <a:pt x="31750" y="53975"/>
                        </a:cubicBezTo>
                        <a:cubicBezTo>
                          <a:pt x="25929" y="50271"/>
                          <a:pt x="15875" y="44450"/>
                          <a:pt x="15875" y="44450"/>
                        </a:cubicBezTo>
                        <a:cubicBezTo>
                          <a:pt x="11113" y="40746"/>
                          <a:pt x="5821" y="37042"/>
                          <a:pt x="3175" y="31750"/>
                        </a:cubicBezTo>
                        <a:cubicBezTo>
                          <a:pt x="529" y="26458"/>
                          <a:pt x="0" y="12700"/>
                          <a:pt x="0" y="12700"/>
                        </a:cubicBezTo>
                        <a:cubicBezTo>
                          <a:pt x="0" y="7408"/>
                          <a:pt x="1587" y="3704"/>
                          <a:pt x="3175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40" name="Полилиния 239"/>
                  <p:cNvSpPr/>
                  <p:nvPr/>
                </p:nvSpPr>
                <p:spPr>
                  <a:xfrm>
                    <a:off x="5918200" y="2870200"/>
                    <a:ext cx="85725" cy="127000"/>
                  </a:xfrm>
                  <a:custGeom>
                    <a:avLst/>
                    <a:gdLst>
                      <a:gd name="connsiteX0" fmla="*/ 85725 w 85725"/>
                      <a:gd name="connsiteY0" fmla="*/ 127000 h 127000"/>
                      <a:gd name="connsiteX1" fmla="*/ 50800 w 85725"/>
                      <a:gd name="connsiteY1" fmla="*/ 66675 h 127000"/>
                      <a:gd name="connsiteX2" fmla="*/ 31750 w 85725"/>
                      <a:gd name="connsiteY2" fmla="*/ 53975 h 127000"/>
                      <a:gd name="connsiteX3" fmla="*/ 15875 w 85725"/>
                      <a:gd name="connsiteY3" fmla="*/ 44450 h 127000"/>
                      <a:gd name="connsiteX4" fmla="*/ 3175 w 85725"/>
                      <a:gd name="connsiteY4" fmla="*/ 31750 h 127000"/>
                      <a:gd name="connsiteX5" fmla="*/ 0 w 85725"/>
                      <a:gd name="connsiteY5" fmla="*/ 12700 h 127000"/>
                      <a:gd name="connsiteX6" fmla="*/ 3175 w 85725"/>
                      <a:gd name="connsiteY6" fmla="*/ 0 h 127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5725" h="127000">
                        <a:moveTo>
                          <a:pt x="85725" y="127000"/>
                        </a:moveTo>
                        <a:cubicBezTo>
                          <a:pt x="72760" y="102923"/>
                          <a:pt x="59796" y="78846"/>
                          <a:pt x="50800" y="66675"/>
                        </a:cubicBezTo>
                        <a:cubicBezTo>
                          <a:pt x="41804" y="54504"/>
                          <a:pt x="37571" y="57679"/>
                          <a:pt x="31750" y="53975"/>
                        </a:cubicBezTo>
                        <a:cubicBezTo>
                          <a:pt x="25929" y="50271"/>
                          <a:pt x="15875" y="44450"/>
                          <a:pt x="15875" y="44450"/>
                        </a:cubicBezTo>
                        <a:cubicBezTo>
                          <a:pt x="11113" y="40746"/>
                          <a:pt x="5821" y="37042"/>
                          <a:pt x="3175" y="31750"/>
                        </a:cubicBezTo>
                        <a:cubicBezTo>
                          <a:pt x="529" y="26458"/>
                          <a:pt x="0" y="12700"/>
                          <a:pt x="0" y="12700"/>
                        </a:cubicBezTo>
                        <a:cubicBezTo>
                          <a:pt x="0" y="7408"/>
                          <a:pt x="1587" y="3704"/>
                          <a:pt x="3175" y="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41" name="Полилиния 240"/>
                  <p:cNvSpPr/>
                  <p:nvPr/>
                </p:nvSpPr>
                <p:spPr>
                  <a:xfrm>
                    <a:off x="5876925" y="2889250"/>
                    <a:ext cx="85725" cy="127000"/>
                  </a:xfrm>
                  <a:custGeom>
                    <a:avLst/>
                    <a:gdLst>
                      <a:gd name="connsiteX0" fmla="*/ 85725 w 85725"/>
                      <a:gd name="connsiteY0" fmla="*/ 127000 h 127000"/>
                      <a:gd name="connsiteX1" fmla="*/ 50800 w 85725"/>
                      <a:gd name="connsiteY1" fmla="*/ 66675 h 127000"/>
                      <a:gd name="connsiteX2" fmla="*/ 31750 w 85725"/>
                      <a:gd name="connsiteY2" fmla="*/ 53975 h 127000"/>
                      <a:gd name="connsiteX3" fmla="*/ 15875 w 85725"/>
                      <a:gd name="connsiteY3" fmla="*/ 44450 h 127000"/>
                      <a:gd name="connsiteX4" fmla="*/ 3175 w 85725"/>
                      <a:gd name="connsiteY4" fmla="*/ 31750 h 127000"/>
                      <a:gd name="connsiteX5" fmla="*/ 0 w 85725"/>
                      <a:gd name="connsiteY5" fmla="*/ 12700 h 127000"/>
                      <a:gd name="connsiteX6" fmla="*/ 3175 w 85725"/>
                      <a:gd name="connsiteY6" fmla="*/ 0 h 127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85725" h="127000">
                        <a:moveTo>
                          <a:pt x="85725" y="127000"/>
                        </a:moveTo>
                        <a:cubicBezTo>
                          <a:pt x="72760" y="102923"/>
                          <a:pt x="59796" y="78846"/>
                          <a:pt x="50800" y="66675"/>
                        </a:cubicBezTo>
                        <a:cubicBezTo>
                          <a:pt x="41804" y="54504"/>
                          <a:pt x="37571" y="57679"/>
                          <a:pt x="31750" y="53975"/>
                        </a:cubicBezTo>
                        <a:cubicBezTo>
                          <a:pt x="25929" y="50271"/>
                          <a:pt x="15875" y="44450"/>
                          <a:pt x="15875" y="44450"/>
                        </a:cubicBezTo>
                        <a:cubicBezTo>
                          <a:pt x="11113" y="40746"/>
                          <a:pt x="5821" y="37042"/>
                          <a:pt x="3175" y="31750"/>
                        </a:cubicBezTo>
                        <a:cubicBezTo>
                          <a:pt x="529" y="26458"/>
                          <a:pt x="0" y="12700"/>
                          <a:pt x="0" y="12700"/>
                        </a:cubicBezTo>
                        <a:cubicBezTo>
                          <a:pt x="0" y="7408"/>
                          <a:pt x="1587" y="3704"/>
                          <a:pt x="3175" y="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42" name="Блок-схема: узел 241"/>
                  <p:cNvSpPr/>
                  <p:nvPr/>
                </p:nvSpPr>
                <p:spPr>
                  <a:xfrm>
                    <a:off x="5860030" y="2836124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44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6707585" y="1950626"/>
                    <a:ext cx="512228" cy="136341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Павлодар</a:t>
                    </a:r>
                  </a:p>
                </p:txBody>
              </p:sp>
              <p:sp>
                <p:nvSpPr>
                  <p:cNvPr id="245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7992115" y="2419862"/>
                    <a:ext cx="78545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kk-KZ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Өскеме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46" name="Полилиния 245"/>
                  <p:cNvSpPr/>
                  <p:nvPr/>
                </p:nvSpPr>
                <p:spPr>
                  <a:xfrm>
                    <a:off x="2824039" y="2771430"/>
                    <a:ext cx="355740" cy="260541"/>
                  </a:xfrm>
                  <a:custGeom>
                    <a:avLst/>
                    <a:gdLst>
                      <a:gd name="connsiteX0" fmla="*/ 586218 w 586218"/>
                      <a:gd name="connsiteY0" fmla="*/ 182880 h 182880"/>
                      <a:gd name="connsiteX1" fmla="*/ 513567 w 586218"/>
                      <a:gd name="connsiteY1" fmla="*/ 142797 h 182880"/>
                      <a:gd name="connsiteX2" fmla="*/ 443421 w 586218"/>
                      <a:gd name="connsiteY2" fmla="*/ 120250 h 182880"/>
                      <a:gd name="connsiteX3" fmla="*/ 398328 w 586218"/>
                      <a:gd name="connsiteY3" fmla="*/ 112734 h 182880"/>
                      <a:gd name="connsiteX4" fmla="*/ 348224 w 586218"/>
                      <a:gd name="connsiteY4" fmla="*/ 105219 h 182880"/>
                      <a:gd name="connsiteX5" fmla="*/ 295614 w 586218"/>
                      <a:gd name="connsiteY5" fmla="*/ 97703 h 182880"/>
                      <a:gd name="connsiteX6" fmla="*/ 283088 w 586218"/>
                      <a:gd name="connsiteY6" fmla="*/ 87682 h 182880"/>
                      <a:gd name="connsiteX7" fmla="*/ 260541 w 586218"/>
                      <a:gd name="connsiteY7" fmla="*/ 62630 h 182880"/>
                      <a:gd name="connsiteX8" fmla="*/ 220458 w 586218"/>
                      <a:gd name="connsiteY8" fmla="*/ 57620 h 182880"/>
                      <a:gd name="connsiteX9" fmla="*/ 150312 w 586218"/>
                      <a:gd name="connsiteY9" fmla="*/ 47599 h 182880"/>
                      <a:gd name="connsiteX10" fmla="*/ 75156 w 586218"/>
                      <a:gd name="connsiteY10" fmla="*/ 20042 h 182880"/>
                      <a:gd name="connsiteX11" fmla="*/ 35073 w 586218"/>
                      <a:gd name="connsiteY11" fmla="*/ 15031 h 182880"/>
                      <a:gd name="connsiteX12" fmla="*/ 0 w 586218"/>
                      <a:gd name="connsiteY12" fmla="*/ 0 h 182880"/>
                      <a:gd name="connsiteX0" fmla="*/ 586218 w 589717"/>
                      <a:gd name="connsiteY0" fmla="*/ 182880 h 182880"/>
                      <a:gd name="connsiteX1" fmla="*/ 583714 w 589717"/>
                      <a:gd name="connsiteY1" fmla="*/ 177870 h 182880"/>
                      <a:gd name="connsiteX2" fmla="*/ 513567 w 589717"/>
                      <a:gd name="connsiteY2" fmla="*/ 142797 h 182880"/>
                      <a:gd name="connsiteX3" fmla="*/ 443421 w 589717"/>
                      <a:gd name="connsiteY3" fmla="*/ 120250 h 182880"/>
                      <a:gd name="connsiteX4" fmla="*/ 398328 w 589717"/>
                      <a:gd name="connsiteY4" fmla="*/ 112734 h 182880"/>
                      <a:gd name="connsiteX5" fmla="*/ 348224 w 589717"/>
                      <a:gd name="connsiteY5" fmla="*/ 105219 h 182880"/>
                      <a:gd name="connsiteX6" fmla="*/ 295614 w 589717"/>
                      <a:gd name="connsiteY6" fmla="*/ 97703 h 182880"/>
                      <a:gd name="connsiteX7" fmla="*/ 283088 w 589717"/>
                      <a:gd name="connsiteY7" fmla="*/ 87682 h 182880"/>
                      <a:gd name="connsiteX8" fmla="*/ 260541 w 589717"/>
                      <a:gd name="connsiteY8" fmla="*/ 62630 h 182880"/>
                      <a:gd name="connsiteX9" fmla="*/ 220458 w 589717"/>
                      <a:gd name="connsiteY9" fmla="*/ 57620 h 182880"/>
                      <a:gd name="connsiteX10" fmla="*/ 150312 w 589717"/>
                      <a:gd name="connsiteY10" fmla="*/ 47599 h 182880"/>
                      <a:gd name="connsiteX11" fmla="*/ 75156 w 589717"/>
                      <a:gd name="connsiteY11" fmla="*/ 20042 h 182880"/>
                      <a:gd name="connsiteX12" fmla="*/ 35073 w 589717"/>
                      <a:gd name="connsiteY12" fmla="*/ 15031 h 182880"/>
                      <a:gd name="connsiteX13" fmla="*/ 0 w 589717"/>
                      <a:gd name="connsiteY13" fmla="*/ 0 h 182880"/>
                      <a:gd name="connsiteX0" fmla="*/ 586218 w 620852"/>
                      <a:gd name="connsiteY0" fmla="*/ 182880 h 268402"/>
                      <a:gd name="connsiteX1" fmla="*/ 618787 w 620852"/>
                      <a:gd name="connsiteY1" fmla="*/ 268058 h 268402"/>
                      <a:gd name="connsiteX2" fmla="*/ 513567 w 620852"/>
                      <a:gd name="connsiteY2" fmla="*/ 142797 h 268402"/>
                      <a:gd name="connsiteX3" fmla="*/ 443421 w 620852"/>
                      <a:gd name="connsiteY3" fmla="*/ 120250 h 268402"/>
                      <a:gd name="connsiteX4" fmla="*/ 398328 w 620852"/>
                      <a:gd name="connsiteY4" fmla="*/ 112734 h 268402"/>
                      <a:gd name="connsiteX5" fmla="*/ 348224 w 620852"/>
                      <a:gd name="connsiteY5" fmla="*/ 105219 h 268402"/>
                      <a:gd name="connsiteX6" fmla="*/ 295614 w 620852"/>
                      <a:gd name="connsiteY6" fmla="*/ 97703 h 268402"/>
                      <a:gd name="connsiteX7" fmla="*/ 283088 w 620852"/>
                      <a:gd name="connsiteY7" fmla="*/ 87682 h 268402"/>
                      <a:gd name="connsiteX8" fmla="*/ 260541 w 620852"/>
                      <a:gd name="connsiteY8" fmla="*/ 62630 h 268402"/>
                      <a:gd name="connsiteX9" fmla="*/ 220458 w 620852"/>
                      <a:gd name="connsiteY9" fmla="*/ 57620 h 268402"/>
                      <a:gd name="connsiteX10" fmla="*/ 150312 w 620852"/>
                      <a:gd name="connsiteY10" fmla="*/ 47599 h 268402"/>
                      <a:gd name="connsiteX11" fmla="*/ 75156 w 620852"/>
                      <a:gd name="connsiteY11" fmla="*/ 20042 h 268402"/>
                      <a:gd name="connsiteX12" fmla="*/ 35073 w 620852"/>
                      <a:gd name="connsiteY12" fmla="*/ 15031 h 268402"/>
                      <a:gd name="connsiteX13" fmla="*/ 0 w 620852"/>
                      <a:gd name="connsiteY13" fmla="*/ 0 h 268402"/>
                      <a:gd name="connsiteX0" fmla="*/ 819203 w 819203"/>
                      <a:gd name="connsiteY0" fmla="*/ 280583 h 280583"/>
                      <a:gd name="connsiteX1" fmla="*/ 618787 w 819203"/>
                      <a:gd name="connsiteY1" fmla="*/ 268058 h 280583"/>
                      <a:gd name="connsiteX2" fmla="*/ 513567 w 819203"/>
                      <a:gd name="connsiteY2" fmla="*/ 142797 h 280583"/>
                      <a:gd name="connsiteX3" fmla="*/ 443421 w 819203"/>
                      <a:gd name="connsiteY3" fmla="*/ 120250 h 280583"/>
                      <a:gd name="connsiteX4" fmla="*/ 398328 w 819203"/>
                      <a:gd name="connsiteY4" fmla="*/ 112734 h 280583"/>
                      <a:gd name="connsiteX5" fmla="*/ 348224 w 819203"/>
                      <a:gd name="connsiteY5" fmla="*/ 105219 h 280583"/>
                      <a:gd name="connsiteX6" fmla="*/ 295614 w 819203"/>
                      <a:gd name="connsiteY6" fmla="*/ 97703 h 280583"/>
                      <a:gd name="connsiteX7" fmla="*/ 283088 w 819203"/>
                      <a:gd name="connsiteY7" fmla="*/ 87682 h 280583"/>
                      <a:gd name="connsiteX8" fmla="*/ 260541 w 819203"/>
                      <a:gd name="connsiteY8" fmla="*/ 62630 h 280583"/>
                      <a:gd name="connsiteX9" fmla="*/ 220458 w 819203"/>
                      <a:gd name="connsiteY9" fmla="*/ 57620 h 280583"/>
                      <a:gd name="connsiteX10" fmla="*/ 150312 w 819203"/>
                      <a:gd name="connsiteY10" fmla="*/ 47599 h 280583"/>
                      <a:gd name="connsiteX11" fmla="*/ 75156 w 819203"/>
                      <a:gd name="connsiteY11" fmla="*/ 20042 h 280583"/>
                      <a:gd name="connsiteX12" fmla="*/ 35073 w 819203"/>
                      <a:gd name="connsiteY12" fmla="*/ 15031 h 280583"/>
                      <a:gd name="connsiteX13" fmla="*/ 0 w 819203"/>
                      <a:gd name="connsiteY13" fmla="*/ 0 h 280583"/>
                      <a:gd name="connsiteX0" fmla="*/ 819203 w 819203"/>
                      <a:gd name="connsiteY0" fmla="*/ 280583 h 280583"/>
                      <a:gd name="connsiteX1" fmla="*/ 573693 w 819203"/>
                      <a:gd name="connsiteY1" fmla="*/ 162839 h 280583"/>
                      <a:gd name="connsiteX2" fmla="*/ 513567 w 819203"/>
                      <a:gd name="connsiteY2" fmla="*/ 142797 h 280583"/>
                      <a:gd name="connsiteX3" fmla="*/ 443421 w 819203"/>
                      <a:gd name="connsiteY3" fmla="*/ 120250 h 280583"/>
                      <a:gd name="connsiteX4" fmla="*/ 398328 w 819203"/>
                      <a:gd name="connsiteY4" fmla="*/ 112734 h 280583"/>
                      <a:gd name="connsiteX5" fmla="*/ 348224 w 819203"/>
                      <a:gd name="connsiteY5" fmla="*/ 105219 h 280583"/>
                      <a:gd name="connsiteX6" fmla="*/ 295614 w 819203"/>
                      <a:gd name="connsiteY6" fmla="*/ 97703 h 280583"/>
                      <a:gd name="connsiteX7" fmla="*/ 283088 w 819203"/>
                      <a:gd name="connsiteY7" fmla="*/ 87682 h 280583"/>
                      <a:gd name="connsiteX8" fmla="*/ 260541 w 819203"/>
                      <a:gd name="connsiteY8" fmla="*/ 62630 h 280583"/>
                      <a:gd name="connsiteX9" fmla="*/ 220458 w 819203"/>
                      <a:gd name="connsiteY9" fmla="*/ 57620 h 280583"/>
                      <a:gd name="connsiteX10" fmla="*/ 150312 w 819203"/>
                      <a:gd name="connsiteY10" fmla="*/ 47599 h 280583"/>
                      <a:gd name="connsiteX11" fmla="*/ 75156 w 819203"/>
                      <a:gd name="connsiteY11" fmla="*/ 20042 h 280583"/>
                      <a:gd name="connsiteX12" fmla="*/ 35073 w 819203"/>
                      <a:gd name="connsiteY12" fmla="*/ 15031 h 280583"/>
                      <a:gd name="connsiteX13" fmla="*/ 0 w 819203"/>
                      <a:gd name="connsiteY13" fmla="*/ 0 h 280583"/>
                      <a:gd name="connsiteX0" fmla="*/ 596239 w 596239"/>
                      <a:gd name="connsiteY0" fmla="*/ 215447 h 215447"/>
                      <a:gd name="connsiteX1" fmla="*/ 573693 w 596239"/>
                      <a:gd name="connsiteY1" fmla="*/ 162839 h 215447"/>
                      <a:gd name="connsiteX2" fmla="*/ 513567 w 596239"/>
                      <a:gd name="connsiteY2" fmla="*/ 142797 h 215447"/>
                      <a:gd name="connsiteX3" fmla="*/ 443421 w 596239"/>
                      <a:gd name="connsiteY3" fmla="*/ 120250 h 215447"/>
                      <a:gd name="connsiteX4" fmla="*/ 398328 w 596239"/>
                      <a:gd name="connsiteY4" fmla="*/ 112734 h 215447"/>
                      <a:gd name="connsiteX5" fmla="*/ 348224 w 596239"/>
                      <a:gd name="connsiteY5" fmla="*/ 105219 h 215447"/>
                      <a:gd name="connsiteX6" fmla="*/ 295614 w 596239"/>
                      <a:gd name="connsiteY6" fmla="*/ 97703 h 215447"/>
                      <a:gd name="connsiteX7" fmla="*/ 283088 w 596239"/>
                      <a:gd name="connsiteY7" fmla="*/ 87682 h 215447"/>
                      <a:gd name="connsiteX8" fmla="*/ 260541 w 596239"/>
                      <a:gd name="connsiteY8" fmla="*/ 62630 h 215447"/>
                      <a:gd name="connsiteX9" fmla="*/ 220458 w 596239"/>
                      <a:gd name="connsiteY9" fmla="*/ 57620 h 215447"/>
                      <a:gd name="connsiteX10" fmla="*/ 150312 w 596239"/>
                      <a:gd name="connsiteY10" fmla="*/ 47599 h 215447"/>
                      <a:gd name="connsiteX11" fmla="*/ 75156 w 596239"/>
                      <a:gd name="connsiteY11" fmla="*/ 20042 h 215447"/>
                      <a:gd name="connsiteX12" fmla="*/ 35073 w 596239"/>
                      <a:gd name="connsiteY12" fmla="*/ 15031 h 215447"/>
                      <a:gd name="connsiteX13" fmla="*/ 0 w 596239"/>
                      <a:gd name="connsiteY13" fmla="*/ 0 h 215447"/>
                      <a:gd name="connsiteX0" fmla="*/ 596239 w 596239"/>
                      <a:gd name="connsiteY0" fmla="*/ 215447 h 215447"/>
                      <a:gd name="connsiteX1" fmla="*/ 571188 w 596239"/>
                      <a:gd name="connsiteY1" fmla="*/ 172860 h 215447"/>
                      <a:gd name="connsiteX2" fmla="*/ 513567 w 596239"/>
                      <a:gd name="connsiteY2" fmla="*/ 142797 h 215447"/>
                      <a:gd name="connsiteX3" fmla="*/ 443421 w 596239"/>
                      <a:gd name="connsiteY3" fmla="*/ 120250 h 215447"/>
                      <a:gd name="connsiteX4" fmla="*/ 398328 w 596239"/>
                      <a:gd name="connsiteY4" fmla="*/ 112734 h 215447"/>
                      <a:gd name="connsiteX5" fmla="*/ 348224 w 596239"/>
                      <a:gd name="connsiteY5" fmla="*/ 105219 h 215447"/>
                      <a:gd name="connsiteX6" fmla="*/ 295614 w 596239"/>
                      <a:gd name="connsiteY6" fmla="*/ 97703 h 215447"/>
                      <a:gd name="connsiteX7" fmla="*/ 283088 w 596239"/>
                      <a:gd name="connsiteY7" fmla="*/ 87682 h 215447"/>
                      <a:gd name="connsiteX8" fmla="*/ 260541 w 596239"/>
                      <a:gd name="connsiteY8" fmla="*/ 62630 h 215447"/>
                      <a:gd name="connsiteX9" fmla="*/ 220458 w 596239"/>
                      <a:gd name="connsiteY9" fmla="*/ 57620 h 215447"/>
                      <a:gd name="connsiteX10" fmla="*/ 150312 w 596239"/>
                      <a:gd name="connsiteY10" fmla="*/ 47599 h 215447"/>
                      <a:gd name="connsiteX11" fmla="*/ 75156 w 596239"/>
                      <a:gd name="connsiteY11" fmla="*/ 20042 h 215447"/>
                      <a:gd name="connsiteX12" fmla="*/ 35073 w 596239"/>
                      <a:gd name="connsiteY12" fmla="*/ 15031 h 215447"/>
                      <a:gd name="connsiteX13" fmla="*/ 0 w 596239"/>
                      <a:gd name="connsiteY13" fmla="*/ 0 h 215447"/>
                      <a:gd name="connsiteX0" fmla="*/ 596239 w 596239"/>
                      <a:gd name="connsiteY0" fmla="*/ 215447 h 216777"/>
                      <a:gd name="connsiteX1" fmla="*/ 588723 w 596239"/>
                      <a:gd name="connsiteY1" fmla="*/ 212942 h 216777"/>
                      <a:gd name="connsiteX2" fmla="*/ 571188 w 596239"/>
                      <a:gd name="connsiteY2" fmla="*/ 172860 h 216777"/>
                      <a:gd name="connsiteX3" fmla="*/ 513567 w 596239"/>
                      <a:gd name="connsiteY3" fmla="*/ 142797 h 216777"/>
                      <a:gd name="connsiteX4" fmla="*/ 443421 w 596239"/>
                      <a:gd name="connsiteY4" fmla="*/ 120250 h 216777"/>
                      <a:gd name="connsiteX5" fmla="*/ 398328 w 596239"/>
                      <a:gd name="connsiteY5" fmla="*/ 112734 h 216777"/>
                      <a:gd name="connsiteX6" fmla="*/ 348224 w 596239"/>
                      <a:gd name="connsiteY6" fmla="*/ 105219 h 216777"/>
                      <a:gd name="connsiteX7" fmla="*/ 295614 w 596239"/>
                      <a:gd name="connsiteY7" fmla="*/ 97703 h 216777"/>
                      <a:gd name="connsiteX8" fmla="*/ 283088 w 596239"/>
                      <a:gd name="connsiteY8" fmla="*/ 87682 h 216777"/>
                      <a:gd name="connsiteX9" fmla="*/ 260541 w 596239"/>
                      <a:gd name="connsiteY9" fmla="*/ 62630 h 216777"/>
                      <a:gd name="connsiteX10" fmla="*/ 220458 w 596239"/>
                      <a:gd name="connsiteY10" fmla="*/ 57620 h 216777"/>
                      <a:gd name="connsiteX11" fmla="*/ 150312 w 596239"/>
                      <a:gd name="connsiteY11" fmla="*/ 47599 h 216777"/>
                      <a:gd name="connsiteX12" fmla="*/ 75156 w 596239"/>
                      <a:gd name="connsiteY12" fmla="*/ 20042 h 216777"/>
                      <a:gd name="connsiteX13" fmla="*/ 35073 w 596239"/>
                      <a:gd name="connsiteY13" fmla="*/ 15031 h 216777"/>
                      <a:gd name="connsiteX14" fmla="*/ 0 w 596239"/>
                      <a:gd name="connsiteY14" fmla="*/ 0 h 216777"/>
                      <a:gd name="connsiteX0" fmla="*/ 596239 w 631614"/>
                      <a:gd name="connsiteY0" fmla="*/ 215447 h 241511"/>
                      <a:gd name="connsiteX1" fmla="*/ 631312 w 631614"/>
                      <a:gd name="connsiteY1" fmla="*/ 240499 h 241511"/>
                      <a:gd name="connsiteX2" fmla="*/ 571188 w 631614"/>
                      <a:gd name="connsiteY2" fmla="*/ 172860 h 241511"/>
                      <a:gd name="connsiteX3" fmla="*/ 513567 w 631614"/>
                      <a:gd name="connsiteY3" fmla="*/ 142797 h 241511"/>
                      <a:gd name="connsiteX4" fmla="*/ 443421 w 631614"/>
                      <a:gd name="connsiteY4" fmla="*/ 120250 h 241511"/>
                      <a:gd name="connsiteX5" fmla="*/ 398328 w 631614"/>
                      <a:gd name="connsiteY5" fmla="*/ 112734 h 241511"/>
                      <a:gd name="connsiteX6" fmla="*/ 348224 w 631614"/>
                      <a:gd name="connsiteY6" fmla="*/ 105219 h 241511"/>
                      <a:gd name="connsiteX7" fmla="*/ 295614 w 631614"/>
                      <a:gd name="connsiteY7" fmla="*/ 97703 h 241511"/>
                      <a:gd name="connsiteX8" fmla="*/ 283088 w 631614"/>
                      <a:gd name="connsiteY8" fmla="*/ 87682 h 241511"/>
                      <a:gd name="connsiteX9" fmla="*/ 260541 w 631614"/>
                      <a:gd name="connsiteY9" fmla="*/ 62630 h 241511"/>
                      <a:gd name="connsiteX10" fmla="*/ 220458 w 631614"/>
                      <a:gd name="connsiteY10" fmla="*/ 57620 h 241511"/>
                      <a:gd name="connsiteX11" fmla="*/ 150312 w 631614"/>
                      <a:gd name="connsiteY11" fmla="*/ 47599 h 241511"/>
                      <a:gd name="connsiteX12" fmla="*/ 75156 w 631614"/>
                      <a:gd name="connsiteY12" fmla="*/ 20042 h 241511"/>
                      <a:gd name="connsiteX13" fmla="*/ 35073 w 631614"/>
                      <a:gd name="connsiteY13" fmla="*/ 15031 h 241511"/>
                      <a:gd name="connsiteX14" fmla="*/ 0 w 631614"/>
                      <a:gd name="connsiteY14" fmla="*/ 0 h 241511"/>
                      <a:gd name="connsiteX0" fmla="*/ 623796 w 632144"/>
                      <a:gd name="connsiteY0" fmla="*/ 325676 h 325676"/>
                      <a:gd name="connsiteX1" fmla="*/ 631312 w 632144"/>
                      <a:gd name="connsiteY1" fmla="*/ 240499 h 325676"/>
                      <a:gd name="connsiteX2" fmla="*/ 571188 w 632144"/>
                      <a:gd name="connsiteY2" fmla="*/ 172860 h 325676"/>
                      <a:gd name="connsiteX3" fmla="*/ 513567 w 632144"/>
                      <a:gd name="connsiteY3" fmla="*/ 142797 h 325676"/>
                      <a:gd name="connsiteX4" fmla="*/ 443421 w 632144"/>
                      <a:gd name="connsiteY4" fmla="*/ 120250 h 325676"/>
                      <a:gd name="connsiteX5" fmla="*/ 398328 w 632144"/>
                      <a:gd name="connsiteY5" fmla="*/ 112734 h 325676"/>
                      <a:gd name="connsiteX6" fmla="*/ 348224 w 632144"/>
                      <a:gd name="connsiteY6" fmla="*/ 105219 h 325676"/>
                      <a:gd name="connsiteX7" fmla="*/ 295614 w 632144"/>
                      <a:gd name="connsiteY7" fmla="*/ 97703 h 325676"/>
                      <a:gd name="connsiteX8" fmla="*/ 283088 w 632144"/>
                      <a:gd name="connsiteY8" fmla="*/ 87682 h 325676"/>
                      <a:gd name="connsiteX9" fmla="*/ 260541 w 632144"/>
                      <a:gd name="connsiteY9" fmla="*/ 62630 h 325676"/>
                      <a:gd name="connsiteX10" fmla="*/ 220458 w 632144"/>
                      <a:gd name="connsiteY10" fmla="*/ 57620 h 325676"/>
                      <a:gd name="connsiteX11" fmla="*/ 150312 w 632144"/>
                      <a:gd name="connsiteY11" fmla="*/ 47599 h 325676"/>
                      <a:gd name="connsiteX12" fmla="*/ 75156 w 632144"/>
                      <a:gd name="connsiteY12" fmla="*/ 20042 h 325676"/>
                      <a:gd name="connsiteX13" fmla="*/ 35073 w 632144"/>
                      <a:gd name="connsiteY13" fmla="*/ 15031 h 325676"/>
                      <a:gd name="connsiteX14" fmla="*/ 0 w 632144"/>
                      <a:gd name="connsiteY14" fmla="*/ 0 h 325676"/>
                      <a:gd name="connsiteX0" fmla="*/ 623796 w 623796"/>
                      <a:gd name="connsiteY0" fmla="*/ 325676 h 325676"/>
                      <a:gd name="connsiteX1" fmla="*/ 586219 w 623796"/>
                      <a:gd name="connsiteY1" fmla="*/ 212942 h 325676"/>
                      <a:gd name="connsiteX2" fmla="*/ 571188 w 623796"/>
                      <a:gd name="connsiteY2" fmla="*/ 172860 h 325676"/>
                      <a:gd name="connsiteX3" fmla="*/ 513567 w 623796"/>
                      <a:gd name="connsiteY3" fmla="*/ 142797 h 325676"/>
                      <a:gd name="connsiteX4" fmla="*/ 443421 w 623796"/>
                      <a:gd name="connsiteY4" fmla="*/ 120250 h 325676"/>
                      <a:gd name="connsiteX5" fmla="*/ 398328 w 623796"/>
                      <a:gd name="connsiteY5" fmla="*/ 112734 h 325676"/>
                      <a:gd name="connsiteX6" fmla="*/ 348224 w 623796"/>
                      <a:gd name="connsiteY6" fmla="*/ 105219 h 325676"/>
                      <a:gd name="connsiteX7" fmla="*/ 295614 w 623796"/>
                      <a:gd name="connsiteY7" fmla="*/ 97703 h 325676"/>
                      <a:gd name="connsiteX8" fmla="*/ 283088 w 623796"/>
                      <a:gd name="connsiteY8" fmla="*/ 87682 h 325676"/>
                      <a:gd name="connsiteX9" fmla="*/ 260541 w 623796"/>
                      <a:gd name="connsiteY9" fmla="*/ 62630 h 325676"/>
                      <a:gd name="connsiteX10" fmla="*/ 220458 w 623796"/>
                      <a:gd name="connsiteY10" fmla="*/ 57620 h 325676"/>
                      <a:gd name="connsiteX11" fmla="*/ 150312 w 623796"/>
                      <a:gd name="connsiteY11" fmla="*/ 47599 h 325676"/>
                      <a:gd name="connsiteX12" fmla="*/ 75156 w 623796"/>
                      <a:gd name="connsiteY12" fmla="*/ 20042 h 325676"/>
                      <a:gd name="connsiteX13" fmla="*/ 35073 w 623796"/>
                      <a:gd name="connsiteY13" fmla="*/ 15031 h 325676"/>
                      <a:gd name="connsiteX14" fmla="*/ 0 w 623796"/>
                      <a:gd name="connsiteY14" fmla="*/ 0 h 325676"/>
                      <a:gd name="connsiteX0" fmla="*/ 623796 w 623796"/>
                      <a:gd name="connsiteY0" fmla="*/ 325676 h 325676"/>
                      <a:gd name="connsiteX1" fmla="*/ 596240 w 623796"/>
                      <a:gd name="connsiteY1" fmla="*/ 212942 h 325676"/>
                      <a:gd name="connsiteX2" fmla="*/ 571188 w 623796"/>
                      <a:gd name="connsiteY2" fmla="*/ 172860 h 325676"/>
                      <a:gd name="connsiteX3" fmla="*/ 513567 w 623796"/>
                      <a:gd name="connsiteY3" fmla="*/ 142797 h 325676"/>
                      <a:gd name="connsiteX4" fmla="*/ 443421 w 623796"/>
                      <a:gd name="connsiteY4" fmla="*/ 120250 h 325676"/>
                      <a:gd name="connsiteX5" fmla="*/ 398328 w 623796"/>
                      <a:gd name="connsiteY5" fmla="*/ 112734 h 325676"/>
                      <a:gd name="connsiteX6" fmla="*/ 348224 w 623796"/>
                      <a:gd name="connsiteY6" fmla="*/ 105219 h 325676"/>
                      <a:gd name="connsiteX7" fmla="*/ 295614 w 623796"/>
                      <a:gd name="connsiteY7" fmla="*/ 97703 h 325676"/>
                      <a:gd name="connsiteX8" fmla="*/ 283088 w 623796"/>
                      <a:gd name="connsiteY8" fmla="*/ 87682 h 325676"/>
                      <a:gd name="connsiteX9" fmla="*/ 260541 w 623796"/>
                      <a:gd name="connsiteY9" fmla="*/ 62630 h 325676"/>
                      <a:gd name="connsiteX10" fmla="*/ 220458 w 623796"/>
                      <a:gd name="connsiteY10" fmla="*/ 57620 h 325676"/>
                      <a:gd name="connsiteX11" fmla="*/ 150312 w 623796"/>
                      <a:gd name="connsiteY11" fmla="*/ 47599 h 325676"/>
                      <a:gd name="connsiteX12" fmla="*/ 75156 w 623796"/>
                      <a:gd name="connsiteY12" fmla="*/ 20042 h 325676"/>
                      <a:gd name="connsiteX13" fmla="*/ 35073 w 623796"/>
                      <a:gd name="connsiteY13" fmla="*/ 15031 h 325676"/>
                      <a:gd name="connsiteX14" fmla="*/ 0 w 623796"/>
                      <a:gd name="connsiteY14" fmla="*/ 0 h 325676"/>
                      <a:gd name="connsiteX0" fmla="*/ 588723 w 597072"/>
                      <a:gd name="connsiteY0" fmla="*/ 255531 h 255531"/>
                      <a:gd name="connsiteX1" fmla="*/ 596240 w 597072"/>
                      <a:gd name="connsiteY1" fmla="*/ 212942 h 255531"/>
                      <a:gd name="connsiteX2" fmla="*/ 571188 w 597072"/>
                      <a:gd name="connsiteY2" fmla="*/ 172860 h 255531"/>
                      <a:gd name="connsiteX3" fmla="*/ 513567 w 597072"/>
                      <a:gd name="connsiteY3" fmla="*/ 142797 h 255531"/>
                      <a:gd name="connsiteX4" fmla="*/ 443421 w 597072"/>
                      <a:gd name="connsiteY4" fmla="*/ 120250 h 255531"/>
                      <a:gd name="connsiteX5" fmla="*/ 398328 w 597072"/>
                      <a:gd name="connsiteY5" fmla="*/ 112734 h 255531"/>
                      <a:gd name="connsiteX6" fmla="*/ 348224 w 597072"/>
                      <a:gd name="connsiteY6" fmla="*/ 105219 h 255531"/>
                      <a:gd name="connsiteX7" fmla="*/ 295614 w 597072"/>
                      <a:gd name="connsiteY7" fmla="*/ 97703 h 255531"/>
                      <a:gd name="connsiteX8" fmla="*/ 283088 w 597072"/>
                      <a:gd name="connsiteY8" fmla="*/ 87682 h 255531"/>
                      <a:gd name="connsiteX9" fmla="*/ 260541 w 597072"/>
                      <a:gd name="connsiteY9" fmla="*/ 62630 h 255531"/>
                      <a:gd name="connsiteX10" fmla="*/ 220458 w 597072"/>
                      <a:gd name="connsiteY10" fmla="*/ 57620 h 255531"/>
                      <a:gd name="connsiteX11" fmla="*/ 150312 w 597072"/>
                      <a:gd name="connsiteY11" fmla="*/ 47599 h 255531"/>
                      <a:gd name="connsiteX12" fmla="*/ 75156 w 597072"/>
                      <a:gd name="connsiteY12" fmla="*/ 20042 h 255531"/>
                      <a:gd name="connsiteX13" fmla="*/ 35073 w 597072"/>
                      <a:gd name="connsiteY13" fmla="*/ 15031 h 255531"/>
                      <a:gd name="connsiteX14" fmla="*/ 0 w 597072"/>
                      <a:gd name="connsiteY14" fmla="*/ 0 h 255531"/>
                      <a:gd name="connsiteX0" fmla="*/ 588723 w 604318"/>
                      <a:gd name="connsiteY0" fmla="*/ 255531 h 255531"/>
                      <a:gd name="connsiteX1" fmla="*/ 603756 w 604318"/>
                      <a:gd name="connsiteY1" fmla="*/ 202921 h 255531"/>
                      <a:gd name="connsiteX2" fmla="*/ 571188 w 604318"/>
                      <a:gd name="connsiteY2" fmla="*/ 172860 h 255531"/>
                      <a:gd name="connsiteX3" fmla="*/ 513567 w 604318"/>
                      <a:gd name="connsiteY3" fmla="*/ 142797 h 255531"/>
                      <a:gd name="connsiteX4" fmla="*/ 443421 w 604318"/>
                      <a:gd name="connsiteY4" fmla="*/ 120250 h 255531"/>
                      <a:gd name="connsiteX5" fmla="*/ 398328 w 604318"/>
                      <a:gd name="connsiteY5" fmla="*/ 112734 h 255531"/>
                      <a:gd name="connsiteX6" fmla="*/ 348224 w 604318"/>
                      <a:gd name="connsiteY6" fmla="*/ 105219 h 255531"/>
                      <a:gd name="connsiteX7" fmla="*/ 295614 w 604318"/>
                      <a:gd name="connsiteY7" fmla="*/ 97703 h 255531"/>
                      <a:gd name="connsiteX8" fmla="*/ 283088 w 604318"/>
                      <a:gd name="connsiteY8" fmla="*/ 87682 h 255531"/>
                      <a:gd name="connsiteX9" fmla="*/ 260541 w 604318"/>
                      <a:gd name="connsiteY9" fmla="*/ 62630 h 255531"/>
                      <a:gd name="connsiteX10" fmla="*/ 220458 w 604318"/>
                      <a:gd name="connsiteY10" fmla="*/ 57620 h 255531"/>
                      <a:gd name="connsiteX11" fmla="*/ 150312 w 604318"/>
                      <a:gd name="connsiteY11" fmla="*/ 47599 h 255531"/>
                      <a:gd name="connsiteX12" fmla="*/ 75156 w 604318"/>
                      <a:gd name="connsiteY12" fmla="*/ 20042 h 255531"/>
                      <a:gd name="connsiteX13" fmla="*/ 35073 w 604318"/>
                      <a:gd name="connsiteY13" fmla="*/ 15031 h 255531"/>
                      <a:gd name="connsiteX14" fmla="*/ 0 w 604318"/>
                      <a:gd name="connsiteY14" fmla="*/ 0 h 255531"/>
                      <a:gd name="connsiteX0" fmla="*/ 571187 w 604076"/>
                      <a:gd name="connsiteY0" fmla="*/ 243005 h 243005"/>
                      <a:gd name="connsiteX1" fmla="*/ 603756 w 604076"/>
                      <a:gd name="connsiteY1" fmla="*/ 202921 h 243005"/>
                      <a:gd name="connsiteX2" fmla="*/ 571188 w 604076"/>
                      <a:gd name="connsiteY2" fmla="*/ 172860 h 243005"/>
                      <a:gd name="connsiteX3" fmla="*/ 513567 w 604076"/>
                      <a:gd name="connsiteY3" fmla="*/ 142797 h 243005"/>
                      <a:gd name="connsiteX4" fmla="*/ 443421 w 604076"/>
                      <a:gd name="connsiteY4" fmla="*/ 120250 h 243005"/>
                      <a:gd name="connsiteX5" fmla="*/ 398328 w 604076"/>
                      <a:gd name="connsiteY5" fmla="*/ 112734 h 243005"/>
                      <a:gd name="connsiteX6" fmla="*/ 348224 w 604076"/>
                      <a:gd name="connsiteY6" fmla="*/ 105219 h 243005"/>
                      <a:gd name="connsiteX7" fmla="*/ 295614 w 604076"/>
                      <a:gd name="connsiteY7" fmla="*/ 97703 h 243005"/>
                      <a:gd name="connsiteX8" fmla="*/ 283088 w 604076"/>
                      <a:gd name="connsiteY8" fmla="*/ 87682 h 243005"/>
                      <a:gd name="connsiteX9" fmla="*/ 260541 w 604076"/>
                      <a:gd name="connsiteY9" fmla="*/ 62630 h 243005"/>
                      <a:gd name="connsiteX10" fmla="*/ 220458 w 604076"/>
                      <a:gd name="connsiteY10" fmla="*/ 57620 h 243005"/>
                      <a:gd name="connsiteX11" fmla="*/ 150312 w 604076"/>
                      <a:gd name="connsiteY11" fmla="*/ 47599 h 243005"/>
                      <a:gd name="connsiteX12" fmla="*/ 75156 w 604076"/>
                      <a:gd name="connsiteY12" fmla="*/ 20042 h 243005"/>
                      <a:gd name="connsiteX13" fmla="*/ 35073 w 604076"/>
                      <a:gd name="connsiteY13" fmla="*/ 15031 h 243005"/>
                      <a:gd name="connsiteX14" fmla="*/ 0 w 604076"/>
                      <a:gd name="connsiteY14" fmla="*/ 0 h 243005"/>
                      <a:gd name="connsiteX0" fmla="*/ 571187 w 603756"/>
                      <a:gd name="connsiteY0" fmla="*/ 243005 h 244159"/>
                      <a:gd name="connsiteX1" fmla="*/ 571186 w 603756"/>
                      <a:gd name="connsiteY1" fmla="*/ 240500 h 244159"/>
                      <a:gd name="connsiteX2" fmla="*/ 603756 w 603756"/>
                      <a:gd name="connsiteY2" fmla="*/ 202921 h 244159"/>
                      <a:gd name="connsiteX3" fmla="*/ 571188 w 603756"/>
                      <a:gd name="connsiteY3" fmla="*/ 172860 h 244159"/>
                      <a:gd name="connsiteX4" fmla="*/ 513567 w 603756"/>
                      <a:gd name="connsiteY4" fmla="*/ 142797 h 244159"/>
                      <a:gd name="connsiteX5" fmla="*/ 443421 w 603756"/>
                      <a:gd name="connsiteY5" fmla="*/ 120250 h 244159"/>
                      <a:gd name="connsiteX6" fmla="*/ 398328 w 603756"/>
                      <a:gd name="connsiteY6" fmla="*/ 112734 h 244159"/>
                      <a:gd name="connsiteX7" fmla="*/ 348224 w 603756"/>
                      <a:gd name="connsiteY7" fmla="*/ 105219 h 244159"/>
                      <a:gd name="connsiteX8" fmla="*/ 295614 w 603756"/>
                      <a:gd name="connsiteY8" fmla="*/ 97703 h 244159"/>
                      <a:gd name="connsiteX9" fmla="*/ 283088 w 603756"/>
                      <a:gd name="connsiteY9" fmla="*/ 87682 h 244159"/>
                      <a:gd name="connsiteX10" fmla="*/ 260541 w 603756"/>
                      <a:gd name="connsiteY10" fmla="*/ 62630 h 244159"/>
                      <a:gd name="connsiteX11" fmla="*/ 220458 w 603756"/>
                      <a:gd name="connsiteY11" fmla="*/ 57620 h 244159"/>
                      <a:gd name="connsiteX12" fmla="*/ 150312 w 603756"/>
                      <a:gd name="connsiteY12" fmla="*/ 47599 h 244159"/>
                      <a:gd name="connsiteX13" fmla="*/ 75156 w 603756"/>
                      <a:gd name="connsiteY13" fmla="*/ 20042 h 244159"/>
                      <a:gd name="connsiteX14" fmla="*/ 35073 w 603756"/>
                      <a:gd name="connsiteY14" fmla="*/ 15031 h 244159"/>
                      <a:gd name="connsiteX15" fmla="*/ 0 w 603756"/>
                      <a:gd name="connsiteY15" fmla="*/ 0 h 244159"/>
                      <a:gd name="connsiteX0" fmla="*/ 571187 w 629452"/>
                      <a:gd name="connsiteY0" fmla="*/ 243005 h 306086"/>
                      <a:gd name="connsiteX1" fmla="*/ 628805 w 629452"/>
                      <a:gd name="connsiteY1" fmla="*/ 305635 h 306086"/>
                      <a:gd name="connsiteX2" fmla="*/ 603756 w 629452"/>
                      <a:gd name="connsiteY2" fmla="*/ 202921 h 306086"/>
                      <a:gd name="connsiteX3" fmla="*/ 571188 w 629452"/>
                      <a:gd name="connsiteY3" fmla="*/ 172860 h 306086"/>
                      <a:gd name="connsiteX4" fmla="*/ 513567 w 629452"/>
                      <a:gd name="connsiteY4" fmla="*/ 142797 h 306086"/>
                      <a:gd name="connsiteX5" fmla="*/ 443421 w 629452"/>
                      <a:gd name="connsiteY5" fmla="*/ 120250 h 306086"/>
                      <a:gd name="connsiteX6" fmla="*/ 398328 w 629452"/>
                      <a:gd name="connsiteY6" fmla="*/ 112734 h 306086"/>
                      <a:gd name="connsiteX7" fmla="*/ 348224 w 629452"/>
                      <a:gd name="connsiteY7" fmla="*/ 105219 h 306086"/>
                      <a:gd name="connsiteX8" fmla="*/ 295614 w 629452"/>
                      <a:gd name="connsiteY8" fmla="*/ 97703 h 306086"/>
                      <a:gd name="connsiteX9" fmla="*/ 283088 w 629452"/>
                      <a:gd name="connsiteY9" fmla="*/ 87682 h 306086"/>
                      <a:gd name="connsiteX10" fmla="*/ 260541 w 629452"/>
                      <a:gd name="connsiteY10" fmla="*/ 62630 h 306086"/>
                      <a:gd name="connsiteX11" fmla="*/ 220458 w 629452"/>
                      <a:gd name="connsiteY11" fmla="*/ 57620 h 306086"/>
                      <a:gd name="connsiteX12" fmla="*/ 150312 w 629452"/>
                      <a:gd name="connsiteY12" fmla="*/ 47599 h 306086"/>
                      <a:gd name="connsiteX13" fmla="*/ 75156 w 629452"/>
                      <a:gd name="connsiteY13" fmla="*/ 20042 h 306086"/>
                      <a:gd name="connsiteX14" fmla="*/ 35073 w 629452"/>
                      <a:gd name="connsiteY14" fmla="*/ 15031 h 306086"/>
                      <a:gd name="connsiteX15" fmla="*/ 0 w 629452"/>
                      <a:gd name="connsiteY15" fmla="*/ 0 h 306086"/>
                      <a:gd name="connsiteX0" fmla="*/ 576197 w 629452"/>
                      <a:gd name="connsiteY0" fmla="*/ 388307 h 388307"/>
                      <a:gd name="connsiteX1" fmla="*/ 628805 w 629452"/>
                      <a:gd name="connsiteY1" fmla="*/ 305635 h 388307"/>
                      <a:gd name="connsiteX2" fmla="*/ 603756 w 629452"/>
                      <a:gd name="connsiteY2" fmla="*/ 202921 h 388307"/>
                      <a:gd name="connsiteX3" fmla="*/ 571188 w 629452"/>
                      <a:gd name="connsiteY3" fmla="*/ 172860 h 388307"/>
                      <a:gd name="connsiteX4" fmla="*/ 513567 w 629452"/>
                      <a:gd name="connsiteY4" fmla="*/ 142797 h 388307"/>
                      <a:gd name="connsiteX5" fmla="*/ 443421 w 629452"/>
                      <a:gd name="connsiteY5" fmla="*/ 120250 h 388307"/>
                      <a:gd name="connsiteX6" fmla="*/ 398328 w 629452"/>
                      <a:gd name="connsiteY6" fmla="*/ 112734 h 388307"/>
                      <a:gd name="connsiteX7" fmla="*/ 348224 w 629452"/>
                      <a:gd name="connsiteY7" fmla="*/ 105219 h 388307"/>
                      <a:gd name="connsiteX8" fmla="*/ 295614 w 629452"/>
                      <a:gd name="connsiteY8" fmla="*/ 97703 h 388307"/>
                      <a:gd name="connsiteX9" fmla="*/ 283088 w 629452"/>
                      <a:gd name="connsiteY9" fmla="*/ 87682 h 388307"/>
                      <a:gd name="connsiteX10" fmla="*/ 260541 w 629452"/>
                      <a:gd name="connsiteY10" fmla="*/ 62630 h 388307"/>
                      <a:gd name="connsiteX11" fmla="*/ 220458 w 629452"/>
                      <a:gd name="connsiteY11" fmla="*/ 57620 h 388307"/>
                      <a:gd name="connsiteX12" fmla="*/ 150312 w 629452"/>
                      <a:gd name="connsiteY12" fmla="*/ 47599 h 388307"/>
                      <a:gd name="connsiteX13" fmla="*/ 75156 w 629452"/>
                      <a:gd name="connsiteY13" fmla="*/ 20042 h 388307"/>
                      <a:gd name="connsiteX14" fmla="*/ 35073 w 629452"/>
                      <a:gd name="connsiteY14" fmla="*/ 15031 h 388307"/>
                      <a:gd name="connsiteX15" fmla="*/ 0 w 629452"/>
                      <a:gd name="connsiteY15" fmla="*/ 0 h 388307"/>
                      <a:gd name="connsiteX0" fmla="*/ 576197 w 603756"/>
                      <a:gd name="connsiteY0" fmla="*/ 388307 h 388307"/>
                      <a:gd name="connsiteX1" fmla="*/ 583711 w 603756"/>
                      <a:gd name="connsiteY1" fmla="*/ 237994 h 388307"/>
                      <a:gd name="connsiteX2" fmla="*/ 603756 w 603756"/>
                      <a:gd name="connsiteY2" fmla="*/ 202921 h 388307"/>
                      <a:gd name="connsiteX3" fmla="*/ 571188 w 603756"/>
                      <a:gd name="connsiteY3" fmla="*/ 172860 h 388307"/>
                      <a:gd name="connsiteX4" fmla="*/ 513567 w 603756"/>
                      <a:gd name="connsiteY4" fmla="*/ 142797 h 388307"/>
                      <a:gd name="connsiteX5" fmla="*/ 443421 w 603756"/>
                      <a:gd name="connsiteY5" fmla="*/ 120250 h 388307"/>
                      <a:gd name="connsiteX6" fmla="*/ 398328 w 603756"/>
                      <a:gd name="connsiteY6" fmla="*/ 112734 h 388307"/>
                      <a:gd name="connsiteX7" fmla="*/ 348224 w 603756"/>
                      <a:gd name="connsiteY7" fmla="*/ 105219 h 388307"/>
                      <a:gd name="connsiteX8" fmla="*/ 295614 w 603756"/>
                      <a:gd name="connsiteY8" fmla="*/ 97703 h 388307"/>
                      <a:gd name="connsiteX9" fmla="*/ 283088 w 603756"/>
                      <a:gd name="connsiteY9" fmla="*/ 87682 h 388307"/>
                      <a:gd name="connsiteX10" fmla="*/ 260541 w 603756"/>
                      <a:gd name="connsiteY10" fmla="*/ 62630 h 388307"/>
                      <a:gd name="connsiteX11" fmla="*/ 220458 w 603756"/>
                      <a:gd name="connsiteY11" fmla="*/ 57620 h 388307"/>
                      <a:gd name="connsiteX12" fmla="*/ 150312 w 603756"/>
                      <a:gd name="connsiteY12" fmla="*/ 47599 h 388307"/>
                      <a:gd name="connsiteX13" fmla="*/ 75156 w 603756"/>
                      <a:gd name="connsiteY13" fmla="*/ 20042 h 388307"/>
                      <a:gd name="connsiteX14" fmla="*/ 35073 w 603756"/>
                      <a:gd name="connsiteY14" fmla="*/ 15031 h 388307"/>
                      <a:gd name="connsiteX15" fmla="*/ 0 w 603756"/>
                      <a:gd name="connsiteY15" fmla="*/ 0 h 388307"/>
                      <a:gd name="connsiteX0" fmla="*/ 616281 w 616281"/>
                      <a:gd name="connsiteY0" fmla="*/ 323171 h 323171"/>
                      <a:gd name="connsiteX1" fmla="*/ 583711 w 616281"/>
                      <a:gd name="connsiteY1" fmla="*/ 237994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3731 w 616281"/>
                      <a:gd name="connsiteY1" fmla="*/ 240499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81205 w 616281"/>
                      <a:gd name="connsiteY1" fmla="*/ 230478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1226 w 616281"/>
                      <a:gd name="connsiteY1" fmla="*/ 232983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1226 w 616281"/>
                      <a:gd name="connsiteY1" fmla="*/ 232983 h 323171"/>
                      <a:gd name="connsiteX2" fmla="*/ 593735 w 616281"/>
                      <a:gd name="connsiteY2" fmla="*/ 197910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581208 w 581208"/>
                      <a:gd name="connsiteY0" fmla="*/ 308140 h 308140"/>
                      <a:gd name="connsiteX1" fmla="*/ 556153 w 581208"/>
                      <a:gd name="connsiteY1" fmla="*/ 217952 h 308140"/>
                      <a:gd name="connsiteX2" fmla="*/ 558662 w 581208"/>
                      <a:gd name="connsiteY2" fmla="*/ 182879 h 308140"/>
                      <a:gd name="connsiteX3" fmla="*/ 536115 w 581208"/>
                      <a:gd name="connsiteY3" fmla="*/ 157829 h 308140"/>
                      <a:gd name="connsiteX4" fmla="*/ 478494 w 581208"/>
                      <a:gd name="connsiteY4" fmla="*/ 127766 h 308140"/>
                      <a:gd name="connsiteX5" fmla="*/ 408348 w 581208"/>
                      <a:gd name="connsiteY5" fmla="*/ 105219 h 308140"/>
                      <a:gd name="connsiteX6" fmla="*/ 363255 w 581208"/>
                      <a:gd name="connsiteY6" fmla="*/ 97703 h 308140"/>
                      <a:gd name="connsiteX7" fmla="*/ 313151 w 581208"/>
                      <a:gd name="connsiteY7" fmla="*/ 90188 h 308140"/>
                      <a:gd name="connsiteX8" fmla="*/ 260541 w 581208"/>
                      <a:gd name="connsiteY8" fmla="*/ 82672 h 308140"/>
                      <a:gd name="connsiteX9" fmla="*/ 248015 w 581208"/>
                      <a:gd name="connsiteY9" fmla="*/ 72651 h 308140"/>
                      <a:gd name="connsiteX10" fmla="*/ 225468 w 581208"/>
                      <a:gd name="connsiteY10" fmla="*/ 47599 h 308140"/>
                      <a:gd name="connsiteX11" fmla="*/ 185385 w 581208"/>
                      <a:gd name="connsiteY11" fmla="*/ 42589 h 308140"/>
                      <a:gd name="connsiteX12" fmla="*/ 115239 w 581208"/>
                      <a:gd name="connsiteY12" fmla="*/ 32568 h 308140"/>
                      <a:gd name="connsiteX13" fmla="*/ 40083 w 581208"/>
                      <a:gd name="connsiteY13" fmla="*/ 5011 h 308140"/>
                      <a:gd name="connsiteX14" fmla="*/ 0 w 581208"/>
                      <a:gd name="connsiteY14" fmla="*/ 0 h 308140"/>
                      <a:gd name="connsiteX0" fmla="*/ 541125 w 541125"/>
                      <a:gd name="connsiteY0" fmla="*/ 303129 h 303129"/>
                      <a:gd name="connsiteX1" fmla="*/ 516070 w 541125"/>
                      <a:gd name="connsiteY1" fmla="*/ 212941 h 303129"/>
                      <a:gd name="connsiteX2" fmla="*/ 518579 w 541125"/>
                      <a:gd name="connsiteY2" fmla="*/ 177868 h 303129"/>
                      <a:gd name="connsiteX3" fmla="*/ 496032 w 541125"/>
                      <a:gd name="connsiteY3" fmla="*/ 152818 h 303129"/>
                      <a:gd name="connsiteX4" fmla="*/ 438411 w 541125"/>
                      <a:gd name="connsiteY4" fmla="*/ 122755 h 303129"/>
                      <a:gd name="connsiteX5" fmla="*/ 368265 w 541125"/>
                      <a:gd name="connsiteY5" fmla="*/ 100208 h 303129"/>
                      <a:gd name="connsiteX6" fmla="*/ 323172 w 541125"/>
                      <a:gd name="connsiteY6" fmla="*/ 92692 h 303129"/>
                      <a:gd name="connsiteX7" fmla="*/ 273068 w 541125"/>
                      <a:gd name="connsiteY7" fmla="*/ 85177 h 303129"/>
                      <a:gd name="connsiteX8" fmla="*/ 220458 w 541125"/>
                      <a:gd name="connsiteY8" fmla="*/ 77661 h 303129"/>
                      <a:gd name="connsiteX9" fmla="*/ 207932 w 541125"/>
                      <a:gd name="connsiteY9" fmla="*/ 67640 h 303129"/>
                      <a:gd name="connsiteX10" fmla="*/ 185385 w 541125"/>
                      <a:gd name="connsiteY10" fmla="*/ 42588 h 303129"/>
                      <a:gd name="connsiteX11" fmla="*/ 145302 w 541125"/>
                      <a:gd name="connsiteY11" fmla="*/ 37578 h 303129"/>
                      <a:gd name="connsiteX12" fmla="*/ 75156 w 541125"/>
                      <a:gd name="connsiteY12" fmla="*/ 27557 h 303129"/>
                      <a:gd name="connsiteX13" fmla="*/ 0 w 541125"/>
                      <a:gd name="connsiteY13" fmla="*/ 0 h 303129"/>
                      <a:gd name="connsiteX0" fmla="*/ 465969 w 465969"/>
                      <a:gd name="connsiteY0" fmla="*/ 275572 h 275572"/>
                      <a:gd name="connsiteX1" fmla="*/ 440914 w 465969"/>
                      <a:gd name="connsiteY1" fmla="*/ 185384 h 275572"/>
                      <a:gd name="connsiteX2" fmla="*/ 443423 w 465969"/>
                      <a:gd name="connsiteY2" fmla="*/ 150311 h 275572"/>
                      <a:gd name="connsiteX3" fmla="*/ 420876 w 465969"/>
                      <a:gd name="connsiteY3" fmla="*/ 125261 h 275572"/>
                      <a:gd name="connsiteX4" fmla="*/ 363255 w 465969"/>
                      <a:gd name="connsiteY4" fmla="*/ 95198 h 275572"/>
                      <a:gd name="connsiteX5" fmla="*/ 293109 w 465969"/>
                      <a:gd name="connsiteY5" fmla="*/ 72651 h 275572"/>
                      <a:gd name="connsiteX6" fmla="*/ 248016 w 465969"/>
                      <a:gd name="connsiteY6" fmla="*/ 65135 h 275572"/>
                      <a:gd name="connsiteX7" fmla="*/ 197912 w 465969"/>
                      <a:gd name="connsiteY7" fmla="*/ 57620 h 275572"/>
                      <a:gd name="connsiteX8" fmla="*/ 145302 w 465969"/>
                      <a:gd name="connsiteY8" fmla="*/ 50104 h 275572"/>
                      <a:gd name="connsiteX9" fmla="*/ 132776 w 465969"/>
                      <a:gd name="connsiteY9" fmla="*/ 40083 h 275572"/>
                      <a:gd name="connsiteX10" fmla="*/ 110229 w 465969"/>
                      <a:gd name="connsiteY10" fmla="*/ 15031 h 275572"/>
                      <a:gd name="connsiteX11" fmla="*/ 70146 w 465969"/>
                      <a:gd name="connsiteY11" fmla="*/ 10021 h 275572"/>
                      <a:gd name="connsiteX12" fmla="*/ 0 w 465969"/>
                      <a:gd name="connsiteY12" fmla="*/ 0 h 275572"/>
                      <a:gd name="connsiteX0" fmla="*/ 395823 w 395823"/>
                      <a:gd name="connsiteY0" fmla="*/ 265551 h 265551"/>
                      <a:gd name="connsiteX1" fmla="*/ 370768 w 395823"/>
                      <a:gd name="connsiteY1" fmla="*/ 175363 h 265551"/>
                      <a:gd name="connsiteX2" fmla="*/ 373277 w 395823"/>
                      <a:gd name="connsiteY2" fmla="*/ 140290 h 265551"/>
                      <a:gd name="connsiteX3" fmla="*/ 350730 w 395823"/>
                      <a:gd name="connsiteY3" fmla="*/ 115240 h 265551"/>
                      <a:gd name="connsiteX4" fmla="*/ 293109 w 395823"/>
                      <a:gd name="connsiteY4" fmla="*/ 85177 h 265551"/>
                      <a:gd name="connsiteX5" fmla="*/ 222963 w 395823"/>
                      <a:gd name="connsiteY5" fmla="*/ 62630 h 265551"/>
                      <a:gd name="connsiteX6" fmla="*/ 177870 w 395823"/>
                      <a:gd name="connsiteY6" fmla="*/ 55114 h 265551"/>
                      <a:gd name="connsiteX7" fmla="*/ 127766 w 395823"/>
                      <a:gd name="connsiteY7" fmla="*/ 47599 h 265551"/>
                      <a:gd name="connsiteX8" fmla="*/ 75156 w 395823"/>
                      <a:gd name="connsiteY8" fmla="*/ 40083 h 265551"/>
                      <a:gd name="connsiteX9" fmla="*/ 62630 w 395823"/>
                      <a:gd name="connsiteY9" fmla="*/ 30062 h 265551"/>
                      <a:gd name="connsiteX10" fmla="*/ 40083 w 395823"/>
                      <a:gd name="connsiteY10" fmla="*/ 5010 h 265551"/>
                      <a:gd name="connsiteX11" fmla="*/ 0 w 395823"/>
                      <a:gd name="connsiteY11" fmla="*/ 0 h 265551"/>
                      <a:gd name="connsiteX0" fmla="*/ 355740 w 355740"/>
                      <a:gd name="connsiteY0" fmla="*/ 260541 h 260541"/>
                      <a:gd name="connsiteX1" fmla="*/ 330685 w 355740"/>
                      <a:gd name="connsiteY1" fmla="*/ 170353 h 260541"/>
                      <a:gd name="connsiteX2" fmla="*/ 333194 w 355740"/>
                      <a:gd name="connsiteY2" fmla="*/ 135280 h 260541"/>
                      <a:gd name="connsiteX3" fmla="*/ 310647 w 355740"/>
                      <a:gd name="connsiteY3" fmla="*/ 110230 h 260541"/>
                      <a:gd name="connsiteX4" fmla="*/ 253026 w 355740"/>
                      <a:gd name="connsiteY4" fmla="*/ 80167 h 260541"/>
                      <a:gd name="connsiteX5" fmla="*/ 182880 w 355740"/>
                      <a:gd name="connsiteY5" fmla="*/ 57620 h 260541"/>
                      <a:gd name="connsiteX6" fmla="*/ 137787 w 355740"/>
                      <a:gd name="connsiteY6" fmla="*/ 50104 h 260541"/>
                      <a:gd name="connsiteX7" fmla="*/ 87683 w 355740"/>
                      <a:gd name="connsiteY7" fmla="*/ 42589 h 260541"/>
                      <a:gd name="connsiteX8" fmla="*/ 35073 w 355740"/>
                      <a:gd name="connsiteY8" fmla="*/ 35073 h 260541"/>
                      <a:gd name="connsiteX9" fmla="*/ 22547 w 355740"/>
                      <a:gd name="connsiteY9" fmla="*/ 25052 h 260541"/>
                      <a:gd name="connsiteX10" fmla="*/ 0 w 355740"/>
                      <a:gd name="connsiteY10" fmla="*/ 0 h 26054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55740" h="260541">
                        <a:moveTo>
                          <a:pt x="355740" y="260541"/>
                        </a:moveTo>
                        <a:cubicBezTo>
                          <a:pt x="355740" y="260124"/>
                          <a:pt x="325257" y="177034"/>
                          <a:pt x="330685" y="170353"/>
                        </a:cubicBezTo>
                        <a:cubicBezTo>
                          <a:pt x="336113" y="163672"/>
                          <a:pt x="333194" y="146553"/>
                          <a:pt x="333194" y="135280"/>
                        </a:cubicBezTo>
                        <a:cubicBezTo>
                          <a:pt x="333194" y="124007"/>
                          <a:pt x="323173" y="121921"/>
                          <a:pt x="310647" y="110230"/>
                        </a:cubicBezTo>
                        <a:cubicBezTo>
                          <a:pt x="298121" y="98539"/>
                          <a:pt x="274320" y="88935"/>
                          <a:pt x="253026" y="80167"/>
                        </a:cubicBezTo>
                        <a:cubicBezTo>
                          <a:pt x="231732" y="71399"/>
                          <a:pt x="202086" y="62630"/>
                          <a:pt x="182880" y="57620"/>
                        </a:cubicBezTo>
                        <a:cubicBezTo>
                          <a:pt x="163674" y="52610"/>
                          <a:pt x="137787" y="50104"/>
                          <a:pt x="137787" y="50104"/>
                        </a:cubicBezTo>
                        <a:lnTo>
                          <a:pt x="87683" y="42589"/>
                        </a:lnTo>
                        <a:cubicBezTo>
                          <a:pt x="70564" y="40084"/>
                          <a:pt x="45929" y="37996"/>
                          <a:pt x="35073" y="35073"/>
                        </a:cubicBezTo>
                        <a:cubicBezTo>
                          <a:pt x="24217" y="32150"/>
                          <a:pt x="28392" y="30897"/>
                          <a:pt x="22547" y="25052"/>
                        </a:cubicBezTo>
                        <a:cubicBezTo>
                          <a:pt x="16702" y="19207"/>
                          <a:pt x="10438" y="5010"/>
                          <a:pt x="0" y="0"/>
                        </a:cubicBezTo>
                      </a:path>
                    </a:pathLst>
                  </a:custGeom>
                  <a:ln w="762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4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2069599" y="2656357"/>
                    <a:ext cx="424193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қтобе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48" name="Полилиния 247"/>
                  <p:cNvSpPr/>
                  <p:nvPr/>
                </p:nvSpPr>
                <p:spPr>
                  <a:xfrm>
                    <a:off x="5483697" y="2544495"/>
                    <a:ext cx="167489" cy="68571"/>
                  </a:xfrm>
                  <a:custGeom>
                    <a:avLst/>
                    <a:gdLst>
                      <a:gd name="connsiteX0" fmla="*/ 0 w 167489"/>
                      <a:gd name="connsiteY0" fmla="*/ 0 h 68571"/>
                      <a:gd name="connsiteX1" fmla="*/ 27160 w 167489"/>
                      <a:gd name="connsiteY1" fmla="*/ 58848 h 68571"/>
                      <a:gd name="connsiteX2" fmla="*/ 63374 w 167489"/>
                      <a:gd name="connsiteY2" fmla="*/ 67901 h 68571"/>
                      <a:gd name="connsiteX3" fmla="*/ 104114 w 167489"/>
                      <a:gd name="connsiteY3" fmla="*/ 67901 h 68571"/>
                      <a:gd name="connsiteX4" fmla="*/ 167489 w 167489"/>
                      <a:gd name="connsiteY4" fmla="*/ 67901 h 685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7489" h="68571">
                        <a:moveTo>
                          <a:pt x="0" y="0"/>
                        </a:moveTo>
                        <a:cubicBezTo>
                          <a:pt x="8299" y="23765"/>
                          <a:pt x="16598" y="47531"/>
                          <a:pt x="27160" y="58848"/>
                        </a:cubicBezTo>
                        <a:cubicBezTo>
                          <a:pt x="37722" y="70165"/>
                          <a:pt x="50548" y="66392"/>
                          <a:pt x="63374" y="67901"/>
                        </a:cubicBezTo>
                        <a:cubicBezTo>
                          <a:pt x="76200" y="69410"/>
                          <a:pt x="104114" y="67901"/>
                          <a:pt x="104114" y="67901"/>
                        </a:cubicBezTo>
                        <a:lnTo>
                          <a:pt x="167489" y="67901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49" name="Полилиния 248"/>
                  <p:cNvSpPr/>
                  <p:nvPr/>
                </p:nvSpPr>
                <p:spPr>
                  <a:xfrm>
                    <a:off x="2502561" y="2717800"/>
                    <a:ext cx="53334" cy="263525"/>
                  </a:xfrm>
                  <a:custGeom>
                    <a:avLst/>
                    <a:gdLst>
                      <a:gd name="connsiteX0" fmla="*/ 34264 w 53334"/>
                      <a:gd name="connsiteY0" fmla="*/ 0 h 263525"/>
                      <a:gd name="connsiteX1" fmla="*/ 53314 w 53334"/>
                      <a:gd name="connsiteY1" fmla="*/ 69850 h 263525"/>
                      <a:gd name="connsiteX2" fmla="*/ 31089 w 53334"/>
                      <a:gd name="connsiteY2" fmla="*/ 117475 h 263525"/>
                      <a:gd name="connsiteX3" fmla="*/ 2514 w 53334"/>
                      <a:gd name="connsiteY3" fmla="*/ 133350 h 263525"/>
                      <a:gd name="connsiteX4" fmla="*/ 2514 w 53334"/>
                      <a:gd name="connsiteY4" fmla="*/ 190500 h 263525"/>
                      <a:gd name="connsiteX5" fmla="*/ 12039 w 53334"/>
                      <a:gd name="connsiteY5" fmla="*/ 263525 h 263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3334" h="263525">
                        <a:moveTo>
                          <a:pt x="34264" y="0"/>
                        </a:moveTo>
                        <a:cubicBezTo>
                          <a:pt x="44053" y="25135"/>
                          <a:pt x="53843" y="50271"/>
                          <a:pt x="53314" y="69850"/>
                        </a:cubicBezTo>
                        <a:cubicBezTo>
                          <a:pt x="52785" y="89429"/>
                          <a:pt x="39556" y="106892"/>
                          <a:pt x="31089" y="117475"/>
                        </a:cubicBezTo>
                        <a:cubicBezTo>
                          <a:pt x="22622" y="128058"/>
                          <a:pt x="7276" y="121179"/>
                          <a:pt x="2514" y="133350"/>
                        </a:cubicBezTo>
                        <a:cubicBezTo>
                          <a:pt x="-2248" y="145521"/>
                          <a:pt x="927" y="168804"/>
                          <a:pt x="2514" y="190500"/>
                        </a:cubicBezTo>
                        <a:cubicBezTo>
                          <a:pt x="4101" y="212196"/>
                          <a:pt x="8864" y="249767"/>
                          <a:pt x="12039" y="263525"/>
                        </a:cubicBezTo>
                      </a:path>
                    </a:pathLst>
                  </a:custGeom>
                  <a:noFill/>
                  <a:ln w="76200">
                    <a:solidFill>
                      <a:srgbClr val="0070C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srgbClr val="7030A0"/>
                      </a:solidFill>
                    </a:endParaRPr>
                  </a:p>
                </p:txBody>
              </p:sp>
              <p:sp>
                <p:nvSpPr>
                  <p:cNvPr id="250" name="Полилиния 249"/>
                  <p:cNvSpPr/>
                  <p:nvPr/>
                </p:nvSpPr>
                <p:spPr>
                  <a:xfrm>
                    <a:off x="2498038" y="2717800"/>
                    <a:ext cx="53334" cy="263525"/>
                  </a:xfrm>
                  <a:custGeom>
                    <a:avLst/>
                    <a:gdLst>
                      <a:gd name="connsiteX0" fmla="*/ 34264 w 53334"/>
                      <a:gd name="connsiteY0" fmla="*/ 0 h 263525"/>
                      <a:gd name="connsiteX1" fmla="*/ 53314 w 53334"/>
                      <a:gd name="connsiteY1" fmla="*/ 69850 h 263525"/>
                      <a:gd name="connsiteX2" fmla="*/ 31089 w 53334"/>
                      <a:gd name="connsiteY2" fmla="*/ 117475 h 263525"/>
                      <a:gd name="connsiteX3" fmla="*/ 2514 w 53334"/>
                      <a:gd name="connsiteY3" fmla="*/ 133350 h 263525"/>
                      <a:gd name="connsiteX4" fmla="*/ 2514 w 53334"/>
                      <a:gd name="connsiteY4" fmla="*/ 190500 h 263525"/>
                      <a:gd name="connsiteX5" fmla="*/ 12039 w 53334"/>
                      <a:gd name="connsiteY5" fmla="*/ 263525 h 263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3334" h="263525">
                        <a:moveTo>
                          <a:pt x="34264" y="0"/>
                        </a:moveTo>
                        <a:cubicBezTo>
                          <a:pt x="44053" y="25135"/>
                          <a:pt x="53843" y="50271"/>
                          <a:pt x="53314" y="69850"/>
                        </a:cubicBezTo>
                        <a:cubicBezTo>
                          <a:pt x="52785" y="89429"/>
                          <a:pt x="39556" y="106892"/>
                          <a:pt x="31089" y="117475"/>
                        </a:cubicBezTo>
                        <a:cubicBezTo>
                          <a:pt x="22622" y="128058"/>
                          <a:pt x="7276" y="121179"/>
                          <a:pt x="2514" y="133350"/>
                        </a:cubicBezTo>
                        <a:cubicBezTo>
                          <a:pt x="-2248" y="145521"/>
                          <a:pt x="927" y="168804"/>
                          <a:pt x="2514" y="190500"/>
                        </a:cubicBezTo>
                        <a:cubicBezTo>
                          <a:pt x="4101" y="212196"/>
                          <a:pt x="8864" y="249767"/>
                          <a:pt x="12039" y="263525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1" name="Полилиния 250"/>
                  <p:cNvSpPr/>
                  <p:nvPr/>
                </p:nvSpPr>
                <p:spPr>
                  <a:xfrm>
                    <a:off x="2524705" y="2724150"/>
                    <a:ext cx="53334" cy="263525"/>
                  </a:xfrm>
                  <a:custGeom>
                    <a:avLst/>
                    <a:gdLst>
                      <a:gd name="connsiteX0" fmla="*/ 34264 w 53334"/>
                      <a:gd name="connsiteY0" fmla="*/ 0 h 263525"/>
                      <a:gd name="connsiteX1" fmla="*/ 53314 w 53334"/>
                      <a:gd name="connsiteY1" fmla="*/ 69850 h 263525"/>
                      <a:gd name="connsiteX2" fmla="*/ 31089 w 53334"/>
                      <a:gd name="connsiteY2" fmla="*/ 117475 h 263525"/>
                      <a:gd name="connsiteX3" fmla="*/ 2514 w 53334"/>
                      <a:gd name="connsiteY3" fmla="*/ 133350 h 263525"/>
                      <a:gd name="connsiteX4" fmla="*/ 2514 w 53334"/>
                      <a:gd name="connsiteY4" fmla="*/ 190500 h 263525"/>
                      <a:gd name="connsiteX5" fmla="*/ 12039 w 53334"/>
                      <a:gd name="connsiteY5" fmla="*/ 263525 h 263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3334" h="263525">
                        <a:moveTo>
                          <a:pt x="34264" y="0"/>
                        </a:moveTo>
                        <a:cubicBezTo>
                          <a:pt x="44053" y="25135"/>
                          <a:pt x="53843" y="50271"/>
                          <a:pt x="53314" y="69850"/>
                        </a:cubicBezTo>
                        <a:cubicBezTo>
                          <a:pt x="52785" y="89429"/>
                          <a:pt x="39556" y="106892"/>
                          <a:pt x="31089" y="117475"/>
                        </a:cubicBezTo>
                        <a:cubicBezTo>
                          <a:pt x="22622" y="128058"/>
                          <a:pt x="7276" y="121179"/>
                          <a:pt x="2514" y="133350"/>
                        </a:cubicBezTo>
                        <a:cubicBezTo>
                          <a:pt x="-2248" y="145521"/>
                          <a:pt x="927" y="168804"/>
                          <a:pt x="2514" y="190500"/>
                        </a:cubicBezTo>
                        <a:cubicBezTo>
                          <a:pt x="4101" y="212196"/>
                          <a:pt x="8864" y="249767"/>
                          <a:pt x="12039" y="263525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2" name="Полилиния 251"/>
                  <p:cNvSpPr/>
                  <p:nvPr/>
                </p:nvSpPr>
                <p:spPr>
                  <a:xfrm>
                    <a:off x="2478279" y="2706584"/>
                    <a:ext cx="53334" cy="263525"/>
                  </a:xfrm>
                  <a:custGeom>
                    <a:avLst/>
                    <a:gdLst>
                      <a:gd name="connsiteX0" fmla="*/ 34264 w 53334"/>
                      <a:gd name="connsiteY0" fmla="*/ 0 h 263525"/>
                      <a:gd name="connsiteX1" fmla="*/ 53314 w 53334"/>
                      <a:gd name="connsiteY1" fmla="*/ 69850 h 263525"/>
                      <a:gd name="connsiteX2" fmla="*/ 31089 w 53334"/>
                      <a:gd name="connsiteY2" fmla="*/ 117475 h 263525"/>
                      <a:gd name="connsiteX3" fmla="*/ 2514 w 53334"/>
                      <a:gd name="connsiteY3" fmla="*/ 133350 h 263525"/>
                      <a:gd name="connsiteX4" fmla="*/ 2514 w 53334"/>
                      <a:gd name="connsiteY4" fmla="*/ 190500 h 263525"/>
                      <a:gd name="connsiteX5" fmla="*/ 12039 w 53334"/>
                      <a:gd name="connsiteY5" fmla="*/ 263525 h 2635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3334" h="263525">
                        <a:moveTo>
                          <a:pt x="34264" y="0"/>
                        </a:moveTo>
                        <a:cubicBezTo>
                          <a:pt x="44053" y="25135"/>
                          <a:pt x="53843" y="50271"/>
                          <a:pt x="53314" y="69850"/>
                        </a:cubicBezTo>
                        <a:cubicBezTo>
                          <a:pt x="52785" y="89429"/>
                          <a:pt x="39556" y="106892"/>
                          <a:pt x="31089" y="117475"/>
                        </a:cubicBezTo>
                        <a:cubicBezTo>
                          <a:pt x="22622" y="128058"/>
                          <a:pt x="7276" y="121179"/>
                          <a:pt x="2514" y="133350"/>
                        </a:cubicBezTo>
                        <a:cubicBezTo>
                          <a:pt x="-2248" y="145521"/>
                          <a:pt x="927" y="168804"/>
                          <a:pt x="2514" y="190500"/>
                        </a:cubicBezTo>
                        <a:cubicBezTo>
                          <a:pt x="4101" y="212196"/>
                          <a:pt x="8864" y="249767"/>
                          <a:pt x="12039" y="263525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3" name="Блок-схема: узел 252"/>
                  <p:cNvSpPr/>
                  <p:nvPr/>
                </p:nvSpPr>
                <p:spPr>
                  <a:xfrm>
                    <a:off x="2474777" y="2944297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4" name="Полилиния 253"/>
                  <p:cNvSpPr/>
                  <p:nvPr/>
                </p:nvSpPr>
                <p:spPr>
                  <a:xfrm>
                    <a:off x="5604095" y="2028385"/>
                    <a:ext cx="1013988" cy="457200"/>
                  </a:xfrm>
                  <a:custGeom>
                    <a:avLst/>
                    <a:gdLst>
                      <a:gd name="connsiteX0" fmla="*/ 0 w 1013988"/>
                      <a:gd name="connsiteY0" fmla="*/ 457200 h 457200"/>
                      <a:gd name="connsiteX1" fmla="*/ 49794 w 1013988"/>
                      <a:gd name="connsiteY1" fmla="*/ 398352 h 457200"/>
                      <a:gd name="connsiteX2" fmla="*/ 90535 w 1013988"/>
                      <a:gd name="connsiteY2" fmla="*/ 357612 h 457200"/>
                      <a:gd name="connsiteX3" fmla="*/ 149382 w 1013988"/>
                      <a:gd name="connsiteY3" fmla="*/ 298764 h 457200"/>
                      <a:gd name="connsiteX4" fmla="*/ 248970 w 1013988"/>
                      <a:gd name="connsiteY4" fmla="*/ 289711 h 457200"/>
                      <a:gd name="connsiteX5" fmla="*/ 339505 w 1013988"/>
                      <a:gd name="connsiteY5" fmla="*/ 321398 h 457200"/>
                      <a:gd name="connsiteX6" fmla="*/ 443620 w 1013988"/>
                      <a:gd name="connsiteY6" fmla="*/ 289711 h 457200"/>
                      <a:gd name="connsiteX7" fmla="*/ 538681 w 1013988"/>
                      <a:gd name="connsiteY7" fmla="*/ 244443 h 457200"/>
                      <a:gd name="connsiteX8" fmla="*/ 597529 w 1013988"/>
                      <a:gd name="connsiteY8" fmla="*/ 244443 h 457200"/>
                      <a:gd name="connsiteX9" fmla="*/ 665430 w 1013988"/>
                      <a:gd name="connsiteY9" fmla="*/ 244443 h 457200"/>
                      <a:gd name="connsiteX10" fmla="*/ 746911 w 1013988"/>
                      <a:gd name="connsiteY10" fmla="*/ 221810 h 457200"/>
                      <a:gd name="connsiteX11" fmla="*/ 810285 w 1013988"/>
                      <a:gd name="connsiteY11" fmla="*/ 176542 h 457200"/>
                      <a:gd name="connsiteX12" fmla="*/ 878186 w 1013988"/>
                      <a:gd name="connsiteY12" fmla="*/ 140328 h 457200"/>
                      <a:gd name="connsiteX13" fmla="*/ 946087 w 1013988"/>
                      <a:gd name="connsiteY13" fmla="*/ 67901 h 457200"/>
                      <a:gd name="connsiteX14" fmla="*/ 982301 w 1013988"/>
                      <a:gd name="connsiteY14" fmla="*/ 40740 h 457200"/>
                      <a:gd name="connsiteX15" fmla="*/ 1013988 w 1013988"/>
                      <a:gd name="connsiteY15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13988" h="457200">
                        <a:moveTo>
                          <a:pt x="0" y="457200"/>
                        </a:moveTo>
                        <a:cubicBezTo>
                          <a:pt x="17352" y="436075"/>
                          <a:pt x="34705" y="414950"/>
                          <a:pt x="49794" y="398352"/>
                        </a:cubicBezTo>
                        <a:cubicBezTo>
                          <a:pt x="64883" y="381754"/>
                          <a:pt x="90535" y="357612"/>
                          <a:pt x="90535" y="357612"/>
                        </a:cubicBezTo>
                        <a:cubicBezTo>
                          <a:pt x="107133" y="341014"/>
                          <a:pt x="122976" y="310081"/>
                          <a:pt x="149382" y="298764"/>
                        </a:cubicBezTo>
                        <a:cubicBezTo>
                          <a:pt x="175788" y="287447"/>
                          <a:pt x="217283" y="285939"/>
                          <a:pt x="248970" y="289711"/>
                        </a:cubicBezTo>
                        <a:cubicBezTo>
                          <a:pt x="280657" y="293483"/>
                          <a:pt x="307063" y="321398"/>
                          <a:pt x="339505" y="321398"/>
                        </a:cubicBezTo>
                        <a:cubicBezTo>
                          <a:pt x="371947" y="321398"/>
                          <a:pt x="410424" y="302537"/>
                          <a:pt x="443620" y="289711"/>
                        </a:cubicBezTo>
                        <a:cubicBezTo>
                          <a:pt x="476816" y="276885"/>
                          <a:pt x="513030" y="251988"/>
                          <a:pt x="538681" y="244443"/>
                        </a:cubicBezTo>
                        <a:cubicBezTo>
                          <a:pt x="564332" y="236898"/>
                          <a:pt x="597529" y="244443"/>
                          <a:pt x="597529" y="244443"/>
                        </a:cubicBezTo>
                        <a:cubicBezTo>
                          <a:pt x="618654" y="244443"/>
                          <a:pt x="640533" y="248215"/>
                          <a:pt x="665430" y="244443"/>
                        </a:cubicBezTo>
                        <a:cubicBezTo>
                          <a:pt x="690327" y="240671"/>
                          <a:pt x="722769" y="233127"/>
                          <a:pt x="746911" y="221810"/>
                        </a:cubicBezTo>
                        <a:cubicBezTo>
                          <a:pt x="771053" y="210493"/>
                          <a:pt x="788406" y="190122"/>
                          <a:pt x="810285" y="176542"/>
                        </a:cubicBezTo>
                        <a:cubicBezTo>
                          <a:pt x="832164" y="162962"/>
                          <a:pt x="855552" y="158435"/>
                          <a:pt x="878186" y="140328"/>
                        </a:cubicBezTo>
                        <a:cubicBezTo>
                          <a:pt x="900820" y="122221"/>
                          <a:pt x="928735" y="84499"/>
                          <a:pt x="946087" y="67901"/>
                        </a:cubicBezTo>
                        <a:cubicBezTo>
                          <a:pt x="963439" y="51303"/>
                          <a:pt x="970984" y="52057"/>
                          <a:pt x="982301" y="40740"/>
                        </a:cubicBezTo>
                        <a:cubicBezTo>
                          <a:pt x="993618" y="29423"/>
                          <a:pt x="1003803" y="14711"/>
                          <a:pt x="1013988" y="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5" name="Полилиния 254"/>
                  <p:cNvSpPr/>
                  <p:nvPr/>
                </p:nvSpPr>
                <p:spPr>
                  <a:xfrm>
                    <a:off x="5623082" y="2066965"/>
                    <a:ext cx="1013988" cy="457200"/>
                  </a:xfrm>
                  <a:custGeom>
                    <a:avLst/>
                    <a:gdLst>
                      <a:gd name="connsiteX0" fmla="*/ 0 w 1013988"/>
                      <a:gd name="connsiteY0" fmla="*/ 457200 h 457200"/>
                      <a:gd name="connsiteX1" fmla="*/ 49794 w 1013988"/>
                      <a:gd name="connsiteY1" fmla="*/ 398352 h 457200"/>
                      <a:gd name="connsiteX2" fmla="*/ 90535 w 1013988"/>
                      <a:gd name="connsiteY2" fmla="*/ 357612 h 457200"/>
                      <a:gd name="connsiteX3" fmla="*/ 149382 w 1013988"/>
                      <a:gd name="connsiteY3" fmla="*/ 298764 h 457200"/>
                      <a:gd name="connsiteX4" fmla="*/ 248970 w 1013988"/>
                      <a:gd name="connsiteY4" fmla="*/ 289711 h 457200"/>
                      <a:gd name="connsiteX5" fmla="*/ 339505 w 1013988"/>
                      <a:gd name="connsiteY5" fmla="*/ 321398 h 457200"/>
                      <a:gd name="connsiteX6" fmla="*/ 443620 w 1013988"/>
                      <a:gd name="connsiteY6" fmla="*/ 289711 h 457200"/>
                      <a:gd name="connsiteX7" fmla="*/ 538681 w 1013988"/>
                      <a:gd name="connsiteY7" fmla="*/ 244443 h 457200"/>
                      <a:gd name="connsiteX8" fmla="*/ 597529 w 1013988"/>
                      <a:gd name="connsiteY8" fmla="*/ 244443 h 457200"/>
                      <a:gd name="connsiteX9" fmla="*/ 665430 w 1013988"/>
                      <a:gd name="connsiteY9" fmla="*/ 244443 h 457200"/>
                      <a:gd name="connsiteX10" fmla="*/ 746911 w 1013988"/>
                      <a:gd name="connsiteY10" fmla="*/ 221810 h 457200"/>
                      <a:gd name="connsiteX11" fmla="*/ 810285 w 1013988"/>
                      <a:gd name="connsiteY11" fmla="*/ 176542 h 457200"/>
                      <a:gd name="connsiteX12" fmla="*/ 878186 w 1013988"/>
                      <a:gd name="connsiteY12" fmla="*/ 140328 h 457200"/>
                      <a:gd name="connsiteX13" fmla="*/ 946087 w 1013988"/>
                      <a:gd name="connsiteY13" fmla="*/ 67901 h 457200"/>
                      <a:gd name="connsiteX14" fmla="*/ 982301 w 1013988"/>
                      <a:gd name="connsiteY14" fmla="*/ 40740 h 457200"/>
                      <a:gd name="connsiteX15" fmla="*/ 1013988 w 1013988"/>
                      <a:gd name="connsiteY15" fmla="*/ 0 h 457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013988" h="457200">
                        <a:moveTo>
                          <a:pt x="0" y="457200"/>
                        </a:moveTo>
                        <a:cubicBezTo>
                          <a:pt x="17352" y="436075"/>
                          <a:pt x="34705" y="414950"/>
                          <a:pt x="49794" y="398352"/>
                        </a:cubicBezTo>
                        <a:cubicBezTo>
                          <a:pt x="64883" y="381754"/>
                          <a:pt x="90535" y="357612"/>
                          <a:pt x="90535" y="357612"/>
                        </a:cubicBezTo>
                        <a:cubicBezTo>
                          <a:pt x="107133" y="341014"/>
                          <a:pt x="122976" y="310081"/>
                          <a:pt x="149382" y="298764"/>
                        </a:cubicBezTo>
                        <a:cubicBezTo>
                          <a:pt x="175788" y="287447"/>
                          <a:pt x="217283" y="285939"/>
                          <a:pt x="248970" y="289711"/>
                        </a:cubicBezTo>
                        <a:cubicBezTo>
                          <a:pt x="280657" y="293483"/>
                          <a:pt x="307063" y="321398"/>
                          <a:pt x="339505" y="321398"/>
                        </a:cubicBezTo>
                        <a:cubicBezTo>
                          <a:pt x="371947" y="321398"/>
                          <a:pt x="410424" y="302537"/>
                          <a:pt x="443620" y="289711"/>
                        </a:cubicBezTo>
                        <a:cubicBezTo>
                          <a:pt x="476816" y="276885"/>
                          <a:pt x="513030" y="251988"/>
                          <a:pt x="538681" y="244443"/>
                        </a:cubicBezTo>
                        <a:cubicBezTo>
                          <a:pt x="564332" y="236898"/>
                          <a:pt x="597529" y="244443"/>
                          <a:pt x="597529" y="244443"/>
                        </a:cubicBezTo>
                        <a:cubicBezTo>
                          <a:pt x="618654" y="244443"/>
                          <a:pt x="640533" y="248215"/>
                          <a:pt x="665430" y="244443"/>
                        </a:cubicBezTo>
                        <a:cubicBezTo>
                          <a:pt x="690327" y="240671"/>
                          <a:pt x="722769" y="233127"/>
                          <a:pt x="746911" y="221810"/>
                        </a:cubicBezTo>
                        <a:cubicBezTo>
                          <a:pt x="771053" y="210493"/>
                          <a:pt x="788406" y="190122"/>
                          <a:pt x="810285" y="176542"/>
                        </a:cubicBezTo>
                        <a:cubicBezTo>
                          <a:pt x="832164" y="162962"/>
                          <a:pt x="855552" y="158435"/>
                          <a:pt x="878186" y="140328"/>
                        </a:cubicBezTo>
                        <a:cubicBezTo>
                          <a:pt x="900820" y="122221"/>
                          <a:pt x="928735" y="84499"/>
                          <a:pt x="946087" y="67901"/>
                        </a:cubicBezTo>
                        <a:cubicBezTo>
                          <a:pt x="963439" y="51303"/>
                          <a:pt x="970984" y="52057"/>
                          <a:pt x="982301" y="40740"/>
                        </a:cubicBezTo>
                        <a:cubicBezTo>
                          <a:pt x="993618" y="29423"/>
                          <a:pt x="1003803" y="14711"/>
                          <a:pt x="1013988" y="0"/>
                        </a:cubicBezTo>
                      </a:path>
                    </a:pathLst>
                  </a:custGeom>
                  <a:noFill/>
                  <a:ln w="6350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6" name="Блок-схема: узел 255"/>
                  <p:cNvSpPr/>
                  <p:nvPr/>
                </p:nvSpPr>
                <p:spPr>
                  <a:xfrm>
                    <a:off x="1138403" y="3465999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8" name="Полилиния 257"/>
                  <p:cNvSpPr/>
                  <p:nvPr/>
                </p:nvSpPr>
                <p:spPr>
                  <a:xfrm>
                    <a:off x="3963703" y="1858979"/>
                    <a:ext cx="956297" cy="503619"/>
                  </a:xfrm>
                  <a:custGeom>
                    <a:avLst/>
                    <a:gdLst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44703 w 1982739"/>
                      <a:gd name="connsiteY68" fmla="*/ 104679 h 979055"/>
                      <a:gd name="connsiteX69" fmla="*/ 104679 w 1982739"/>
                      <a:gd name="connsiteY69" fmla="*/ 104679 h 979055"/>
                      <a:gd name="connsiteX70" fmla="*/ 83127 w 1982739"/>
                      <a:gd name="connsiteY70" fmla="*/ 92364 h 979055"/>
                      <a:gd name="connsiteX71" fmla="*/ 58497 w 1982739"/>
                      <a:gd name="connsiteY71" fmla="*/ 61576 h 979055"/>
                      <a:gd name="connsiteX72" fmla="*/ 40024 w 1982739"/>
                      <a:gd name="connsiteY72" fmla="*/ 40024 h 979055"/>
                      <a:gd name="connsiteX73" fmla="*/ 9236 w 1982739"/>
                      <a:gd name="connsiteY73" fmla="*/ 9237 h 979055"/>
                      <a:gd name="connsiteX74" fmla="*/ 0 w 1982739"/>
                      <a:gd name="connsiteY74" fmla="*/ 0 h 979055"/>
                      <a:gd name="connsiteX0" fmla="*/ 1973503 w 1973503"/>
                      <a:gd name="connsiteY0" fmla="*/ 969818 h 969818"/>
                      <a:gd name="connsiteX1" fmla="*/ 1915006 w 1973503"/>
                      <a:gd name="connsiteY1" fmla="*/ 954424 h 969818"/>
                      <a:gd name="connsiteX2" fmla="*/ 1881139 w 1973503"/>
                      <a:gd name="connsiteY2" fmla="*/ 939030 h 969818"/>
                      <a:gd name="connsiteX3" fmla="*/ 1865746 w 1973503"/>
                      <a:gd name="connsiteY3" fmla="*/ 926715 h 969818"/>
                      <a:gd name="connsiteX4" fmla="*/ 1819564 w 1973503"/>
                      <a:gd name="connsiteY4" fmla="*/ 926715 h 969818"/>
                      <a:gd name="connsiteX5" fmla="*/ 1804170 w 1973503"/>
                      <a:gd name="connsiteY5" fmla="*/ 917478 h 969818"/>
                      <a:gd name="connsiteX6" fmla="*/ 1761067 w 1973503"/>
                      <a:gd name="connsiteY6" fmla="*/ 926715 h 969818"/>
                      <a:gd name="connsiteX7" fmla="*/ 1717964 w 1973503"/>
                      <a:gd name="connsiteY7" fmla="*/ 926715 h 969818"/>
                      <a:gd name="connsiteX8" fmla="*/ 1684097 w 1973503"/>
                      <a:gd name="connsiteY8" fmla="*/ 926715 h 969818"/>
                      <a:gd name="connsiteX9" fmla="*/ 1650230 w 1973503"/>
                      <a:gd name="connsiteY9" fmla="*/ 908242 h 969818"/>
                      <a:gd name="connsiteX10" fmla="*/ 1628679 w 1973503"/>
                      <a:gd name="connsiteY10" fmla="*/ 892848 h 969818"/>
                      <a:gd name="connsiteX11" fmla="*/ 1625600 w 1973503"/>
                      <a:gd name="connsiteY11" fmla="*/ 877454 h 969818"/>
                      <a:gd name="connsiteX12" fmla="*/ 1625600 w 1973503"/>
                      <a:gd name="connsiteY12" fmla="*/ 862060 h 969818"/>
                      <a:gd name="connsiteX13" fmla="*/ 1631758 w 1973503"/>
                      <a:gd name="connsiteY13" fmla="*/ 846666 h 969818"/>
                      <a:gd name="connsiteX14" fmla="*/ 1637915 w 1973503"/>
                      <a:gd name="connsiteY14" fmla="*/ 828194 h 969818"/>
                      <a:gd name="connsiteX15" fmla="*/ 1619443 w 1973503"/>
                      <a:gd name="connsiteY15" fmla="*/ 812800 h 969818"/>
                      <a:gd name="connsiteX16" fmla="*/ 1560946 w 1973503"/>
                      <a:gd name="connsiteY16" fmla="*/ 794327 h 969818"/>
                      <a:gd name="connsiteX17" fmla="*/ 1511685 w 1973503"/>
                      <a:gd name="connsiteY17" fmla="*/ 772775 h 969818"/>
                      <a:gd name="connsiteX18" fmla="*/ 1425479 w 1973503"/>
                      <a:gd name="connsiteY18" fmla="*/ 766618 h 969818"/>
                      <a:gd name="connsiteX19" fmla="*/ 1370061 w 1973503"/>
                      <a:gd name="connsiteY19" fmla="*/ 766618 h 969818"/>
                      <a:gd name="connsiteX20" fmla="*/ 1302327 w 1973503"/>
                      <a:gd name="connsiteY20" fmla="*/ 778933 h 969818"/>
                      <a:gd name="connsiteX21" fmla="*/ 1259224 w 1973503"/>
                      <a:gd name="connsiteY21" fmla="*/ 788169 h 969818"/>
                      <a:gd name="connsiteX22" fmla="*/ 1249988 w 1973503"/>
                      <a:gd name="connsiteY22" fmla="*/ 788169 h 969818"/>
                      <a:gd name="connsiteX23" fmla="*/ 1243830 w 1973503"/>
                      <a:gd name="connsiteY23" fmla="*/ 769697 h 969818"/>
                      <a:gd name="connsiteX24" fmla="*/ 1225358 w 1973503"/>
                      <a:gd name="connsiteY24" fmla="*/ 763539 h 969818"/>
                      <a:gd name="connsiteX25" fmla="*/ 1194570 w 1973503"/>
                      <a:gd name="connsiteY25" fmla="*/ 772775 h 969818"/>
                      <a:gd name="connsiteX26" fmla="*/ 1145309 w 1973503"/>
                      <a:gd name="connsiteY26" fmla="*/ 754303 h 969818"/>
                      <a:gd name="connsiteX27" fmla="*/ 1126836 w 1973503"/>
                      <a:gd name="connsiteY27" fmla="*/ 745066 h 969818"/>
                      <a:gd name="connsiteX28" fmla="*/ 1102206 w 1973503"/>
                      <a:gd name="connsiteY28" fmla="*/ 751224 h 969818"/>
                      <a:gd name="connsiteX29" fmla="*/ 1059103 w 1973503"/>
                      <a:gd name="connsiteY29" fmla="*/ 748145 h 969818"/>
                      <a:gd name="connsiteX30" fmla="*/ 1034473 w 1973503"/>
                      <a:gd name="connsiteY30" fmla="*/ 745066 h 969818"/>
                      <a:gd name="connsiteX31" fmla="*/ 1019079 w 1973503"/>
                      <a:gd name="connsiteY31" fmla="*/ 757381 h 969818"/>
                      <a:gd name="connsiteX32" fmla="*/ 997527 w 1973503"/>
                      <a:gd name="connsiteY32" fmla="*/ 763539 h 969818"/>
                      <a:gd name="connsiteX33" fmla="*/ 966739 w 1973503"/>
                      <a:gd name="connsiteY33" fmla="*/ 741987 h 969818"/>
                      <a:gd name="connsiteX34" fmla="*/ 954424 w 1973503"/>
                      <a:gd name="connsiteY34" fmla="*/ 723515 h 969818"/>
                      <a:gd name="connsiteX35" fmla="*/ 945188 w 1973503"/>
                      <a:gd name="connsiteY35" fmla="*/ 723515 h 969818"/>
                      <a:gd name="connsiteX36" fmla="*/ 939030 w 1973503"/>
                      <a:gd name="connsiteY36" fmla="*/ 738909 h 969818"/>
                      <a:gd name="connsiteX37" fmla="*/ 914400 w 1973503"/>
                      <a:gd name="connsiteY37" fmla="*/ 757381 h 969818"/>
                      <a:gd name="connsiteX38" fmla="*/ 899006 w 1973503"/>
                      <a:gd name="connsiteY38" fmla="*/ 763539 h 969818"/>
                      <a:gd name="connsiteX39" fmla="*/ 899006 w 1973503"/>
                      <a:gd name="connsiteY39" fmla="*/ 748145 h 969818"/>
                      <a:gd name="connsiteX40" fmla="*/ 895927 w 1973503"/>
                      <a:gd name="connsiteY40" fmla="*/ 723515 h 969818"/>
                      <a:gd name="connsiteX41" fmla="*/ 871297 w 1973503"/>
                      <a:gd name="connsiteY41" fmla="*/ 708121 h 969818"/>
                      <a:gd name="connsiteX42" fmla="*/ 843588 w 1973503"/>
                      <a:gd name="connsiteY42" fmla="*/ 701963 h 969818"/>
                      <a:gd name="connsiteX43" fmla="*/ 794327 w 1973503"/>
                      <a:gd name="connsiteY43" fmla="*/ 689648 h 969818"/>
                      <a:gd name="connsiteX44" fmla="*/ 751224 w 1973503"/>
                      <a:gd name="connsiteY44" fmla="*/ 677333 h 969818"/>
                      <a:gd name="connsiteX45" fmla="*/ 714279 w 1973503"/>
                      <a:gd name="connsiteY45" fmla="*/ 658860 h 969818"/>
                      <a:gd name="connsiteX46" fmla="*/ 680412 w 1973503"/>
                      <a:gd name="connsiteY46" fmla="*/ 631151 h 969818"/>
                      <a:gd name="connsiteX47" fmla="*/ 649624 w 1973503"/>
                      <a:gd name="connsiteY47" fmla="*/ 615757 h 969818"/>
                      <a:gd name="connsiteX48" fmla="*/ 618836 w 1973503"/>
                      <a:gd name="connsiteY48" fmla="*/ 615757 h 969818"/>
                      <a:gd name="connsiteX49" fmla="*/ 594206 w 1973503"/>
                      <a:gd name="connsiteY49" fmla="*/ 612678 h 969818"/>
                      <a:gd name="connsiteX50" fmla="*/ 566497 w 1973503"/>
                      <a:gd name="connsiteY50" fmla="*/ 591127 h 969818"/>
                      <a:gd name="connsiteX51" fmla="*/ 541867 w 1973503"/>
                      <a:gd name="connsiteY51" fmla="*/ 581891 h 969818"/>
                      <a:gd name="connsiteX52" fmla="*/ 514158 w 1973503"/>
                      <a:gd name="connsiteY52" fmla="*/ 578812 h 969818"/>
                      <a:gd name="connsiteX53" fmla="*/ 489527 w 1973503"/>
                      <a:gd name="connsiteY53" fmla="*/ 588048 h 969818"/>
                      <a:gd name="connsiteX54" fmla="*/ 480291 w 1973503"/>
                      <a:gd name="connsiteY54" fmla="*/ 588048 h 969818"/>
                      <a:gd name="connsiteX55" fmla="*/ 474133 w 1973503"/>
                      <a:gd name="connsiteY55" fmla="*/ 569575 h 969818"/>
                      <a:gd name="connsiteX56" fmla="*/ 455661 w 1973503"/>
                      <a:gd name="connsiteY56" fmla="*/ 514157 h 969818"/>
                      <a:gd name="connsiteX57" fmla="*/ 455661 w 1973503"/>
                      <a:gd name="connsiteY57" fmla="*/ 495684 h 969818"/>
                      <a:gd name="connsiteX58" fmla="*/ 443346 w 1973503"/>
                      <a:gd name="connsiteY58" fmla="*/ 452581 h 969818"/>
                      <a:gd name="connsiteX59" fmla="*/ 418715 w 1973503"/>
                      <a:gd name="connsiteY59" fmla="*/ 391006 h 969818"/>
                      <a:gd name="connsiteX60" fmla="*/ 394085 w 1973503"/>
                      <a:gd name="connsiteY60" fmla="*/ 329430 h 969818"/>
                      <a:gd name="connsiteX61" fmla="*/ 378691 w 1973503"/>
                      <a:gd name="connsiteY61" fmla="*/ 286327 h 969818"/>
                      <a:gd name="connsiteX62" fmla="*/ 360218 w 1973503"/>
                      <a:gd name="connsiteY62" fmla="*/ 246303 h 969818"/>
                      <a:gd name="connsiteX63" fmla="*/ 335588 w 1973503"/>
                      <a:gd name="connsiteY63" fmla="*/ 206278 h 969818"/>
                      <a:gd name="connsiteX64" fmla="*/ 286327 w 1973503"/>
                      <a:gd name="connsiteY64" fmla="*/ 175491 h 969818"/>
                      <a:gd name="connsiteX65" fmla="*/ 252461 w 1973503"/>
                      <a:gd name="connsiteY65" fmla="*/ 150860 h 969818"/>
                      <a:gd name="connsiteX66" fmla="*/ 209358 w 1973503"/>
                      <a:gd name="connsiteY66" fmla="*/ 123151 h 969818"/>
                      <a:gd name="connsiteX67" fmla="*/ 166255 w 1973503"/>
                      <a:gd name="connsiteY67" fmla="*/ 98521 h 969818"/>
                      <a:gd name="connsiteX68" fmla="*/ 135467 w 1973503"/>
                      <a:gd name="connsiteY68" fmla="*/ 95442 h 969818"/>
                      <a:gd name="connsiteX69" fmla="*/ 95443 w 1973503"/>
                      <a:gd name="connsiteY69" fmla="*/ 95442 h 969818"/>
                      <a:gd name="connsiteX70" fmla="*/ 73891 w 1973503"/>
                      <a:gd name="connsiteY70" fmla="*/ 83127 h 969818"/>
                      <a:gd name="connsiteX71" fmla="*/ 49261 w 1973503"/>
                      <a:gd name="connsiteY71" fmla="*/ 52339 h 969818"/>
                      <a:gd name="connsiteX72" fmla="*/ 30788 w 1973503"/>
                      <a:gd name="connsiteY72" fmla="*/ 30787 h 969818"/>
                      <a:gd name="connsiteX73" fmla="*/ 0 w 1973503"/>
                      <a:gd name="connsiteY73" fmla="*/ 0 h 969818"/>
                      <a:gd name="connsiteX0" fmla="*/ 1942715 w 1942715"/>
                      <a:gd name="connsiteY0" fmla="*/ 939031 h 939031"/>
                      <a:gd name="connsiteX1" fmla="*/ 1884218 w 1942715"/>
                      <a:gd name="connsiteY1" fmla="*/ 923637 h 939031"/>
                      <a:gd name="connsiteX2" fmla="*/ 1850351 w 1942715"/>
                      <a:gd name="connsiteY2" fmla="*/ 908243 h 939031"/>
                      <a:gd name="connsiteX3" fmla="*/ 1834958 w 1942715"/>
                      <a:gd name="connsiteY3" fmla="*/ 895928 h 939031"/>
                      <a:gd name="connsiteX4" fmla="*/ 1788776 w 1942715"/>
                      <a:gd name="connsiteY4" fmla="*/ 895928 h 939031"/>
                      <a:gd name="connsiteX5" fmla="*/ 1773382 w 1942715"/>
                      <a:gd name="connsiteY5" fmla="*/ 886691 h 939031"/>
                      <a:gd name="connsiteX6" fmla="*/ 1730279 w 1942715"/>
                      <a:gd name="connsiteY6" fmla="*/ 895928 h 939031"/>
                      <a:gd name="connsiteX7" fmla="*/ 1687176 w 1942715"/>
                      <a:gd name="connsiteY7" fmla="*/ 895928 h 939031"/>
                      <a:gd name="connsiteX8" fmla="*/ 1653309 w 1942715"/>
                      <a:gd name="connsiteY8" fmla="*/ 895928 h 939031"/>
                      <a:gd name="connsiteX9" fmla="*/ 1619442 w 1942715"/>
                      <a:gd name="connsiteY9" fmla="*/ 877455 h 939031"/>
                      <a:gd name="connsiteX10" fmla="*/ 1597891 w 1942715"/>
                      <a:gd name="connsiteY10" fmla="*/ 862061 h 939031"/>
                      <a:gd name="connsiteX11" fmla="*/ 1594812 w 1942715"/>
                      <a:gd name="connsiteY11" fmla="*/ 846667 h 939031"/>
                      <a:gd name="connsiteX12" fmla="*/ 1594812 w 1942715"/>
                      <a:gd name="connsiteY12" fmla="*/ 831273 h 939031"/>
                      <a:gd name="connsiteX13" fmla="*/ 1600970 w 1942715"/>
                      <a:gd name="connsiteY13" fmla="*/ 815879 h 939031"/>
                      <a:gd name="connsiteX14" fmla="*/ 1607127 w 1942715"/>
                      <a:gd name="connsiteY14" fmla="*/ 797407 h 939031"/>
                      <a:gd name="connsiteX15" fmla="*/ 1588655 w 1942715"/>
                      <a:gd name="connsiteY15" fmla="*/ 782013 h 939031"/>
                      <a:gd name="connsiteX16" fmla="*/ 1530158 w 1942715"/>
                      <a:gd name="connsiteY16" fmla="*/ 763540 h 939031"/>
                      <a:gd name="connsiteX17" fmla="*/ 1480897 w 1942715"/>
                      <a:gd name="connsiteY17" fmla="*/ 741988 h 939031"/>
                      <a:gd name="connsiteX18" fmla="*/ 1394691 w 1942715"/>
                      <a:gd name="connsiteY18" fmla="*/ 735831 h 939031"/>
                      <a:gd name="connsiteX19" fmla="*/ 1339273 w 1942715"/>
                      <a:gd name="connsiteY19" fmla="*/ 735831 h 939031"/>
                      <a:gd name="connsiteX20" fmla="*/ 1271539 w 1942715"/>
                      <a:gd name="connsiteY20" fmla="*/ 748146 h 939031"/>
                      <a:gd name="connsiteX21" fmla="*/ 1228436 w 1942715"/>
                      <a:gd name="connsiteY21" fmla="*/ 757382 h 939031"/>
                      <a:gd name="connsiteX22" fmla="*/ 1219200 w 1942715"/>
                      <a:gd name="connsiteY22" fmla="*/ 757382 h 939031"/>
                      <a:gd name="connsiteX23" fmla="*/ 1213042 w 1942715"/>
                      <a:gd name="connsiteY23" fmla="*/ 738910 h 939031"/>
                      <a:gd name="connsiteX24" fmla="*/ 1194570 w 1942715"/>
                      <a:gd name="connsiteY24" fmla="*/ 732752 h 939031"/>
                      <a:gd name="connsiteX25" fmla="*/ 1163782 w 1942715"/>
                      <a:gd name="connsiteY25" fmla="*/ 741988 h 939031"/>
                      <a:gd name="connsiteX26" fmla="*/ 1114521 w 1942715"/>
                      <a:gd name="connsiteY26" fmla="*/ 723516 h 939031"/>
                      <a:gd name="connsiteX27" fmla="*/ 1096048 w 1942715"/>
                      <a:gd name="connsiteY27" fmla="*/ 714279 h 939031"/>
                      <a:gd name="connsiteX28" fmla="*/ 1071418 w 1942715"/>
                      <a:gd name="connsiteY28" fmla="*/ 720437 h 939031"/>
                      <a:gd name="connsiteX29" fmla="*/ 1028315 w 1942715"/>
                      <a:gd name="connsiteY29" fmla="*/ 717358 h 939031"/>
                      <a:gd name="connsiteX30" fmla="*/ 1003685 w 1942715"/>
                      <a:gd name="connsiteY30" fmla="*/ 714279 h 939031"/>
                      <a:gd name="connsiteX31" fmla="*/ 988291 w 1942715"/>
                      <a:gd name="connsiteY31" fmla="*/ 726594 h 939031"/>
                      <a:gd name="connsiteX32" fmla="*/ 966739 w 1942715"/>
                      <a:gd name="connsiteY32" fmla="*/ 732752 h 939031"/>
                      <a:gd name="connsiteX33" fmla="*/ 935951 w 1942715"/>
                      <a:gd name="connsiteY33" fmla="*/ 711200 h 939031"/>
                      <a:gd name="connsiteX34" fmla="*/ 923636 w 1942715"/>
                      <a:gd name="connsiteY34" fmla="*/ 692728 h 939031"/>
                      <a:gd name="connsiteX35" fmla="*/ 914400 w 1942715"/>
                      <a:gd name="connsiteY35" fmla="*/ 692728 h 939031"/>
                      <a:gd name="connsiteX36" fmla="*/ 908242 w 1942715"/>
                      <a:gd name="connsiteY36" fmla="*/ 708122 h 939031"/>
                      <a:gd name="connsiteX37" fmla="*/ 883612 w 1942715"/>
                      <a:gd name="connsiteY37" fmla="*/ 726594 h 939031"/>
                      <a:gd name="connsiteX38" fmla="*/ 868218 w 1942715"/>
                      <a:gd name="connsiteY38" fmla="*/ 732752 h 939031"/>
                      <a:gd name="connsiteX39" fmla="*/ 868218 w 1942715"/>
                      <a:gd name="connsiteY39" fmla="*/ 717358 h 939031"/>
                      <a:gd name="connsiteX40" fmla="*/ 865139 w 1942715"/>
                      <a:gd name="connsiteY40" fmla="*/ 692728 h 939031"/>
                      <a:gd name="connsiteX41" fmla="*/ 840509 w 1942715"/>
                      <a:gd name="connsiteY41" fmla="*/ 677334 h 939031"/>
                      <a:gd name="connsiteX42" fmla="*/ 812800 w 1942715"/>
                      <a:gd name="connsiteY42" fmla="*/ 671176 h 939031"/>
                      <a:gd name="connsiteX43" fmla="*/ 763539 w 1942715"/>
                      <a:gd name="connsiteY43" fmla="*/ 658861 h 939031"/>
                      <a:gd name="connsiteX44" fmla="*/ 720436 w 1942715"/>
                      <a:gd name="connsiteY44" fmla="*/ 646546 h 939031"/>
                      <a:gd name="connsiteX45" fmla="*/ 683491 w 1942715"/>
                      <a:gd name="connsiteY45" fmla="*/ 628073 h 939031"/>
                      <a:gd name="connsiteX46" fmla="*/ 649624 w 1942715"/>
                      <a:gd name="connsiteY46" fmla="*/ 600364 h 939031"/>
                      <a:gd name="connsiteX47" fmla="*/ 618836 w 1942715"/>
                      <a:gd name="connsiteY47" fmla="*/ 584970 h 939031"/>
                      <a:gd name="connsiteX48" fmla="*/ 588048 w 1942715"/>
                      <a:gd name="connsiteY48" fmla="*/ 584970 h 939031"/>
                      <a:gd name="connsiteX49" fmla="*/ 563418 w 1942715"/>
                      <a:gd name="connsiteY49" fmla="*/ 581891 h 939031"/>
                      <a:gd name="connsiteX50" fmla="*/ 535709 w 1942715"/>
                      <a:gd name="connsiteY50" fmla="*/ 560340 h 939031"/>
                      <a:gd name="connsiteX51" fmla="*/ 511079 w 1942715"/>
                      <a:gd name="connsiteY51" fmla="*/ 551104 h 939031"/>
                      <a:gd name="connsiteX52" fmla="*/ 483370 w 1942715"/>
                      <a:gd name="connsiteY52" fmla="*/ 548025 h 939031"/>
                      <a:gd name="connsiteX53" fmla="*/ 458739 w 1942715"/>
                      <a:gd name="connsiteY53" fmla="*/ 557261 h 939031"/>
                      <a:gd name="connsiteX54" fmla="*/ 449503 w 1942715"/>
                      <a:gd name="connsiteY54" fmla="*/ 557261 h 939031"/>
                      <a:gd name="connsiteX55" fmla="*/ 443345 w 1942715"/>
                      <a:gd name="connsiteY55" fmla="*/ 538788 h 939031"/>
                      <a:gd name="connsiteX56" fmla="*/ 424873 w 1942715"/>
                      <a:gd name="connsiteY56" fmla="*/ 483370 h 939031"/>
                      <a:gd name="connsiteX57" fmla="*/ 424873 w 1942715"/>
                      <a:gd name="connsiteY57" fmla="*/ 464897 h 939031"/>
                      <a:gd name="connsiteX58" fmla="*/ 412558 w 1942715"/>
                      <a:gd name="connsiteY58" fmla="*/ 421794 h 939031"/>
                      <a:gd name="connsiteX59" fmla="*/ 387927 w 1942715"/>
                      <a:gd name="connsiteY59" fmla="*/ 360219 h 939031"/>
                      <a:gd name="connsiteX60" fmla="*/ 363297 w 1942715"/>
                      <a:gd name="connsiteY60" fmla="*/ 298643 h 939031"/>
                      <a:gd name="connsiteX61" fmla="*/ 347903 w 1942715"/>
                      <a:gd name="connsiteY61" fmla="*/ 255540 h 939031"/>
                      <a:gd name="connsiteX62" fmla="*/ 329430 w 1942715"/>
                      <a:gd name="connsiteY62" fmla="*/ 215516 h 939031"/>
                      <a:gd name="connsiteX63" fmla="*/ 304800 w 1942715"/>
                      <a:gd name="connsiteY63" fmla="*/ 175491 h 939031"/>
                      <a:gd name="connsiteX64" fmla="*/ 255539 w 1942715"/>
                      <a:gd name="connsiteY64" fmla="*/ 144704 h 939031"/>
                      <a:gd name="connsiteX65" fmla="*/ 221673 w 1942715"/>
                      <a:gd name="connsiteY65" fmla="*/ 120073 h 939031"/>
                      <a:gd name="connsiteX66" fmla="*/ 178570 w 1942715"/>
                      <a:gd name="connsiteY66" fmla="*/ 92364 h 939031"/>
                      <a:gd name="connsiteX67" fmla="*/ 135467 w 1942715"/>
                      <a:gd name="connsiteY67" fmla="*/ 67734 h 939031"/>
                      <a:gd name="connsiteX68" fmla="*/ 104679 w 1942715"/>
                      <a:gd name="connsiteY68" fmla="*/ 64655 h 939031"/>
                      <a:gd name="connsiteX69" fmla="*/ 64655 w 1942715"/>
                      <a:gd name="connsiteY69" fmla="*/ 64655 h 939031"/>
                      <a:gd name="connsiteX70" fmla="*/ 43103 w 1942715"/>
                      <a:gd name="connsiteY70" fmla="*/ 52340 h 939031"/>
                      <a:gd name="connsiteX71" fmla="*/ 18473 w 1942715"/>
                      <a:gd name="connsiteY71" fmla="*/ 21552 h 939031"/>
                      <a:gd name="connsiteX72" fmla="*/ 0 w 1942715"/>
                      <a:gd name="connsiteY72" fmla="*/ 0 h 939031"/>
                      <a:gd name="connsiteX0" fmla="*/ 1924242 w 1924242"/>
                      <a:gd name="connsiteY0" fmla="*/ 917479 h 917479"/>
                      <a:gd name="connsiteX1" fmla="*/ 1865745 w 1924242"/>
                      <a:gd name="connsiteY1" fmla="*/ 902085 h 917479"/>
                      <a:gd name="connsiteX2" fmla="*/ 1831878 w 1924242"/>
                      <a:gd name="connsiteY2" fmla="*/ 886691 h 917479"/>
                      <a:gd name="connsiteX3" fmla="*/ 1816485 w 1924242"/>
                      <a:gd name="connsiteY3" fmla="*/ 874376 h 917479"/>
                      <a:gd name="connsiteX4" fmla="*/ 1770303 w 1924242"/>
                      <a:gd name="connsiteY4" fmla="*/ 874376 h 917479"/>
                      <a:gd name="connsiteX5" fmla="*/ 1754909 w 1924242"/>
                      <a:gd name="connsiteY5" fmla="*/ 865139 h 917479"/>
                      <a:gd name="connsiteX6" fmla="*/ 1711806 w 1924242"/>
                      <a:gd name="connsiteY6" fmla="*/ 874376 h 917479"/>
                      <a:gd name="connsiteX7" fmla="*/ 1668703 w 1924242"/>
                      <a:gd name="connsiteY7" fmla="*/ 874376 h 917479"/>
                      <a:gd name="connsiteX8" fmla="*/ 1634836 w 1924242"/>
                      <a:gd name="connsiteY8" fmla="*/ 874376 h 917479"/>
                      <a:gd name="connsiteX9" fmla="*/ 1600969 w 1924242"/>
                      <a:gd name="connsiteY9" fmla="*/ 855903 h 917479"/>
                      <a:gd name="connsiteX10" fmla="*/ 1579418 w 1924242"/>
                      <a:gd name="connsiteY10" fmla="*/ 840509 h 917479"/>
                      <a:gd name="connsiteX11" fmla="*/ 1576339 w 1924242"/>
                      <a:gd name="connsiteY11" fmla="*/ 825115 h 917479"/>
                      <a:gd name="connsiteX12" fmla="*/ 1576339 w 1924242"/>
                      <a:gd name="connsiteY12" fmla="*/ 809721 h 917479"/>
                      <a:gd name="connsiteX13" fmla="*/ 1582497 w 1924242"/>
                      <a:gd name="connsiteY13" fmla="*/ 794327 h 917479"/>
                      <a:gd name="connsiteX14" fmla="*/ 1588654 w 1924242"/>
                      <a:gd name="connsiteY14" fmla="*/ 775855 h 917479"/>
                      <a:gd name="connsiteX15" fmla="*/ 1570182 w 1924242"/>
                      <a:gd name="connsiteY15" fmla="*/ 760461 h 917479"/>
                      <a:gd name="connsiteX16" fmla="*/ 1511685 w 1924242"/>
                      <a:gd name="connsiteY16" fmla="*/ 741988 h 917479"/>
                      <a:gd name="connsiteX17" fmla="*/ 1462424 w 1924242"/>
                      <a:gd name="connsiteY17" fmla="*/ 720436 h 917479"/>
                      <a:gd name="connsiteX18" fmla="*/ 1376218 w 1924242"/>
                      <a:gd name="connsiteY18" fmla="*/ 714279 h 917479"/>
                      <a:gd name="connsiteX19" fmla="*/ 1320800 w 1924242"/>
                      <a:gd name="connsiteY19" fmla="*/ 714279 h 917479"/>
                      <a:gd name="connsiteX20" fmla="*/ 1253066 w 1924242"/>
                      <a:gd name="connsiteY20" fmla="*/ 726594 h 917479"/>
                      <a:gd name="connsiteX21" fmla="*/ 1209963 w 1924242"/>
                      <a:gd name="connsiteY21" fmla="*/ 735830 h 917479"/>
                      <a:gd name="connsiteX22" fmla="*/ 1200727 w 1924242"/>
                      <a:gd name="connsiteY22" fmla="*/ 735830 h 917479"/>
                      <a:gd name="connsiteX23" fmla="*/ 1194569 w 1924242"/>
                      <a:gd name="connsiteY23" fmla="*/ 717358 h 917479"/>
                      <a:gd name="connsiteX24" fmla="*/ 1176097 w 1924242"/>
                      <a:gd name="connsiteY24" fmla="*/ 711200 h 917479"/>
                      <a:gd name="connsiteX25" fmla="*/ 1145309 w 1924242"/>
                      <a:gd name="connsiteY25" fmla="*/ 720436 h 917479"/>
                      <a:gd name="connsiteX26" fmla="*/ 1096048 w 1924242"/>
                      <a:gd name="connsiteY26" fmla="*/ 701964 h 917479"/>
                      <a:gd name="connsiteX27" fmla="*/ 1077575 w 1924242"/>
                      <a:gd name="connsiteY27" fmla="*/ 692727 h 917479"/>
                      <a:gd name="connsiteX28" fmla="*/ 1052945 w 1924242"/>
                      <a:gd name="connsiteY28" fmla="*/ 698885 h 917479"/>
                      <a:gd name="connsiteX29" fmla="*/ 1009842 w 1924242"/>
                      <a:gd name="connsiteY29" fmla="*/ 695806 h 917479"/>
                      <a:gd name="connsiteX30" fmla="*/ 985212 w 1924242"/>
                      <a:gd name="connsiteY30" fmla="*/ 692727 h 917479"/>
                      <a:gd name="connsiteX31" fmla="*/ 969818 w 1924242"/>
                      <a:gd name="connsiteY31" fmla="*/ 705042 h 917479"/>
                      <a:gd name="connsiteX32" fmla="*/ 948266 w 1924242"/>
                      <a:gd name="connsiteY32" fmla="*/ 711200 h 917479"/>
                      <a:gd name="connsiteX33" fmla="*/ 917478 w 1924242"/>
                      <a:gd name="connsiteY33" fmla="*/ 689648 h 917479"/>
                      <a:gd name="connsiteX34" fmla="*/ 905163 w 1924242"/>
                      <a:gd name="connsiteY34" fmla="*/ 671176 h 917479"/>
                      <a:gd name="connsiteX35" fmla="*/ 895927 w 1924242"/>
                      <a:gd name="connsiteY35" fmla="*/ 671176 h 917479"/>
                      <a:gd name="connsiteX36" fmla="*/ 889769 w 1924242"/>
                      <a:gd name="connsiteY36" fmla="*/ 686570 h 917479"/>
                      <a:gd name="connsiteX37" fmla="*/ 865139 w 1924242"/>
                      <a:gd name="connsiteY37" fmla="*/ 705042 h 917479"/>
                      <a:gd name="connsiteX38" fmla="*/ 849745 w 1924242"/>
                      <a:gd name="connsiteY38" fmla="*/ 711200 h 917479"/>
                      <a:gd name="connsiteX39" fmla="*/ 849745 w 1924242"/>
                      <a:gd name="connsiteY39" fmla="*/ 695806 h 917479"/>
                      <a:gd name="connsiteX40" fmla="*/ 846666 w 1924242"/>
                      <a:gd name="connsiteY40" fmla="*/ 671176 h 917479"/>
                      <a:gd name="connsiteX41" fmla="*/ 822036 w 1924242"/>
                      <a:gd name="connsiteY41" fmla="*/ 655782 h 917479"/>
                      <a:gd name="connsiteX42" fmla="*/ 794327 w 1924242"/>
                      <a:gd name="connsiteY42" fmla="*/ 649624 h 917479"/>
                      <a:gd name="connsiteX43" fmla="*/ 745066 w 1924242"/>
                      <a:gd name="connsiteY43" fmla="*/ 637309 h 917479"/>
                      <a:gd name="connsiteX44" fmla="*/ 701963 w 1924242"/>
                      <a:gd name="connsiteY44" fmla="*/ 624994 h 917479"/>
                      <a:gd name="connsiteX45" fmla="*/ 665018 w 1924242"/>
                      <a:gd name="connsiteY45" fmla="*/ 606521 h 917479"/>
                      <a:gd name="connsiteX46" fmla="*/ 631151 w 1924242"/>
                      <a:gd name="connsiteY46" fmla="*/ 578812 h 917479"/>
                      <a:gd name="connsiteX47" fmla="*/ 600363 w 1924242"/>
                      <a:gd name="connsiteY47" fmla="*/ 563418 h 917479"/>
                      <a:gd name="connsiteX48" fmla="*/ 569575 w 1924242"/>
                      <a:gd name="connsiteY48" fmla="*/ 563418 h 917479"/>
                      <a:gd name="connsiteX49" fmla="*/ 544945 w 1924242"/>
                      <a:gd name="connsiteY49" fmla="*/ 560339 h 917479"/>
                      <a:gd name="connsiteX50" fmla="*/ 517236 w 1924242"/>
                      <a:gd name="connsiteY50" fmla="*/ 538788 h 917479"/>
                      <a:gd name="connsiteX51" fmla="*/ 492606 w 1924242"/>
                      <a:gd name="connsiteY51" fmla="*/ 529552 h 917479"/>
                      <a:gd name="connsiteX52" fmla="*/ 464897 w 1924242"/>
                      <a:gd name="connsiteY52" fmla="*/ 526473 h 917479"/>
                      <a:gd name="connsiteX53" fmla="*/ 440266 w 1924242"/>
                      <a:gd name="connsiteY53" fmla="*/ 535709 h 917479"/>
                      <a:gd name="connsiteX54" fmla="*/ 431030 w 1924242"/>
                      <a:gd name="connsiteY54" fmla="*/ 535709 h 917479"/>
                      <a:gd name="connsiteX55" fmla="*/ 424872 w 1924242"/>
                      <a:gd name="connsiteY55" fmla="*/ 517236 h 917479"/>
                      <a:gd name="connsiteX56" fmla="*/ 406400 w 1924242"/>
                      <a:gd name="connsiteY56" fmla="*/ 461818 h 917479"/>
                      <a:gd name="connsiteX57" fmla="*/ 406400 w 1924242"/>
                      <a:gd name="connsiteY57" fmla="*/ 443345 h 917479"/>
                      <a:gd name="connsiteX58" fmla="*/ 394085 w 1924242"/>
                      <a:gd name="connsiteY58" fmla="*/ 400242 h 917479"/>
                      <a:gd name="connsiteX59" fmla="*/ 369454 w 1924242"/>
                      <a:gd name="connsiteY59" fmla="*/ 338667 h 917479"/>
                      <a:gd name="connsiteX60" fmla="*/ 344824 w 1924242"/>
                      <a:gd name="connsiteY60" fmla="*/ 277091 h 917479"/>
                      <a:gd name="connsiteX61" fmla="*/ 329430 w 1924242"/>
                      <a:gd name="connsiteY61" fmla="*/ 233988 h 917479"/>
                      <a:gd name="connsiteX62" fmla="*/ 310957 w 1924242"/>
                      <a:gd name="connsiteY62" fmla="*/ 193964 h 917479"/>
                      <a:gd name="connsiteX63" fmla="*/ 286327 w 1924242"/>
                      <a:gd name="connsiteY63" fmla="*/ 153939 h 917479"/>
                      <a:gd name="connsiteX64" fmla="*/ 237066 w 1924242"/>
                      <a:gd name="connsiteY64" fmla="*/ 123152 h 917479"/>
                      <a:gd name="connsiteX65" fmla="*/ 203200 w 1924242"/>
                      <a:gd name="connsiteY65" fmla="*/ 98521 h 917479"/>
                      <a:gd name="connsiteX66" fmla="*/ 160097 w 1924242"/>
                      <a:gd name="connsiteY66" fmla="*/ 70812 h 917479"/>
                      <a:gd name="connsiteX67" fmla="*/ 116994 w 1924242"/>
                      <a:gd name="connsiteY67" fmla="*/ 46182 h 917479"/>
                      <a:gd name="connsiteX68" fmla="*/ 86206 w 1924242"/>
                      <a:gd name="connsiteY68" fmla="*/ 43103 h 917479"/>
                      <a:gd name="connsiteX69" fmla="*/ 46182 w 1924242"/>
                      <a:gd name="connsiteY69" fmla="*/ 43103 h 917479"/>
                      <a:gd name="connsiteX70" fmla="*/ 24630 w 1924242"/>
                      <a:gd name="connsiteY70" fmla="*/ 30788 h 917479"/>
                      <a:gd name="connsiteX71" fmla="*/ 0 w 1924242"/>
                      <a:gd name="connsiteY71" fmla="*/ 0 h 917479"/>
                      <a:gd name="connsiteX0" fmla="*/ 1899612 w 1899612"/>
                      <a:gd name="connsiteY0" fmla="*/ 886691 h 886691"/>
                      <a:gd name="connsiteX1" fmla="*/ 1841115 w 1899612"/>
                      <a:gd name="connsiteY1" fmla="*/ 871297 h 886691"/>
                      <a:gd name="connsiteX2" fmla="*/ 1807248 w 1899612"/>
                      <a:gd name="connsiteY2" fmla="*/ 855903 h 886691"/>
                      <a:gd name="connsiteX3" fmla="*/ 1791855 w 1899612"/>
                      <a:gd name="connsiteY3" fmla="*/ 843588 h 886691"/>
                      <a:gd name="connsiteX4" fmla="*/ 1745673 w 1899612"/>
                      <a:gd name="connsiteY4" fmla="*/ 843588 h 886691"/>
                      <a:gd name="connsiteX5" fmla="*/ 1730279 w 1899612"/>
                      <a:gd name="connsiteY5" fmla="*/ 834351 h 886691"/>
                      <a:gd name="connsiteX6" fmla="*/ 1687176 w 1899612"/>
                      <a:gd name="connsiteY6" fmla="*/ 843588 h 886691"/>
                      <a:gd name="connsiteX7" fmla="*/ 1644073 w 1899612"/>
                      <a:gd name="connsiteY7" fmla="*/ 843588 h 886691"/>
                      <a:gd name="connsiteX8" fmla="*/ 1610206 w 1899612"/>
                      <a:gd name="connsiteY8" fmla="*/ 843588 h 886691"/>
                      <a:gd name="connsiteX9" fmla="*/ 1576339 w 1899612"/>
                      <a:gd name="connsiteY9" fmla="*/ 825115 h 886691"/>
                      <a:gd name="connsiteX10" fmla="*/ 1554788 w 1899612"/>
                      <a:gd name="connsiteY10" fmla="*/ 809721 h 886691"/>
                      <a:gd name="connsiteX11" fmla="*/ 1551709 w 1899612"/>
                      <a:gd name="connsiteY11" fmla="*/ 794327 h 886691"/>
                      <a:gd name="connsiteX12" fmla="*/ 1551709 w 1899612"/>
                      <a:gd name="connsiteY12" fmla="*/ 778933 h 886691"/>
                      <a:gd name="connsiteX13" fmla="*/ 1557867 w 1899612"/>
                      <a:gd name="connsiteY13" fmla="*/ 763539 h 886691"/>
                      <a:gd name="connsiteX14" fmla="*/ 1564024 w 1899612"/>
                      <a:gd name="connsiteY14" fmla="*/ 745067 h 886691"/>
                      <a:gd name="connsiteX15" fmla="*/ 1545552 w 1899612"/>
                      <a:gd name="connsiteY15" fmla="*/ 729673 h 886691"/>
                      <a:gd name="connsiteX16" fmla="*/ 1487055 w 1899612"/>
                      <a:gd name="connsiteY16" fmla="*/ 711200 h 886691"/>
                      <a:gd name="connsiteX17" fmla="*/ 1437794 w 1899612"/>
                      <a:gd name="connsiteY17" fmla="*/ 689648 h 886691"/>
                      <a:gd name="connsiteX18" fmla="*/ 1351588 w 1899612"/>
                      <a:gd name="connsiteY18" fmla="*/ 683491 h 886691"/>
                      <a:gd name="connsiteX19" fmla="*/ 1296170 w 1899612"/>
                      <a:gd name="connsiteY19" fmla="*/ 683491 h 886691"/>
                      <a:gd name="connsiteX20" fmla="*/ 1228436 w 1899612"/>
                      <a:gd name="connsiteY20" fmla="*/ 695806 h 886691"/>
                      <a:gd name="connsiteX21" fmla="*/ 1185333 w 1899612"/>
                      <a:gd name="connsiteY21" fmla="*/ 705042 h 886691"/>
                      <a:gd name="connsiteX22" fmla="*/ 1176097 w 1899612"/>
                      <a:gd name="connsiteY22" fmla="*/ 705042 h 886691"/>
                      <a:gd name="connsiteX23" fmla="*/ 1169939 w 1899612"/>
                      <a:gd name="connsiteY23" fmla="*/ 686570 h 886691"/>
                      <a:gd name="connsiteX24" fmla="*/ 1151467 w 1899612"/>
                      <a:gd name="connsiteY24" fmla="*/ 680412 h 886691"/>
                      <a:gd name="connsiteX25" fmla="*/ 1120679 w 1899612"/>
                      <a:gd name="connsiteY25" fmla="*/ 689648 h 886691"/>
                      <a:gd name="connsiteX26" fmla="*/ 1071418 w 1899612"/>
                      <a:gd name="connsiteY26" fmla="*/ 671176 h 886691"/>
                      <a:gd name="connsiteX27" fmla="*/ 1052945 w 1899612"/>
                      <a:gd name="connsiteY27" fmla="*/ 661939 h 886691"/>
                      <a:gd name="connsiteX28" fmla="*/ 1028315 w 1899612"/>
                      <a:gd name="connsiteY28" fmla="*/ 668097 h 886691"/>
                      <a:gd name="connsiteX29" fmla="*/ 985212 w 1899612"/>
                      <a:gd name="connsiteY29" fmla="*/ 665018 h 886691"/>
                      <a:gd name="connsiteX30" fmla="*/ 960582 w 1899612"/>
                      <a:gd name="connsiteY30" fmla="*/ 661939 h 886691"/>
                      <a:gd name="connsiteX31" fmla="*/ 945188 w 1899612"/>
                      <a:gd name="connsiteY31" fmla="*/ 674254 h 886691"/>
                      <a:gd name="connsiteX32" fmla="*/ 923636 w 1899612"/>
                      <a:gd name="connsiteY32" fmla="*/ 680412 h 886691"/>
                      <a:gd name="connsiteX33" fmla="*/ 892848 w 1899612"/>
                      <a:gd name="connsiteY33" fmla="*/ 658860 h 886691"/>
                      <a:gd name="connsiteX34" fmla="*/ 880533 w 1899612"/>
                      <a:gd name="connsiteY34" fmla="*/ 640388 h 886691"/>
                      <a:gd name="connsiteX35" fmla="*/ 871297 w 1899612"/>
                      <a:gd name="connsiteY35" fmla="*/ 640388 h 886691"/>
                      <a:gd name="connsiteX36" fmla="*/ 865139 w 1899612"/>
                      <a:gd name="connsiteY36" fmla="*/ 655782 h 886691"/>
                      <a:gd name="connsiteX37" fmla="*/ 840509 w 1899612"/>
                      <a:gd name="connsiteY37" fmla="*/ 674254 h 886691"/>
                      <a:gd name="connsiteX38" fmla="*/ 825115 w 1899612"/>
                      <a:gd name="connsiteY38" fmla="*/ 680412 h 886691"/>
                      <a:gd name="connsiteX39" fmla="*/ 825115 w 1899612"/>
                      <a:gd name="connsiteY39" fmla="*/ 665018 h 886691"/>
                      <a:gd name="connsiteX40" fmla="*/ 822036 w 1899612"/>
                      <a:gd name="connsiteY40" fmla="*/ 640388 h 886691"/>
                      <a:gd name="connsiteX41" fmla="*/ 797406 w 1899612"/>
                      <a:gd name="connsiteY41" fmla="*/ 624994 h 886691"/>
                      <a:gd name="connsiteX42" fmla="*/ 769697 w 1899612"/>
                      <a:gd name="connsiteY42" fmla="*/ 618836 h 886691"/>
                      <a:gd name="connsiteX43" fmla="*/ 720436 w 1899612"/>
                      <a:gd name="connsiteY43" fmla="*/ 606521 h 886691"/>
                      <a:gd name="connsiteX44" fmla="*/ 677333 w 1899612"/>
                      <a:gd name="connsiteY44" fmla="*/ 594206 h 886691"/>
                      <a:gd name="connsiteX45" fmla="*/ 640388 w 1899612"/>
                      <a:gd name="connsiteY45" fmla="*/ 575733 h 886691"/>
                      <a:gd name="connsiteX46" fmla="*/ 606521 w 1899612"/>
                      <a:gd name="connsiteY46" fmla="*/ 548024 h 886691"/>
                      <a:gd name="connsiteX47" fmla="*/ 575733 w 1899612"/>
                      <a:gd name="connsiteY47" fmla="*/ 532630 h 886691"/>
                      <a:gd name="connsiteX48" fmla="*/ 544945 w 1899612"/>
                      <a:gd name="connsiteY48" fmla="*/ 532630 h 886691"/>
                      <a:gd name="connsiteX49" fmla="*/ 520315 w 1899612"/>
                      <a:gd name="connsiteY49" fmla="*/ 529551 h 886691"/>
                      <a:gd name="connsiteX50" fmla="*/ 492606 w 1899612"/>
                      <a:gd name="connsiteY50" fmla="*/ 508000 h 886691"/>
                      <a:gd name="connsiteX51" fmla="*/ 467976 w 1899612"/>
                      <a:gd name="connsiteY51" fmla="*/ 498764 h 886691"/>
                      <a:gd name="connsiteX52" fmla="*/ 440267 w 1899612"/>
                      <a:gd name="connsiteY52" fmla="*/ 495685 h 886691"/>
                      <a:gd name="connsiteX53" fmla="*/ 415636 w 1899612"/>
                      <a:gd name="connsiteY53" fmla="*/ 504921 h 886691"/>
                      <a:gd name="connsiteX54" fmla="*/ 406400 w 1899612"/>
                      <a:gd name="connsiteY54" fmla="*/ 504921 h 886691"/>
                      <a:gd name="connsiteX55" fmla="*/ 400242 w 1899612"/>
                      <a:gd name="connsiteY55" fmla="*/ 486448 h 886691"/>
                      <a:gd name="connsiteX56" fmla="*/ 381770 w 1899612"/>
                      <a:gd name="connsiteY56" fmla="*/ 431030 h 886691"/>
                      <a:gd name="connsiteX57" fmla="*/ 381770 w 1899612"/>
                      <a:gd name="connsiteY57" fmla="*/ 412557 h 886691"/>
                      <a:gd name="connsiteX58" fmla="*/ 369455 w 1899612"/>
                      <a:gd name="connsiteY58" fmla="*/ 369454 h 886691"/>
                      <a:gd name="connsiteX59" fmla="*/ 344824 w 1899612"/>
                      <a:gd name="connsiteY59" fmla="*/ 307879 h 886691"/>
                      <a:gd name="connsiteX60" fmla="*/ 320194 w 1899612"/>
                      <a:gd name="connsiteY60" fmla="*/ 246303 h 886691"/>
                      <a:gd name="connsiteX61" fmla="*/ 304800 w 1899612"/>
                      <a:gd name="connsiteY61" fmla="*/ 203200 h 886691"/>
                      <a:gd name="connsiteX62" fmla="*/ 286327 w 1899612"/>
                      <a:gd name="connsiteY62" fmla="*/ 163176 h 886691"/>
                      <a:gd name="connsiteX63" fmla="*/ 261697 w 1899612"/>
                      <a:gd name="connsiteY63" fmla="*/ 123151 h 886691"/>
                      <a:gd name="connsiteX64" fmla="*/ 212436 w 1899612"/>
                      <a:gd name="connsiteY64" fmla="*/ 92364 h 886691"/>
                      <a:gd name="connsiteX65" fmla="*/ 178570 w 1899612"/>
                      <a:gd name="connsiteY65" fmla="*/ 67733 h 886691"/>
                      <a:gd name="connsiteX66" fmla="*/ 135467 w 1899612"/>
                      <a:gd name="connsiteY66" fmla="*/ 40024 h 886691"/>
                      <a:gd name="connsiteX67" fmla="*/ 92364 w 1899612"/>
                      <a:gd name="connsiteY67" fmla="*/ 15394 h 886691"/>
                      <a:gd name="connsiteX68" fmla="*/ 61576 w 1899612"/>
                      <a:gd name="connsiteY68" fmla="*/ 12315 h 886691"/>
                      <a:gd name="connsiteX69" fmla="*/ 21552 w 1899612"/>
                      <a:gd name="connsiteY69" fmla="*/ 12315 h 886691"/>
                      <a:gd name="connsiteX70" fmla="*/ 0 w 1899612"/>
                      <a:gd name="connsiteY70" fmla="*/ 0 h 886691"/>
                      <a:gd name="connsiteX0" fmla="*/ 1878060 w 1878060"/>
                      <a:gd name="connsiteY0" fmla="*/ 874446 h 874446"/>
                      <a:gd name="connsiteX1" fmla="*/ 1819563 w 1878060"/>
                      <a:gd name="connsiteY1" fmla="*/ 859052 h 874446"/>
                      <a:gd name="connsiteX2" fmla="*/ 1785696 w 1878060"/>
                      <a:gd name="connsiteY2" fmla="*/ 843658 h 874446"/>
                      <a:gd name="connsiteX3" fmla="*/ 1770303 w 1878060"/>
                      <a:gd name="connsiteY3" fmla="*/ 831343 h 874446"/>
                      <a:gd name="connsiteX4" fmla="*/ 1724121 w 1878060"/>
                      <a:gd name="connsiteY4" fmla="*/ 831343 h 874446"/>
                      <a:gd name="connsiteX5" fmla="*/ 1708727 w 1878060"/>
                      <a:gd name="connsiteY5" fmla="*/ 822106 h 874446"/>
                      <a:gd name="connsiteX6" fmla="*/ 1665624 w 1878060"/>
                      <a:gd name="connsiteY6" fmla="*/ 831343 h 874446"/>
                      <a:gd name="connsiteX7" fmla="*/ 1622521 w 1878060"/>
                      <a:gd name="connsiteY7" fmla="*/ 831343 h 874446"/>
                      <a:gd name="connsiteX8" fmla="*/ 1588654 w 1878060"/>
                      <a:gd name="connsiteY8" fmla="*/ 831343 h 874446"/>
                      <a:gd name="connsiteX9" fmla="*/ 1554787 w 1878060"/>
                      <a:gd name="connsiteY9" fmla="*/ 812870 h 874446"/>
                      <a:gd name="connsiteX10" fmla="*/ 1533236 w 1878060"/>
                      <a:gd name="connsiteY10" fmla="*/ 797476 h 874446"/>
                      <a:gd name="connsiteX11" fmla="*/ 1530157 w 1878060"/>
                      <a:gd name="connsiteY11" fmla="*/ 782082 h 874446"/>
                      <a:gd name="connsiteX12" fmla="*/ 1530157 w 1878060"/>
                      <a:gd name="connsiteY12" fmla="*/ 766688 h 874446"/>
                      <a:gd name="connsiteX13" fmla="*/ 1536315 w 1878060"/>
                      <a:gd name="connsiteY13" fmla="*/ 751294 h 874446"/>
                      <a:gd name="connsiteX14" fmla="*/ 1542472 w 1878060"/>
                      <a:gd name="connsiteY14" fmla="*/ 732822 h 874446"/>
                      <a:gd name="connsiteX15" fmla="*/ 1524000 w 1878060"/>
                      <a:gd name="connsiteY15" fmla="*/ 717428 h 874446"/>
                      <a:gd name="connsiteX16" fmla="*/ 1465503 w 1878060"/>
                      <a:gd name="connsiteY16" fmla="*/ 698955 h 874446"/>
                      <a:gd name="connsiteX17" fmla="*/ 1416242 w 1878060"/>
                      <a:gd name="connsiteY17" fmla="*/ 677403 h 874446"/>
                      <a:gd name="connsiteX18" fmla="*/ 1330036 w 1878060"/>
                      <a:gd name="connsiteY18" fmla="*/ 671246 h 874446"/>
                      <a:gd name="connsiteX19" fmla="*/ 1274618 w 1878060"/>
                      <a:gd name="connsiteY19" fmla="*/ 671246 h 874446"/>
                      <a:gd name="connsiteX20" fmla="*/ 1206884 w 1878060"/>
                      <a:gd name="connsiteY20" fmla="*/ 683561 h 874446"/>
                      <a:gd name="connsiteX21" fmla="*/ 1163781 w 1878060"/>
                      <a:gd name="connsiteY21" fmla="*/ 692797 h 874446"/>
                      <a:gd name="connsiteX22" fmla="*/ 1154545 w 1878060"/>
                      <a:gd name="connsiteY22" fmla="*/ 692797 h 874446"/>
                      <a:gd name="connsiteX23" fmla="*/ 1148387 w 1878060"/>
                      <a:gd name="connsiteY23" fmla="*/ 674325 h 874446"/>
                      <a:gd name="connsiteX24" fmla="*/ 1129915 w 1878060"/>
                      <a:gd name="connsiteY24" fmla="*/ 668167 h 874446"/>
                      <a:gd name="connsiteX25" fmla="*/ 1099127 w 1878060"/>
                      <a:gd name="connsiteY25" fmla="*/ 677403 h 874446"/>
                      <a:gd name="connsiteX26" fmla="*/ 1049866 w 1878060"/>
                      <a:gd name="connsiteY26" fmla="*/ 658931 h 874446"/>
                      <a:gd name="connsiteX27" fmla="*/ 1031393 w 1878060"/>
                      <a:gd name="connsiteY27" fmla="*/ 649694 h 874446"/>
                      <a:gd name="connsiteX28" fmla="*/ 1006763 w 1878060"/>
                      <a:gd name="connsiteY28" fmla="*/ 655852 h 874446"/>
                      <a:gd name="connsiteX29" fmla="*/ 963660 w 1878060"/>
                      <a:gd name="connsiteY29" fmla="*/ 652773 h 874446"/>
                      <a:gd name="connsiteX30" fmla="*/ 939030 w 1878060"/>
                      <a:gd name="connsiteY30" fmla="*/ 649694 h 874446"/>
                      <a:gd name="connsiteX31" fmla="*/ 923636 w 1878060"/>
                      <a:gd name="connsiteY31" fmla="*/ 662009 h 874446"/>
                      <a:gd name="connsiteX32" fmla="*/ 902084 w 1878060"/>
                      <a:gd name="connsiteY32" fmla="*/ 668167 h 874446"/>
                      <a:gd name="connsiteX33" fmla="*/ 871296 w 1878060"/>
                      <a:gd name="connsiteY33" fmla="*/ 646615 h 874446"/>
                      <a:gd name="connsiteX34" fmla="*/ 858981 w 1878060"/>
                      <a:gd name="connsiteY34" fmla="*/ 628143 h 874446"/>
                      <a:gd name="connsiteX35" fmla="*/ 849745 w 1878060"/>
                      <a:gd name="connsiteY35" fmla="*/ 628143 h 874446"/>
                      <a:gd name="connsiteX36" fmla="*/ 843587 w 1878060"/>
                      <a:gd name="connsiteY36" fmla="*/ 643537 h 874446"/>
                      <a:gd name="connsiteX37" fmla="*/ 818957 w 1878060"/>
                      <a:gd name="connsiteY37" fmla="*/ 662009 h 874446"/>
                      <a:gd name="connsiteX38" fmla="*/ 803563 w 1878060"/>
                      <a:gd name="connsiteY38" fmla="*/ 668167 h 874446"/>
                      <a:gd name="connsiteX39" fmla="*/ 803563 w 1878060"/>
                      <a:gd name="connsiteY39" fmla="*/ 652773 h 874446"/>
                      <a:gd name="connsiteX40" fmla="*/ 800484 w 1878060"/>
                      <a:gd name="connsiteY40" fmla="*/ 628143 h 874446"/>
                      <a:gd name="connsiteX41" fmla="*/ 775854 w 1878060"/>
                      <a:gd name="connsiteY41" fmla="*/ 612749 h 874446"/>
                      <a:gd name="connsiteX42" fmla="*/ 748145 w 1878060"/>
                      <a:gd name="connsiteY42" fmla="*/ 606591 h 874446"/>
                      <a:gd name="connsiteX43" fmla="*/ 698884 w 1878060"/>
                      <a:gd name="connsiteY43" fmla="*/ 594276 h 874446"/>
                      <a:gd name="connsiteX44" fmla="*/ 655781 w 1878060"/>
                      <a:gd name="connsiteY44" fmla="*/ 581961 h 874446"/>
                      <a:gd name="connsiteX45" fmla="*/ 618836 w 1878060"/>
                      <a:gd name="connsiteY45" fmla="*/ 563488 h 874446"/>
                      <a:gd name="connsiteX46" fmla="*/ 584969 w 1878060"/>
                      <a:gd name="connsiteY46" fmla="*/ 535779 h 874446"/>
                      <a:gd name="connsiteX47" fmla="*/ 554181 w 1878060"/>
                      <a:gd name="connsiteY47" fmla="*/ 520385 h 874446"/>
                      <a:gd name="connsiteX48" fmla="*/ 523393 w 1878060"/>
                      <a:gd name="connsiteY48" fmla="*/ 520385 h 874446"/>
                      <a:gd name="connsiteX49" fmla="*/ 498763 w 1878060"/>
                      <a:gd name="connsiteY49" fmla="*/ 517306 h 874446"/>
                      <a:gd name="connsiteX50" fmla="*/ 471054 w 1878060"/>
                      <a:gd name="connsiteY50" fmla="*/ 495755 h 874446"/>
                      <a:gd name="connsiteX51" fmla="*/ 446424 w 1878060"/>
                      <a:gd name="connsiteY51" fmla="*/ 486519 h 874446"/>
                      <a:gd name="connsiteX52" fmla="*/ 418715 w 1878060"/>
                      <a:gd name="connsiteY52" fmla="*/ 483440 h 874446"/>
                      <a:gd name="connsiteX53" fmla="*/ 394084 w 1878060"/>
                      <a:gd name="connsiteY53" fmla="*/ 492676 h 874446"/>
                      <a:gd name="connsiteX54" fmla="*/ 384848 w 1878060"/>
                      <a:gd name="connsiteY54" fmla="*/ 492676 h 874446"/>
                      <a:gd name="connsiteX55" fmla="*/ 378690 w 1878060"/>
                      <a:gd name="connsiteY55" fmla="*/ 474203 h 874446"/>
                      <a:gd name="connsiteX56" fmla="*/ 360218 w 1878060"/>
                      <a:gd name="connsiteY56" fmla="*/ 418785 h 874446"/>
                      <a:gd name="connsiteX57" fmla="*/ 360218 w 1878060"/>
                      <a:gd name="connsiteY57" fmla="*/ 400312 h 874446"/>
                      <a:gd name="connsiteX58" fmla="*/ 347903 w 1878060"/>
                      <a:gd name="connsiteY58" fmla="*/ 357209 h 874446"/>
                      <a:gd name="connsiteX59" fmla="*/ 323272 w 1878060"/>
                      <a:gd name="connsiteY59" fmla="*/ 295634 h 874446"/>
                      <a:gd name="connsiteX60" fmla="*/ 298642 w 1878060"/>
                      <a:gd name="connsiteY60" fmla="*/ 234058 h 874446"/>
                      <a:gd name="connsiteX61" fmla="*/ 283248 w 1878060"/>
                      <a:gd name="connsiteY61" fmla="*/ 190955 h 874446"/>
                      <a:gd name="connsiteX62" fmla="*/ 264775 w 1878060"/>
                      <a:gd name="connsiteY62" fmla="*/ 150931 h 874446"/>
                      <a:gd name="connsiteX63" fmla="*/ 240145 w 1878060"/>
                      <a:gd name="connsiteY63" fmla="*/ 110906 h 874446"/>
                      <a:gd name="connsiteX64" fmla="*/ 190884 w 1878060"/>
                      <a:gd name="connsiteY64" fmla="*/ 80119 h 874446"/>
                      <a:gd name="connsiteX65" fmla="*/ 157018 w 1878060"/>
                      <a:gd name="connsiteY65" fmla="*/ 55488 h 874446"/>
                      <a:gd name="connsiteX66" fmla="*/ 113915 w 1878060"/>
                      <a:gd name="connsiteY66" fmla="*/ 27779 h 874446"/>
                      <a:gd name="connsiteX67" fmla="*/ 70812 w 1878060"/>
                      <a:gd name="connsiteY67" fmla="*/ 3149 h 874446"/>
                      <a:gd name="connsiteX68" fmla="*/ 40024 w 1878060"/>
                      <a:gd name="connsiteY68" fmla="*/ 70 h 874446"/>
                      <a:gd name="connsiteX69" fmla="*/ 0 w 1878060"/>
                      <a:gd name="connsiteY69" fmla="*/ 70 h 874446"/>
                      <a:gd name="connsiteX0" fmla="*/ 1838036 w 1838036"/>
                      <a:gd name="connsiteY0" fmla="*/ 874403 h 874403"/>
                      <a:gd name="connsiteX1" fmla="*/ 1779539 w 1838036"/>
                      <a:gd name="connsiteY1" fmla="*/ 859009 h 874403"/>
                      <a:gd name="connsiteX2" fmla="*/ 1745672 w 1838036"/>
                      <a:gd name="connsiteY2" fmla="*/ 843615 h 874403"/>
                      <a:gd name="connsiteX3" fmla="*/ 1730279 w 1838036"/>
                      <a:gd name="connsiteY3" fmla="*/ 831300 h 874403"/>
                      <a:gd name="connsiteX4" fmla="*/ 1684097 w 1838036"/>
                      <a:gd name="connsiteY4" fmla="*/ 831300 h 874403"/>
                      <a:gd name="connsiteX5" fmla="*/ 1668703 w 1838036"/>
                      <a:gd name="connsiteY5" fmla="*/ 822063 h 874403"/>
                      <a:gd name="connsiteX6" fmla="*/ 1625600 w 1838036"/>
                      <a:gd name="connsiteY6" fmla="*/ 831300 h 874403"/>
                      <a:gd name="connsiteX7" fmla="*/ 1582497 w 1838036"/>
                      <a:gd name="connsiteY7" fmla="*/ 831300 h 874403"/>
                      <a:gd name="connsiteX8" fmla="*/ 1548630 w 1838036"/>
                      <a:gd name="connsiteY8" fmla="*/ 831300 h 874403"/>
                      <a:gd name="connsiteX9" fmla="*/ 1514763 w 1838036"/>
                      <a:gd name="connsiteY9" fmla="*/ 812827 h 874403"/>
                      <a:gd name="connsiteX10" fmla="*/ 1493212 w 1838036"/>
                      <a:gd name="connsiteY10" fmla="*/ 797433 h 874403"/>
                      <a:gd name="connsiteX11" fmla="*/ 1490133 w 1838036"/>
                      <a:gd name="connsiteY11" fmla="*/ 782039 h 874403"/>
                      <a:gd name="connsiteX12" fmla="*/ 1490133 w 1838036"/>
                      <a:gd name="connsiteY12" fmla="*/ 766645 h 874403"/>
                      <a:gd name="connsiteX13" fmla="*/ 1496291 w 1838036"/>
                      <a:gd name="connsiteY13" fmla="*/ 751251 h 874403"/>
                      <a:gd name="connsiteX14" fmla="*/ 1502448 w 1838036"/>
                      <a:gd name="connsiteY14" fmla="*/ 732779 h 874403"/>
                      <a:gd name="connsiteX15" fmla="*/ 1483976 w 1838036"/>
                      <a:gd name="connsiteY15" fmla="*/ 717385 h 874403"/>
                      <a:gd name="connsiteX16" fmla="*/ 1425479 w 1838036"/>
                      <a:gd name="connsiteY16" fmla="*/ 698912 h 874403"/>
                      <a:gd name="connsiteX17" fmla="*/ 1376218 w 1838036"/>
                      <a:gd name="connsiteY17" fmla="*/ 677360 h 874403"/>
                      <a:gd name="connsiteX18" fmla="*/ 1290012 w 1838036"/>
                      <a:gd name="connsiteY18" fmla="*/ 671203 h 874403"/>
                      <a:gd name="connsiteX19" fmla="*/ 1234594 w 1838036"/>
                      <a:gd name="connsiteY19" fmla="*/ 671203 h 874403"/>
                      <a:gd name="connsiteX20" fmla="*/ 1166860 w 1838036"/>
                      <a:gd name="connsiteY20" fmla="*/ 683518 h 874403"/>
                      <a:gd name="connsiteX21" fmla="*/ 1123757 w 1838036"/>
                      <a:gd name="connsiteY21" fmla="*/ 692754 h 874403"/>
                      <a:gd name="connsiteX22" fmla="*/ 1114521 w 1838036"/>
                      <a:gd name="connsiteY22" fmla="*/ 692754 h 874403"/>
                      <a:gd name="connsiteX23" fmla="*/ 1108363 w 1838036"/>
                      <a:gd name="connsiteY23" fmla="*/ 674282 h 874403"/>
                      <a:gd name="connsiteX24" fmla="*/ 1089891 w 1838036"/>
                      <a:gd name="connsiteY24" fmla="*/ 668124 h 874403"/>
                      <a:gd name="connsiteX25" fmla="*/ 1059103 w 1838036"/>
                      <a:gd name="connsiteY25" fmla="*/ 677360 h 874403"/>
                      <a:gd name="connsiteX26" fmla="*/ 1009842 w 1838036"/>
                      <a:gd name="connsiteY26" fmla="*/ 658888 h 874403"/>
                      <a:gd name="connsiteX27" fmla="*/ 991369 w 1838036"/>
                      <a:gd name="connsiteY27" fmla="*/ 649651 h 874403"/>
                      <a:gd name="connsiteX28" fmla="*/ 966739 w 1838036"/>
                      <a:gd name="connsiteY28" fmla="*/ 655809 h 874403"/>
                      <a:gd name="connsiteX29" fmla="*/ 923636 w 1838036"/>
                      <a:gd name="connsiteY29" fmla="*/ 652730 h 874403"/>
                      <a:gd name="connsiteX30" fmla="*/ 899006 w 1838036"/>
                      <a:gd name="connsiteY30" fmla="*/ 649651 h 874403"/>
                      <a:gd name="connsiteX31" fmla="*/ 883612 w 1838036"/>
                      <a:gd name="connsiteY31" fmla="*/ 661966 h 874403"/>
                      <a:gd name="connsiteX32" fmla="*/ 862060 w 1838036"/>
                      <a:gd name="connsiteY32" fmla="*/ 668124 h 874403"/>
                      <a:gd name="connsiteX33" fmla="*/ 831272 w 1838036"/>
                      <a:gd name="connsiteY33" fmla="*/ 646572 h 874403"/>
                      <a:gd name="connsiteX34" fmla="*/ 818957 w 1838036"/>
                      <a:gd name="connsiteY34" fmla="*/ 628100 h 874403"/>
                      <a:gd name="connsiteX35" fmla="*/ 809721 w 1838036"/>
                      <a:gd name="connsiteY35" fmla="*/ 628100 h 874403"/>
                      <a:gd name="connsiteX36" fmla="*/ 803563 w 1838036"/>
                      <a:gd name="connsiteY36" fmla="*/ 643494 h 874403"/>
                      <a:gd name="connsiteX37" fmla="*/ 778933 w 1838036"/>
                      <a:gd name="connsiteY37" fmla="*/ 661966 h 874403"/>
                      <a:gd name="connsiteX38" fmla="*/ 763539 w 1838036"/>
                      <a:gd name="connsiteY38" fmla="*/ 668124 h 874403"/>
                      <a:gd name="connsiteX39" fmla="*/ 763539 w 1838036"/>
                      <a:gd name="connsiteY39" fmla="*/ 652730 h 874403"/>
                      <a:gd name="connsiteX40" fmla="*/ 760460 w 1838036"/>
                      <a:gd name="connsiteY40" fmla="*/ 628100 h 874403"/>
                      <a:gd name="connsiteX41" fmla="*/ 735830 w 1838036"/>
                      <a:gd name="connsiteY41" fmla="*/ 612706 h 874403"/>
                      <a:gd name="connsiteX42" fmla="*/ 708121 w 1838036"/>
                      <a:gd name="connsiteY42" fmla="*/ 606548 h 874403"/>
                      <a:gd name="connsiteX43" fmla="*/ 658860 w 1838036"/>
                      <a:gd name="connsiteY43" fmla="*/ 594233 h 874403"/>
                      <a:gd name="connsiteX44" fmla="*/ 615757 w 1838036"/>
                      <a:gd name="connsiteY44" fmla="*/ 581918 h 874403"/>
                      <a:gd name="connsiteX45" fmla="*/ 578812 w 1838036"/>
                      <a:gd name="connsiteY45" fmla="*/ 563445 h 874403"/>
                      <a:gd name="connsiteX46" fmla="*/ 544945 w 1838036"/>
                      <a:gd name="connsiteY46" fmla="*/ 535736 h 874403"/>
                      <a:gd name="connsiteX47" fmla="*/ 514157 w 1838036"/>
                      <a:gd name="connsiteY47" fmla="*/ 520342 h 874403"/>
                      <a:gd name="connsiteX48" fmla="*/ 483369 w 1838036"/>
                      <a:gd name="connsiteY48" fmla="*/ 520342 h 874403"/>
                      <a:gd name="connsiteX49" fmla="*/ 458739 w 1838036"/>
                      <a:gd name="connsiteY49" fmla="*/ 517263 h 874403"/>
                      <a:gd name="connsiteX50" fmla="*/ 431030 w 1838036"/>
                      <a:gd name="connsiteY50" fmla="*/ 495712 h 874403"/>
                      <a:gd name="connsiteX51" fmla="*/ 406400 w 1838036"/>
                      <a:gd name="connsiteY51" fmla="*/ 486476 h 874403"/>
                      <a:gd name="connsiteX52" fmla="*/ 378691 w 1838036"/>
                      <a:gd name="connsiteY52" fmla="*/ 483397 h 874403"/>
                      <a:gd name="connsiteX53" fmla="*/ 354060 w 1838036"/>
                      <a:gd name="connsiteY53" fmla="*/ 492633 h 874403"/>
                      <a:gd name="connsiteX54" fmla="*/ 344824 w 1838036"/>
                      <a:gd name="connsiteY54" fmla="*/ 492633 h 874403"/>
                      <a:gd name="connsiteX55" fmla="*/ 338666 w 1838036"/>
                      <a:gd name="connsiteY55" fmla="*/ 474160 h 874403"/>
                      <a:gd name="connsiteX56" fmla="*/ 320194 w 1838036"/>
                      <a:gd name="connsiteY56" fmla="*/ 418742 h 874403"/>
                      <a:gd name="connsiteX57" fmla="*/ 320194 w 1838036"/>
                      <a:gd name="connsiteY57" fmla="*/ 400269 h 874403"/>
                      <a:gd name="connsiteX58" fmla="*/ 307879 w 1838036"/>
                      <a:gd name="connsiteY58" fmla="*/ 357166 h 874403"/>
                      <a:gd name="connsiteX59" fmla="*/ 283248 w 1838036"/>
                      <a:gd name="connsiteY59" fmla="*/ 295591 h 874403"/>
                      <a:gd name="connsiteX60" fmla="*/ 258618 w 1838036"/>
                      <a:gd name="connsiteY60" fmla="*/ 234015 h 874403"/>
                      <a:gd name="connsiteX61" fmla="*/ 243224 w 1838036"/>
                      <a:gd name="connsiteY61" fmla="*/ 190912 h 874403"/>
                      <a:gd name="connsiteX62" fmla="*/ 224751 w 1838036"/>
                      <a:gd name="connsiteY62" fmla="*/ 150888 h 874403"/>
                      <a:gd name="connsiteX63" fmla="*/ 200121 w 1838036"/>
                      <a:gd name="connsiteY63" fmla="*/ 110863 h 874403"/>
                      <a:gd name="connsiteX64" fmla="*/ 150860 w 1838036"/>
                      <a:gd name="connsiteY64" fmla="*/ 80076 h 874403"/>
                      <a:gd name="connsiteX65" fmla="*/ 116994 w 1838036"/>
                      <a:gd name="connsiteY65" fmla="*/ 55445 h 874403"/>
                      <a:gd name="connsiteX66" fmla="*/ 73891 w 1838036"/>
                      <a:gd name="connsiteY66" fmla="*/ 27736 h 874403"/>
                      <a:gd name="connsiteX67" fmla="*/ 30788 w 1838036"/>
                      <a:gd name="connsiteY67" fmla="*/ 3106 h 874403"/>
                      <a:gd name="connsiteX68" fmla="*/ 0 w 1838036"/>
                      <a:gd name="connsiteY68" fmla="*/ 27 h 874403"/>
                      <a:gd name="connsiteX0" fmla="*/ 1807248 w 1807248"/>
                      <a:gd name="connsiteY0" fmla="*/ 871297 h 871297"/>
                      <a:gd name="connsiteX1" fmla="*/ 1748751 w 1807248"/>
                      <a:gd name="connsiteY1" fmla="*/ 855903 h 871297"/>
                      <a:gd name="connsiteX2" fmla="*/ 1714884 w 1807248"/>
                      <a:gd name="connsiteY2" fmla="*/ 840509 h 871297"/>
                      <a:gd name="connsiteX3" fmla="*/ 1699491 w 1807248"/>
                      <a:gd name="connsiteY3" fmla="*/ 828194 h 871297"/>
                      <a:gd name="connsiteX4" fmla="*/ 1653309 w 1807248"/>
                      <a:gd name="connsiteY4" fmla="*/ 828194 h 871297"/>
                      <a:gd name="connsiteX5" fmla="*/ 1637915 w 1807248"/>
                      <a:gd name="connsiteY5" fmla="*/ 818957 h 871297"/>
                      <a:gd name="connsiteX6" fmla="*/ 1594812 w 1807248"/>
                      <a:gd name="connsiteY6" fmla="*/ 828194 h 871297"/>
                      <a:gd name="connsiteX7" fmla="*/ 1551709 w 1807248"/>
                      <a:gd name="connsiteY7" fmla="*/ 828194 h 871297"/>
                      <a:gd name="connsiteX8" fmla="*/ 1517842 w 1807248"/>
                      <a:gd name="connsiteY8" fmla="*/ 828194 h 871297"/>
                      <a:gd name="connsiteX9" fmla="*/ 1483975 w 1807248"/>
                      <a:gd name="connsiteY9" fmla="*/ 809721 h 871297"/>
                      <a:gd name="connsiteX10" fmla="*/ 1462424 w 1807248"/>
                      <a:gd name="connsiteY10" fmla="*/ 794327 h 871297"/>
                      <a:gd name="connsiteX11" fmla="*/ 1459345 w 1807248"/>
                      <a:gd name="connsiteY11" fmla="*/ 778933 h 871297"/>
                      <a:gd name="connsiteX12" fmla="*/ 1459345 w 1807248"/>
                      <a:gd name="connsiteY12" fmla="*/ 763539 h 871297"/>
                      <a:gd name="connsiteX13" fmla="*/ 1465503 w 1807248"/>
                      <a:gd name="connsiteY13" fmla="*/ 748145 h 871297"/>
                      <a:gd name="connsiteX14" fmla="*/ 1471660 w 1807248"/>
                      <a:gd name="connsiteY14" fmla="*/ 729673 h 871297"/>
                      <a:gd name="connsiteX15" fmla="*/ 1453188 w 1807248"/>
                      <a:gd name="connsiteY15" fmla="*/ 714279 h 871297"/>
                      <a:gd name="connsiteX16" fmla="*/ 1394691 w 1807248"/>
                      <a:gd name="connsiteY16" fmla="*/ 695806 h 871297"/>
                      <a:gd name="connsiteX17" fmla="*/ 1345430 w 1807248"/>
                      <a:gd name="connsiteY17" fmla="*/ 674254 h 871297"/>
                      <a:gd name="connsiteX18" fmla="*/ 1259224 w 1807248"/>
                      <a:gd name="connsiteY18" fmla="*/ 668097 h 871297"/>
                      <a:gd name="connsiteX19" fmla="*/ 1203806 w 1807248"/>
                      <a:gd name="connsiteY19" fmla="*/ 668097 h 871297"/>
                      <a:gd name="connsiteX20" fmla="*/ 1136072 w 1807248"/>
                      <a:gd name="connsiteY20" fmla="*/ 680412 h 871297"/>
                      <a:gd name="connsiteX21" fmla="*/ 1092969 w 1807248"/>
                      <a:gd name="connsiteY21" fmla="*/ 689648 h 871297"/>
                      <a:gd name="connsiteX22" fmla="*/ 1083733 w 1807248"/>
                      <a:gd name="connsiteY22" fmla="*/ 689648 h 871297"/>
                      <a:gd name="connsiteX23" fmla="*/ 1077575 w 1807248"/>
                      <a:gd name="connsiteY23" fmla="*/ 671176 h 871297"/>
                      <a:gd name="connsiteX24" fmla="*/ 1059103 w 1807248"/>
                      <a:gd name="connsiteY24" fmla="*/ 665018 h 871297"/>
                      <a:gd name="connsiteX25" fmla="*/ 1028315 w 1807248"/>
                      <a:gd name="connsiteY25" fmla="*/ 674254 h 871297"/>
                      <a:gd name="connsiteX26" fmla="*/ 979054 w 1807248"/>
                      <a:gd name="connsiteY26" fmla="*/ 655782 h 871297"/>
                      <a:gd name="connsiteX27" fmla="*/ 960581 w 1807248"/>
                      <a:gd name="connsiteY27" fmla="*/ 646545 h 871297"/>
                      <a:gd name="connsiteX28" fmla="*/ 935951 w 1807248"/>
                      <a:gd name="connsiteY28" fmla="*/ 652703 h 871297"/>
                      <a:gd name="connsiteX29" fmla="*/ 892848 w 1807248"/>
                      <a:gd name="connsiteY29" fmla="*/ 649624 h 871297"/>
                      <a:gd name="connsiteX30" fmla="*/ 868218 w 1807248"/>
                      <a:gd name="connsiteY30" fmla="*/ 646545 h 871297"/>
                      <a:gd name="connsiteX31" fmla="*/ 852824 w 1807248"/>
                      <a:gd name="connsiteY31" fmla="*/ 658860 h 871297"/>
                      <a:gd name="connsiteX32" fmla="*/ 831272 w 1807248"/>
                      <a:gd name="connsiteY32" fmla="*/ 665018 h 871297"/>
                      <a:gd name="connsiteX33" fmla="*/ 800484 w 1807248"/>
                      <a:gd name="connsiteY33" fmla="*/ 643466 h 871297"/>
                      <a:gd name="connsiteX34" fmla="*/ 788169 w 1807248"/>
                      <a:gd name="connsiteY34" fmla="*/ 624994 h 871297"/>
                      <a:gd name="connsiteX35" fmla="*/ 778933 w 1807248"/>
                      <a:gd name="connsiteY35" fmla="*/ 624994 h 871297"/>
                      <a:gd name="connsiteX36" fmla="*/ 772775 w 1807248"/>
                      <a:gd name="connsiteY36" fmla="*/ 640388 h 871297"/>
                      <a:gd name="connsiteX37" fmla="*/ 748145 w 1807248"/>
                      <a:gd name="connsiteY37" fmla="*/ 658860 h 871297"/>
                      <a:gd name="connsiteX38" fmla="*/ 732751 w 1807248"/>
                      <a:gd name="connsiteY38" fmla="*/ 665018 h 871297"/>
                      <a:gd name="connsiteX39" fmla="*/ 732751 w 1807248"/>
                      <a:gd name="connsiteY39" fmla="*/ 649624 h 871297"/>
                      <a:gd name="connsiteX40" fmla="*/ 729672 w 1807248"/>
                      <a:gd name="connsiteY40" fmla="*/ 624994 h 871297"/>
                      <a:gd name="connsiteX41" fmla="*/ 705042 w 1807248"/>
                      <a:gd name="connsiteY41" fmla="*/ 609600 h 871297"/>
                      <a:gd name="connsiteX42" fmla="*/ 677333 w 1807248"/>
                      <a:gd name="connsiteY42" fmla="*/ 603442 h 871297"/>
                      <a:gd name="connsiteX43" fmla="*/ 628072 w 1807248"/>
                      <a:gd name="connsiteY43" fmla="*/ 591127 h 871297"/>
                      <a:gd name="connsiteX44" fmla="*/ 584969 w 1807248"/>
                      <a:gd name="connsiteY44" fmla="*/ 578812 h 871297"/>
                      <a:gd name="connsiteX45" fmla="*/ 548024 w 1807248"/>
                      <a:gd name="connsiteY45" fmla="*/ 560339 h 871297"/>
                      <a:gd name="connsiteX46" fmla="*/ 514157 w 1807248"/>
                      <a:gd name="connsiteY46" fmla="*/ 532630 h 871297"/>
                      <a:gd name="connsiteX47" fmla="*/ 483369 w 1807248"/>
                      <a:gd name="connsiteY47" fmla="*/ 517236 h 871297"/>
                      <a:gd name="connsiteX48" fmla="*/ 452581 w 1807248"/>
                      <a:gd name="connsiteY48" fmla="*/ 517236 h 871297"/>
                      <a:gd name="connsiteX49" fmla="*/ 427951 w 1807248"/>
                      <a:gd name="connsiteY49" fmla="*/ 514157 h 871297"/>
                      <a:gd name="connsiteX50" fmla="*/ 400242 w 1807248"/>
                      <a:gd name="connsiteY50" fmla="*/ 492606 h 871297"/>
                      <a:gd name="connsiteX51" fmla="*/ 375612 w 1807248"/>
                      <a:gd name="connsiteY51" fmla="*/ 483370 h 871297"/>
                      <a:gd name="connsiteX52" fmla="*/ 347903 w 1807248"/>
                      <a:gd name="connsiteY52" fmla="*/ 480291 h 871297"/>
                      <a:gd name="connsiteX53" fmla="*/ 323272 w 1807248"/>
                      <a:gd name="connsiteY53" fmla="*/ 489527 h 871297"/>
                      <a:gd name="connsiteX54" fmla="*/ 314036 w 1807248"/>
                      <a:gd name="connsiteY54" fmla="*/ 489527 h 871297"/>
                      <a:gd name="connsiteX55" fmla="*/ 307878 w 1807248"/>
                      <a:gd name="connsiteY55" fmla="*/ 471054 h 871297"/>
                      <a:gd name="connsiteX56" fmla="*/ 289406 w 1807248"/>
                      <a:gd name="connsiteY56" fmla="*/ 415636 h 871297"/>
                      <a:gd name="connsiteX57" fmla="*/ 289406 w 1807248"/>
                      <a:gd name="connsiteY57" fmla="*/ 397163 h 871297"/>
                      <a:gd name="connsiteX58" fmla="*/ 277091 w 1807248"/>
                      <a:gd name="connsiteY58" fmla="*/ 354060 h 871297"/>
                      <a:gd name="connsiteX59" fmla="*/ 252460 w 1807248"/>
                      <a:gd name="connsiteY59" fmla="*/ 292485 h 871297"/>
                      <a:gd name="connsiteX60" fmla="*/ 227830 w 1807248"/>
                      <a:gd name="connsiteY60" fmla="*/ 230909 h 871297"/>
                      <a:gd name="connsiteX61" fmla="*/ 212436 w 1807248"/>
                      <a:gd name="connsiteY61" fmla="*/ 187806 h 871297"/>
                      <a:gd name="connsiteX62" fmla="*/ 193963 w 1807248"/>
                      <a:gd name="connsiteY62" fmla="*/ 147782 h 871297"/>
                      <a:gd name="connsiteX63" fmla="*/ 169333 w 1807248"/>
                      <a:gd name="connsiteY63" fmla="*/ 107757 h 871297"/>
                      <a:gd name="connsiteX64" fmla="*/ 120072 w 1807248"/>
                      <a:gd name="connsiteY64" fmla="*/ 76970 h 871297"/>
                      <a:gd name="connsiteX65" fmla="*/ 86206 w 1807248"/>
                      <a:gd name="connsiteY65" fmla="*/ 52339 h 871297"/>
                      <a:gd name="connsiteX66" fmla="*/ 43103 w 1807248"/>
                      <a:gd name="connsiteY66" fmla="*/ 24630 h 871297"/>
                      <a:gd name="connsiteX67" fmla="*/ 0 w 1807248"/>
                      <a:gd name="connsiteY67" fmla="*/ 0 h 871297"/>
                      <a:gd name="connsiteX0" fmla="*/ 1764145 w 1764145"/>
                      <a:gd name="connsiteY0" fmla="*/ 846667 h 846667"/>
                      <a:gd name="connsiteX1" fmla="*/ 1705648 w 1764145"/>
                      <a:gd name="connsiteY1" fmla="*/ 831273 h 846667"/>
                      <a:gd name="connsiteX2" fmla="*/ 1671781 w 1764145"/>
                      <a:gd name="connsiteY2" fmla="*/ 815879 h 846667"/>
                      <a:gd name="connsiteX3" fmla="*/ 1656388 w 1764145"/>
                      <a:gd name="connsiteY3" fmla="*/ 803564 h 846667"/>
                      <a:gd name="connsiteX4" fmla="*/ 1610206 w 1764145"/>
                      <a:gd name="connsiteY4" fmla="*/ 803564 h 846667"/>
                      <a:gd name="connsiteX5" fmla="*/ 1594812 w 1764145"/>
                      <a:gd name="connsiteY5" fmla="*/ 794327 h 846667"/>
                      <a:gd name="connsiteX6" fmla="*/ 1551709 w 1764145"/>
                      <a:gd name="connsiteY6" fmla="*/ 803564 h 846667"/>
                      <a:gd name="connsiteX7" fmla="*/ 1508606 w 1764145"/>
                      <a:gd name="connsiteY7" fmla="*/ 803564 h 846667"/>
                      <a:gd name="connsiteX8" fmla="*/ 1474739 w 1764145"/>
                      <a:gd name="connsiteY8" fmla="*/ 803564 h 846667"/>
                      <a:gd name="connsiteX9" fmla="*/ 1440872 w 1764145"/>
                      <a:gd name="connsiteY9" fmla="*/ 785091 h 846667"/>
                      <a:gd name="connsiteX10" fmla="*/ 1419321 w 1764145"/>
                      <a:gd name="connsiteY10" fmla="*/ 769697 h 846667"/>
                      <a:gd name="connsiteX11" fmla="*/ 1416242 w 1764145"/>
                      <a:gd name="connsiteY11" fmla="*/ 754303 h 846667"/>
                      <a:gd name="connsiteX12" fmla="*/ 1416242 w 1764145"/>
                      <a:gd name="connsiteY12" fmla="*/ 738909 h 846667"/>
                      <a:gd name="connsiteX13" fmla="*/ 1422400 w 1764145"/>
                      <a:gd name="connsiteY13" fmla="*/ 723515 h 846667"/>
                      <a:gd name="connsiteX14" fmla="*/ 1428557 w 1764145"/>
                      <a:gd name="connsiteY14" fmla="*/ 705043 h 846667"/>
                      <a:gd name="connsiteX15" fmla="*/ 1410085 w 1764145"/>
                      <a:gd name="connsiteY15" fmla="*/ 689649 h 846667"/>
                      <a:gd name="connsiteX16" fmla="*/ 1351588 w 1764145"/>
                      <a:gd name="connsiteY16" fmla="*/ 671176 h 846667"/>
                      <a:gd name="connsiteX17" fmla="*/ 1302327 w 1764145"/>
                      <a:gd name="connsiteY17" fmla="*/ 649624 h 846667"/>
                      <a:gd name="connsiteX18" fmla="*/ 1216121 w 1764145"/>
                      <a:gd name="connsiteY18" fmla="*/ 643467 h 846667"/>
                      <a:gd name="connsiteX19" fmla="*/ 1160703 w 1764145"/>
                      <a:gd name="connsiteY19" fmla="*/ 643467 h 846667"/>
                      <a:gd name="connsiteX20" fmla="*/ 1092969 w 1764145"/>
                      <a:gd name="connsiteY20" fmla="*/ 655782 h 846667"/>
                      <a:gd name="connsiteX21" fmla="*/ 1049866 w 1764145"/>
                      <a:gd name="connsiteY21" fmla="*/ 665018 h 846667"/>
                      <a:gd name="connsiteX22" fmla="*/ 1040630 w 1764145"/>
                      <a:gd name="connsiteY22" fmla="*/ 665018 h 846667"/>
                      <a:gd name="connsiteX23" fmla="*/ 1034472 w 1764145"/>
                      <a:gd name="connsiteY23" fmla="*/ 646546 h 846667"/>
                      <a:gd name="connsiteX24" fmla="*/ 1016000 w 1764145"/>
                      <a:gd name="connsiteY24" fmla="*/ 640388 h 846667"/>
                      <a:gd name="connsiteX25" fmla="*/ 985212 w 1764145"/>
                      <a:gd name="connsiteY25" fmla="*/ 649624 h 846667"/>
                      <a:gd name="connsiteX26" fmla="*/ 935951 w 1764145"/>
                      <a:gd name="connsiteY26" fmla="*/ 631152 h 846667"/>
                      <a:gd name="connsiteX27" fmla="*/ 917478 w 1764145"/>
                      <a:gd name="connsiteY27" fmla="*/ 621915 h 846667"/>
                      <a:gd name="connsiteX28" fmla="*/ 892848 w 1764145"/>
                      <a:gd name="connsiteY28" fmla="*/ 628073 h 846667"/>
                      <a:gd name="connsiteX29" fmla="*/ 849745 w 1764145"/>
                      <a:gd name="connsiteY29" fmla="*/ 624994 h 846667"/>
                      <a:gd name="connsiteX30" fmla="*/ 825115 w 1764145"/>
                      <a:gd name="connsiteY30" fmla="*/ 621915 h 846667"/>
                      <a:gd name="connsiteX31" fmla="*/ 809721 w 1764145"/>
                      <a:gd name="connsiteY31" fmla="*/ 634230 h 846667"/>
                      <a:gd name="connsiteX32" fmla="*/ 788169 w 1764145"/>
                      <a:gd name="connsiteY32" fmla="*/ 640388 h 846667"/>
                      <a:gd name="connsiteX33" fmla="*/ 757381 w 1764145"/>
                      <a:gd name="connsiteY33" fmla="*/ 618836 h 846667"/>
                      <a:gd name="connsiteX34" fmla="*/ 745066 w 1764145"/>
                      <a:gd name="connsiteY34" fmla="*/ 600364 h 846667"/>
                      <a:gd name="connsiteX35" fmla="*/ 735830 w 1764145"/>
                      <a:gd name="connsiteY35" fmla="*/ 600364 h 846667"/>
                      <a:gd name="connsiteX36" fmla="*/ 729672 w 1764145"/>
                      <a:gd name="connsiteY36" fmla="*/ 615758 h 846667"/>
                      <a:gd name="connsiteX37" fmla="*/ 705042 w 1764145"/>
                      <a:gd name="connsiteY37" fmla="*/ 634230 h 846667"/>
                      <a:gd name="connsiteX38" fmla="*/ 689648 w 1764145"/>
                      <a:gd name="connsiteY38" fmla="*/ 640388 h 846667"/>
                      <a:gd name="connsiteX39" fmla="*/ 689648 w 1764145"/>
                      <a:gd name="connsiteY39" fmla="*/ 624994 h 846667"/>
                      <a:gd name="connsiteX40" fmla="*/ 686569 w 1764145"/>
                      <a:gd name="connsiteY40" fmla="*/ 600364 h 846667"/>
                      <a:gd name="connsiteX41" fmla="*/ 661939 w 1764145"/>
                      <a:gd name="connsiteY41" fmla="*/ 584970 h 846667"/>
                      <a:gd name="connsiteX42" fmla="*/ 634230 w 1764145"/>
                      <a:gd name="connsiteY42" fmla="*/ 578812 h 846667"/>
                      <a:gd name="connsiteX43" fmla="*/ 584969 w 1764145"/>
                      <a:gd name="connsiteY43" fmla="*/ 566497 h 846667"/>
                      <a:gd name="connsiteX44" fmla="*/ 541866 w 1764145"/>
                      <a:gd name="connsiteY44" fmla="*/ 554182 h 846667"/>
                      <a:gd name="connsiteX45" fmla="*/ 504921 w 1764145"/>
                      <a:gd name="connsiteY45" fmla="*/ 535709 h 846667"/>
                      <a:gd name="connsiteX46" fmla="*/ 471054 w 1764145"/>
                      <a:gd name="connsiteY46" fmla="*/ 508000 h 846667"/>
                      <a:gd name="connsiteX47" fmla="*/ 440266 w 1764145"/>
                      <a:gd name="connsiteY47" fmla="*/ 492606 h 846667"/>
                      <a:gd name="connsiteX48" fmla="*/ 409478 w 1764145"/>
                      <a:gd name="connsiteY48" fmla="*/ 492606 h 846667"/>
                      <a:gd name="connsiteX49" fmla="*/ 384848 w 1764145"/>
                      <a:gd name="connsiteY49" fmla="*/ 489527 h 846667"/>
                      <a:gd name="connsiteX50" fmla="*/ 357139 w 1764145"/>
                      <a:gd name="connsiteY50" fmla="*/ 467976 h 846667"/>
                      <a:gd name="connsiteX51" fmla="*/ 332509 w 1764145"/>
                      <a:gd name="connsiteY51" fmla="*/ 458740 h 846667"/>
                      <a:gd name="connsiteX52" fmla="*/ 304800 w 1764145"/>
                      <a:gd name="connsiteY52" fmla="*/ 455661 h 846667"/>
                      <a:gd name="connsiteX53" fmla="*/ 280169 w 1764145"/>
                      <a:gd name="connsiteY53" fmla="*/ 464897 h 846667"/>
                      <a:gd name="connsiteX54" fmla="*/ 270933 w 1764145"/>
                      <a:gd name="connsiteY54" fmla="*/ 464897 h 846667"/>
                      <a:gd name="connsiteX55" fmla="*/ 264775 w 1764145"/>
                      <a:gd name="connsiteY55" fmla="*/ 446424 h 846667"/>
                      <a:gd name="connsiteX56" fmla="*/ 246303 w 1764145"/>
                      <a:gd name="connsiteY56" fmla="*/ 391006 h 846667"/>
                      <a:gd name="connsiteX57" fmla="*/ 246303 w 1764145"/>
                      <a:gd name="connsiteY57" fmla="*/ 372533 h 846667"/>
                      <a:gd name="connsiteX58" fmla="*/ 233988 w 1764145"/>
                      <a:gd name="connsiteY58" fmla="*/ 329430 h 846667"/>
                      <a:gd name="connsiteX59" fmla="*/ 209357 w 1764145"/>
                      <a:gd name="connsiteY59" fmla="*/ 267855 h 846667"/>
                      <a:gd name="connsiteX60" fmla="*/ 184727 w 1764145"/>
                      <a:gd name="connsiteY60" fmla="*/ 206279 h 846667"/>
                      <a:gd name="connsiteX61" fmla="*/ 169333 w 1764145"/>
                      <a:gd name="connsiteY61" fmla="*/ 163176 h 846667"/>
                      <a:gd name="connsiteX62" fmla="*/ 150860 w 1764145"/>
                      <a:gd name="connsiteY62" fmla="*/ 123152 h 846667"/>
                      <a:gd name="connsiteX63" fmla="*/ 126230 w 1764145"/>
                      <a:gd name="connsiteY63" fmla="*/ 83127 h 846667"/>
                      <a:gd name="connsiteX64" fmla="*/ 76969 w 1764145"/>
                      <a:gd name="connsiteY64" fmla="*/ 52340 h 846667"/>
                      <a:gd name="connsiteX65" fmla="*/ 43103 w 1764145"/>
                      <a:gd name="connsiteY65" fmla="*/ 27709 h 846667"/>
                      <a:gd name="connsiteX66" fmla="*/ 0 w 1764145"/>
                      <a:gd name="connsiteY66" fmla="*/ 0 h 846667"/>
                      <a:gd name="connsiteX0" fmla="*/ 1721042 w 1721042"/>
                      <a:gd name="connsiteY0" fmla="*/ 818958 h 818958"/>
                      <a:gd name="connsiteX1" fmla="*/ 1662545 w 1721042"/>
                      <a:gd name="connsiteY1" fmla="*/ 803564 h 818958"/>
                      <a:gd name="connsiteX2" fmla="*/ 1628678 w 1721042"/>
                      <a:gd name="connsiteY2" fmla="*/ 788170 h 818958"/>
                      <a:gd name="connsiteX3" fmla="*/ 1613285 w 1721042"/>
                      <a:gd name="connsiteY3" fmla="*/ 775855 h 818958"/>
                      <a:gd name="connsiteX4" fmla="*/ 1567103 w 1721042"/>
                      <a:gd name="connsiteY4" fmla="*/ 775855 h 818958"/>
                      <a:gd name="connsiteX5" fmla="*/ 1551709 w 1721042"/>
                      <a:gd name="connsiteY5" fmla="*/ 766618 h 818958"/>
                      <a:gd name="connsiteX6" fmla="*/ 1508606 w 1721042"/>
                      <a:gd name="connsiteY6" fmla="*/ 775855 h 818958"/>
                      <a:gd name="connsiteX7" fmla="*/ 1465503 w 1721042"/>
                      <a:gd name="connsiteY7" fmla="*/ 775855 h 818958"/>
                      <a:gd name="connsiteX8" fmla="*/ 1431636 w 1721042"/>
                      <a:gd name="connsiteY8" fmla="*/ 775855 h 818958"/>
                      <a:gd name="connsiteX9" fmla="*/ 1397769 w 1721042"/>
                      <a:gd name="connsiteY9" fmla="*/ 757382 h 818958"/>
                      <a:gd name="connsiteX10" fmla="*/ 1376218 w 1721042"/>
                      <a:gd name="connsiteY10" fmla="*/ 741988 h 818958"/>
                      <a:gd name="connsiteX11" fmla="*/ 1373139 w 1721042"/>
                      <a:gd name="connsiteY11" fmla="*/ 726594 h 818958"/>
                      <a:gd name="connsiteX12" fmla="*/ 1373139 w 1721042"/>
                      <a:gd name="connsiteY12" fmla="*/ 711200 h 818958"/>
                      <a:gd name="connsiteX13" fmla="*/ 1379297 w 1721042"/>
                      <a:gd name="connsiteY13" fmla="*/ 695806 h 818958"/>
                      <a:gd name="connsiteX14" fmla="*/ 1385454 w 1721042"/>
                      <a:gd name="connsiteY14" fmla="*/ 677334 h 818958"/>
                      <a:gd name="connsiteX15" fmla="*/ 1366982 w 1721042"/>
                      <a:gd name="connsiteY15" fmla="*/ 661940 h 818958"/>
                      <a:gd name="connsiteX16" fmla="*/ 1308485 w 1721042"/>
                      <a:gd name="connsiteY16" fmla="*/ 643467 h 818958"/>
                      <a:gd name="connsiteX17" fmla="*/ 1259224 w 1721042"/>
                      <a:gd name="connsiteY17" fmla="*/ 621915 h 818958"/>
                      <a:gd name="connsiteX18" fmla="*/ 1173018 w 1721042"/>
                      <a:gd name="connsiteY18" fmla="*/ 615758 h 818958"/>
                      <a:gd name="connsiteX19" fmla="*/ 1117600 w 1721042"/>
                      <a:gd name="connsiteY19" fmla="*/ 615758 h 818958"/>
                      <a:gd name="connsiteX20" fmla="*/ 1049866 w 1721042"/>
                      <a:gd name="connsiteY20" fmla="*/ 628073 h 818958"/>
                      <a:gd name="connsiteX21" fmla="*/ 1006763 w 1721042"/>
                      <a:gd name="connsiteY21" fmla="*/ 637309 h 818958"/>
                      <a:gd name="connsiteX22" fmla="*/ 997527 w 1721042"/>
                      <a:gd name="connsiteY22" fmla="*/ 637309 h 818958"/>
                      <a:gd name="connsiteX23" fmla="*/ 991369 w 1721042"/>
                      <a:gd name="connsiteY23" fmla="*/ 618837 h 818958"/>
                      <a:gd name="connsiteX24" fmla="*/ 972897 w 1721042"/>
                      <a:gd name="connsiteY24" fmla="*/ 612679 h 818958"/>
                      <a:gd name="connsiteX25" fmla="*/ 942109 w 1721042"/>
                      <a:gd name="connsiteY25" fmla="*/ 621915 h 818958"/>
                      <a:gd name="connsiteX26" fmla="*/ 892848 w 1721042"/>
                      <a:gd name="connsiteY26" fmla="*/ 603443 h 818958"/>
                      <a:gd name="connsiteX27" fmla="*/ 874375 w 1721042"/>
                      <a:gd name="connsiteY27" fmla="*/ 594206 h 818958"/>
                      <a:gd name="connsiteX28" fmla="*/ 849745 w 1721042"/>
                      <a:gd name="connsiteY28" fmla="*/ 600364 h 818958"/>
                      <a:gd name="connsiteX29" fmla="*/ 806642 w 1721042"/>
                      <a:gd name="connsiteY29" fmla="*/ 597285 h 818958"/>
                      <a:gd name="connsiteX30" fmla="*/ 782012 w 1721042"/>
                      <a:gd name="connsiteY30" fmla="*/ 594206 h 818958"/>
                      <a:gd name="connsiteX31" fmla="*/ 766618 w 1721042"/>
                      <a:gd name="connsiteY31" fmla="*/ 606521 h 818958"/>
                      <a:gd name="connsiteX32" fmla="*/ 745066 w 1721042"/>
                      <a:gd name="connsiteY32" fmla="*/ 612679 h 818958"/>
                      <a:gd name="connsiteX33" fmla="*/ 714278 w 1721042"/>
                      <a:gd name="connsiteY33" fmla="*/ 591127 h 818958"/>
                      <a:gd name="connsiteX34" fmla="*/ 701963 w 1721042"/>
                      <a:gd name="connsiteY34" fmla="*/ 572655 h 818958"/>
                      <a:gd name="connsiteX35" fmla="*/ 692727 w 1721042"/>
                      <a:gd name="connsiteY35" fmla="*/ 572655 h 818958"/>
                      <a:gd name="connsiteX36" fmla="*/ 686569 w 1721042"/>
                      <a:gd name="connsiteY36" fmla="*/ 588049 h 818958"/>
                      <a:gd name="connsiteX37" fmla="*/ 661939 w 1721042"/>
                      <a:gd name="connsiteY37" fmla="*/ 606521 h 818958"/>
                      <a:gd name="connsiteX38" fmla="*/ 646545 w 1721042"/>
                      <a:gd name="connsiteY38" fmla="*/ 612679 h 818958"/>
                      <a:gd name="connsiteX39" fmla="*/ 646545 w 1721042"/>
                      <a:gd name="connsiteY39" fmla="*/ 597285 h 818958"/>
                      <a:gd name="connsiteX40" fmla="*/ 643466 w 1721042"/>
                      <a:gd name="connsiteY40" fmla="*/ 572655 h 818958"/>
                      <a:gd name="connsiteX41" fmla="*/ 618836 w 1721042"/>
                      <a:gd name="connsiteY41" fmla="*/ 557261 h 818958"/>
                      <a:gd name="connsiteX42" fmla="*/ 591127 w 1721042"/>
                      <a:gd name="connsiteY42" fmla="*/ 551103 h 818958"/>
                      <a:gd name="connsiteX43" fmla="*/ 541866 w 1721042"/>
                      <a:gd name="connsiteY43" fmla="*/ 538788 h 818958"/>
                      <a:gd name="connsiteX44" fmla="*/ 498763 w 1721042"/>
                      <a:gd name="connsiteY44" fmla="*/ 526473 h 818958"/>
                      <a:gd name="connsiteX45" fmla="*/ 461818 w 1721042"/>
                      <a:gd name="connsiteY45" fmla="*/ 508000 h 818958"/>
                      <a:gd name="connsiteX46" fmla="*/ 427951 w 1721042"/>
                      <a:gd name="connsiteY46" fmla="*/ 480291 h 818958"/>
                      <a:gd name="connsiteX47" fmla="*/ 397163 w 1721042"/>
                      <a:gd name="connsiteY47" fmla="*/ 464897 h 818958"/>
                      <a:gd name="connsiteX48" fmla="*/ 366375 w 1721042"/>
                      <a:gd name="connsiteY48" fmla="*/ 464897 h 818958"/>
                      <a:gd name="connsiteX49" fmla="*/ 341745 w 1721042"/>
                      <a:gd name="connsiteY49" fmla="*/ 461818 h 818958"/>
                      <a:gd name="connsiteX50" fmla="*/ 314036 w 1721042"/>
                      <a:gd name="connsiteY50" fmla="*/ 440267 h 818958"/>
                      <a:gd name="connsiteX51" fmla="*/ 289406 w 1721042"/>
                      <a:gd name="connsiteY51" fmla="*/ 431031 h 818958"/>
                      <a:gd name="connsiteX52" fmla="*/ 261697 w 1721042"/>
                      <a:gd name="connsiteY52" fmla="*/ 427952 h 818958"/>
                      <a:gd name="connsiteX53" fmla="*/ 237066 w 1721042"/>
                      <a:gd name="connsiteY53" fmla="*/ 437188 h 818958"/>
                      <a:gd name="connsiteX54" fmla="*/ 227830 w 1721042"/>
                      <a:gd name="connsiteY54" fmla="*/ 437188 h 818958"/>
                      <a:gd name="connsiteX55" fmla="*/ 221672 w 1721042"/>
                      <a:gd name="connsiteY55" fmla="*/ 418715 h 818958"/>
                      <a:gd name="connsiteX56" fmla="*/ 203200 w 1721042"/>
                      <a:gd name="connsiteY56" fmla="*/ 363297 h 818958"/>
                      <a:gd name="connsiteX57" fmla="*/ 203200 w 1721042"/>
                      <a:gd name="connsiteY57" fmla="*/ 344824 h 818958"/>
                      <a:gd name="connsiteX58" fmla="*/ 190885 w 1721042"/>
                      <a:gd name="connsiteY58" fmla="*/ 301721 h 818958"/>
                      <a:gd name="connsiteX59" fmla="*/ 166254 w 1721042"/>
                      <a:gd name="connsiteY59" fmla="*/ 240146 h 818958"/>
                      <a:gd name="connsiteX60" fmla="*/ 141624 w 1721042"/>
                      <a:gd name="connsiteY60" fmla="*/ 178570 h 818958"/>
                      <a:gd name="connsiteX61" fmla="*/ 126230 w 1721042"/>
                      <a:gd name="connsiteY61" fmla="*/ 135467 h 818958"/>
                      <a:gd name="connsiteX62" fmla="*/ 107757 w 1721042"/>
                      <a:gd name="connsiteY62" fmla="*/ 95443 h 818958"/>
                      <a:gd name="connsiteX63" fmla="*/ 83127 w 1721042"/>
                      <a:gd name="connsiteY63" fmla="*/ 55418 h 818958"/>
                      <a:gd name="connsiteX64" fmla="*/ 33866 w 1721042"/>
                      <a:gd name="connsiteY64" fmla="*/ 24631 h 818958"/>
                      <a:gd name="connsiteX65" fmla="*/ 0 w 1721042"/>
                      <a:gd name="connsiteY65" fmla="*/ 0 h 818958"/>
                      <a:gd name="connsiteX0" fmla="*/ 1687176 w 1687176"/>
                      <a:gd name="connsiteY0" fmla="*/ 794327 h 794327"/>
                      <a:gd name="connsiteX1" fmla="*/ 1628679 w 1687176"/>
                      <a:gd name="connsiteY1" fmla="*/ 778933 h 794327"/>
                      <a:gd name="connsiteX2" fmla="*/ 1594812 w 1687176"/>
                      <a:gd name="connsiteY2" fmla="*/ 763539 h 794327"/>
                      <a:gd name="connsiteX3" fmla="*/ 1579419 w 1687176"/>
                      <a:gd name="connsiteY3" fmla="*/ 751224 h 794327"/>
                      <a:gd name="connsiteX4" fmla="*/ 1533237 w 1687176"/>
                      <a:gd name="connsiteY4" fmla="*/ 751224 h 794327"/>
                      <a:gd name="connsiteX5" fmla="*/ 1517843 w 1687176"/>
                      <a:gd name="connsiteY5" fmla="*/ 741987 h 794327"/>
                      <a:gd name="connsiteX6" fmla="*/ 1474740 w 1687176"/>
                      <a:gd name="connsiteY6" fmla="*/ 751224 h 794327"/>
                      <a:gd name="connsiteX7" fmla="*/ 1431637 w 1687176"/>
                      <a:gd name="connsiteY7" fmla="*/ 751224 h 794327"/>
                      <a:gd name="connsiteX8" fmla="*/ 1397770 w 1687176"/>
                      <a:gd name="connsiteY8" fmla="*/ 751224 h 794327"/>
                      <a:gd name="connsiteX9" fmla="*/ 1363903 w 1687176"/>
                      <a:gd name="connsiteY9" fmla="*/ 732751 h 794327"/>
                      <a:gd name="connsiteX10" fmla="*/ 1342352 w 1687176"/>
                      <a:gd name="connsiteY10" fmla="*/ 717357 h 794327"/>
                      <a:gd name="connsiteX11" fmla="*/ 1339273 w 1687176"/>
                      <a:gd name="connsiteY11" fmla="*/ 701963 h 794327"/>
                      <a:gd name="connsiteX12" fmla="*/ 1339273 w 1687176"/>
                      <a:gd name="connsiteY12" fmla="*/ 686569 h 794327"/>
                      <a:gd name="connsiteX13" fmla="*/ 1345431 w 1687176"/>
                      <a:gd name="connsiteY13" fmla="*/ 671175 h 794327"/>
                      <a:gd name="connsiteX14" fmla="*/ 1351588 w 1687176"/>
                      <a:gd name="connsiteY14" fmla="*/ 652703 h 794327"/>
                      <a:gd name="connsiteX15" fmla="*/ 1333116 w 1687176"/>
                      <a:gd name="connsiteY15" fmla="*/ 637309 h 794327"/>
                      <a:gd name="connsiteX16" fmla="*/ 1274619 w 1687176"/>
                      <a:gd name="connsiteY16" fmla="*/ 618836 h 794327"/>
                      <a:gd name="connsiteX17" fmla="*/ 1225358 w 1687176"/>
                      <a:gd name="connsiteY17" fmla="*/ 597284 h 794327"/>
                      <a:gd name="connsiteX18" fmla="*/ 1139152 w 1687176"/>
                      <a:gd name="connsiteY18" fmla="*/ 591127 h 794327"/>
                      <a:gd name="connsiteX19" fmla="*/ 1083734 w 1687176"/>
                      <a:gd name="connsiteY19" fmla="*/ 591127 h 794327"/>
                      <a:gd name="connsiteX20" fmla="*/ 1016000 w 1687176"/>
                      <a:gd name="connsiteY20" fmla="*/ 603442 h 794327"/>
                      <a:gd name="connsiteX21" fmla="*/ 972897 w 1687176"/>
                      <a:gd name="connsiteY21" fmla="*/ 612678 h 794327"/>
                      <a:gd name="connsiteX22" fmla="*/ 963661 w 1687176"/>
                      <a:gd name="connsiteY22" fmla="*/ 612678 h 794327"/>
                      <a:gd name="connsiteX23" fmla="*/ 957503 w 1687176"/>
                      <a:gd name="connsiteY23" fmla="*/ 594206 h 794327"/>
                      <a:gd name="connsiteX24" fmla="*/ 939031 w 1687176"/>
                      <a:gd name="connsiteY24" fmla="*/ 588048 h 794327"/>
                      <a:gd name="connsiteX25" fmla="*/ 908243 w 1687176"/>
                      <a:gd name="connsiteY25" fmla="*/ 597284 h 794327"/>
                      <a:gd name="connsiteX26" fmla="*/ 858982 w 1687176"/>
                      <a:gd name="connsiteY26" fmla="*/ 578812 h 794327"/>
                      <a:gd name="connsiteX27" fmla="*/ 840509 w 1687176"/>
                      <a:gd name="connsiteY27" fmla="*/ 569575 h 794327"/>
                      <a:gd name="connsiteX28" fmla="*/ 815879 w 1687176"/>
                      <a:gd name="connsiteY28" fmla="*/ 575733 h 794327"/>
                      <a:gd name="connsiteX29" fmla="*/ 772776 w 1687176"/>
                      <a:gd name="connsiteY29" fmla="*/ 572654 h 794327"/>
                      <a:gd name="connsiteX30" fmla="*/ 748146 w 1687176"/>
                      <a:gd name="connsiteY30" fmla="*/ 569575 h 794327"/>
                      <a:gd name="connsiteX31" fmla="*/ 732752 w 1687176"/>
                      <a:gd name="connsiteY31" fmla="*/ 581890 h 794327"/>
                      <a:gd name="connsiteX32" fmla="*/ 711200 w 1687176"/>
                      <a:gd name="connsiteY32" fmla="*/ 588048 h 794327"/>
                      <a:gd name="connsiteX33" fmla="*/ 680412 w 1687176"/>
                      <a:gd name="connsiteY33" fmla="*/ 566496 h 794327"/>
                      <a:gd name="connsiteX34" fmla="*/ 668097 w 1687176"/>
                      <a:gd name="connsiteY34" fmla="*/ 548024 h 794327"/>
                      <a:gd name="connsiteX35" fmla="*/ 658861 w 1687176"/>
                      <a:gd name="connsiteY35" fmla="*/ 548024 h 794327"/>
                      <a:gd name="connsiteX36" fmla="*/ 652703 w 1687176"/>
                      <a:gd name="connsiteY36" fmla="*/ 563418 h 794327"/>
                      <a:gd name="connsiteX37" fmla="*/ 628073 w 1687176"/>
                      <a:gd name="connsiteY37" fmla="*/ 581890 h 794327"/>
                      <a:gd name="connsiteX38" fmla="*/ 612679 w 1687176"/>
                      <a:gd name="connsiteY38" fmla="*/ 588048 h 794327"/>
                      <a:gd name="connsiteX39" fmla="*/ 612679 w 1687176"/>
                      <a:gd name="connsiteY39" fmla="*/ 572654 h 794327"/>
                      <a:gd name="connsiteX40" fmla="*/ 609600 w 1687176"/>
                      <a:gd name="connsiteY40" fmla="*/ 548024 h 794327"/>
                      <a:gd name="connsiteX41" fmla="*/ 584970 w 1687176"/>
                      <a:gd name="connsiteY41" fmla="*/ 532630 h 794327"/>
                      <a:gd name="connsiteX42" fmla="*/ 557261 w 1687176"/>
                      <a:gd name="connsiteY42" fmla="*/ 526472 h 794327"/>
                      <a:gd name="connsiteX43" fmla="*/ 508000 w 1687176"/>
                      <a:gd name="connsiteY43" fmla="*/ 514157 h 794327"/>
                      <a:gd name="connsiteX44" fmla="*/ 464897 w 1687176"/>
                      <a:gd name="connsiteY44" fmla="*/ 501842 h 794327"/>
                      <a:gd name="connsiteX45" fmla="*/ 427952 w 1687176"/>
                      <a:gd name="connsiteY45" fmla="*/ 483369 h 794327"/>
                      <a:gd name="connsiteX46" fmla="*/ 394085 w 1687176"/>
                      <a:gd name="connsiteY46" fmla="*/ 455660 h 794327"/>
                      <a:gd name="connsiteX47" fmla="*/ 363297 w 1687176"/>
                      <a:gd name="connsiteY47" fmla="*/ 440266 h 794327"/>
                      <a:gd name="connsiteX48" fmla="*/ 332509 w 1687176"/>
                      <a:gd name="connsiteY48" fmla="*/ 440266 h 794327"/>
                      <a:gd name="connsiteX49" fmla="*/ 307879 w 1687176"/>
                      <a:gd name="connsiteY49" fmla="*/ 437187 h 794327"/>
                      <a:gd name="connsiteX50" fmla="*/ 280170 w 1687176"/>
                      <a:gd name="connsiteY50" fmla="*/ 415636 h 794327"/>
                      <a:gd name="connsiteX51" fmla="*/ 255540 w 1687176"/>
                      <a:gd name="connsiteY51" fmla="*/ 406400 h 794327"/>
                      <a:gd name="connsiteX52" fmla="*/ 227831 w 1687176"/>
                      <a:gd name="connsiteY52" fmla="*/ 403321 h 794327"/>
                      <a:gd name="connsiteX53" fmla="*/ 203200 w 1687176"/>
                      <a:gd name="connsiteY53" fmla="*/ 412557 h 794327"/>
                      <a:gd name="connsiteX54" fmla="*/ 193964 w 1687176"/>
                      <a:gd name="connsiteY54" fmla="*/ 412557 h 794327"/>
                      <a:gd name="connsiteX55" fmla="*/ 187806 w 1687176"/>
                      <a:gd name="connsiteY55" fmla="*/ 394084 h 794327"/>
                      <a:gd name="connsiteX56" fmla="*/ 169334 w 1687176"/>
                      <a:gd name="connsiteY56" fmla="*/ 338666 h 794327"/>
                      <a:gd name="connsiteX57" fmla="*/ 169334 w 1687176"/>
                      <a:gd name="connsiteY57" fmla="*/ 320193 h 794327"/>
                      <a:gd name="connsiteX58" fmla="*/ 157019 w 1687176"/>
                      <a:gd name="connsiteY58" fmla="*/ 277090 h 794327"/>
                      <a:gd name="connsiteX59" fmla="*/ 132388 w 1687176"/>
                      <a:gd name="connsiteY59" fmla="*/ 215515 h 794327"/>
                      <a:gd name="connsiteX60" fmla="*/ 107758 w 1687176"/>
                      <a:gd name="connsiteY60" fmla="*/ 153939 h 794327"/>
                      <a:gd name="connsiteX61" fmla="*/ 92364 w 1687176"/>
                      <a:gd name="connsiteY61" fmla="*/ 110836 h 794327"/>
                      <a:gd name="connsiteX62" fmla="*/ 73891 w 1687176"/>
                      <a:gd name="connsiteY62" fmla="*/ 70812 h 794327"/>
                      <a:gd name="connsiteX63" fmla="*/ 49261 w 1687176"/>
                      <a:gd name="connsiteY63" fmla="*/ 30787 h 794327"/>
                      <a:gd name="connsiteX64" fmla="*/ 0 w 1687176"/>
                      <a:gd name="connsiteY64" fmla="*/ 0 h 794327"/>
                      <a:gd name="connsiteX0" fmla="*/ 1637915 w 1637915"/>
                      <a:gd name="connsiteY0" fmla="*/ 763540 h 763540"/>
                      <a:gd name="connsiteX1" fmla="*/ 1579418 w 1637915"/>
                      <a:gd name="connsiteY1" fmla="*/ 748146 h 763540"/>
                      <a:gd name="connsiteX2" fmla="*/ 1545551 w 1637915"/>
                      <a:gd name="connsiteY2" fmla="*/ 732752 h 763540"/>
                      <a:gd name="connsiteX3" fmla="*/ 1530158 w 1637915"/>
                      <a:gd name="connsiteY3" fmla="*/ 720437 h 763540"/>
                      <a:gd name="connsiteX4" fmla="*/ 1483976 w 1637915"/>
                      <a:gd name="connsiteY4" fmla="*/ 720437 h 763540"/>
                      <a:gd name="connsiteX5" fmla="*/ 1468582 w 1637915"/>
                      <a:gd name="connsiteY5" fmla="*/ 711200 h 763540"/>
                      <a:gd name="connsiteX6" fmla="*/ 1425479 w 1637915"/>
                      <a:gd name="connsiteY6" fmla="*/ 720437 h 763540"/>
                      <a:gd name="connsiteX7" fmla="*/ 1382376 w 1637915"/>
                      <a:gd name="connsiteY7" fmla="*/ 720437 h 763540"/>
                      <a:gd name="connsiteX8" fmla="*/ 1348509 w 1637915"/>
                      <a:gd name="connsiteY8" fmla="*/ 720437 h 763540"/>
                      <a:gd name="connsiteX9" fmla="*/ 1314642 w 1637915"/>
                      <a:gd name="connsiteY9" fmla="*/ 701964 h 763540"/>
                      <a:gd name="connsiteX10" fmla="*/ 1293091 w 1637915"/>
                      <a:gd name="connsiteY10" fmla="*/ 686570 h 763540"/>
                      <a:gd name="connsiteX11" fmla="*/ 1290012 w 1637915"/>
                      <a:gd name="connsiteY11" fmla="*/ 671176 h 763540"/>
                      <a:gd name="connsiteX12" fmla="*/ 1290012 w 1637915"/>
                      <a:gd name="connsiteY12" fmla="*/ 655782 h 763540"/>
                      <a:gd name="connsiteX13" fmla="*/ 1296170 w 1637915"/>
                      <a:gd name="connsiteY13" fmla="*/ 640388 h 763540"/>
                      <a:gd name="connsiteX14" fmla="*/ 1302327 w 1637915"/>
                      <a:gd name="connsiteY14" fmla="*/ 621916 h 763540"/>
                      <a:gd name="connsiteX15" fmla="*/ 1283855 w 1637915"/>
                      <a:gd name="connsiteY15" fmla="*/ 606522 h 763540"/>
                      <a:gd name="connsiteX16" fmla="*/ 1225358 w 1637915"/>
                      <a:gd name="connsiteY16" fmla="*/ 588049 h 763540"/>
                      <a:gd name="connsiteX17" fmla="*/ 1176097 w 1637915"/>
                      <a:gd name="connsiteY17" fmla="*/ 566497 h 763540"/>
                      <a:gd name="connsiteX18" fmla="*/ 1089891 w 1637915"/>
                      <a:gd name="connsiteY18" fmla="*/ 560340 h 763540"/>
                      <a:gd name="connsiteX19" fmla="*/ 1034473 w 1637915"/>
                      <a:gd name="connsiteY19" fmla="*/ 560340 h 763540"/>
                      <a:gd name="connsiteX20" fmla="*/ 966739 w 1637915"/>
                      <a:gd name="connsiteY20" fmla="*/ 572655 h 763540"/>
                      <a:gd name="connsiteX21" fmla="*/ 923636 w 1637915"/>
                      <a:gd name="connsiteY21" fmla="*/ 581891 h 763540"/>
                      <a:gd name="connsiteX22" fmla="*/ 914400 w 1637915"/>
                      <a:gd name="connsiteY22" fmla="*/ 581891 h 763540"/>
                      <a:gd name="connsiteX23" fmla="*/ 908242 w 1637915"/>
                      <a:gd name="connsiteY23" fmla="*/ 563419 h 763540"/>
                      <a:gd name="connsiteX24" fmla="*/ 889770 w 1637915"/>
                      <a:gd name="connsiteY24" fmla="*/ 557261 h 763540"/>
                      <a:gd name="connsiteX25" fmla="*/ 858982 w 1637915"/>
                      <a:gd name="connsiteY25" fmla="*/ 566497 h 763540"/>
                      <a:gd name="connsiteX26" fmla="*/ 809721 w 1637915"/>
                      <a:gd name="connsiteY26" fmla="*/ 548025 h 763540"/>
                      <a:gd name="connsiteX27" fmla="*/ 791248 w 1637915"/>
                      <a:gd name="connsiteY27" fmla="*/ 538788 h 763540"/>
                      <a:gd name="connsiteX28" fmla="*/ 766618 w 1637915"/>
                      <a:gd name="connsiteY28" fmla="*/ 544946 h 763540"/>
                      <a:gd name="connsiteX29" fmla="*/ 723515 w 1637915"/>
                      <a:gd name="connsiteY29" fmla="*/ 541867 h 763540"/>
                      <a:gd name="connsiteX30" fmla="*/ 698885 w 1637915"/>
                      <a:gd name="connsiteY30" fmla="*/ 538788 h 763540"/>
                      <a:gd name="connsiteX31" fmla="*/ 683491 w 1637915"/>
                      <a:gd name="connsiteY31" fmla="*/ 551103 h 763540"/>
                      <a:gd name="connsiteX32" fmla="*/ 661939 w 1637915"/>
                      <a:gd name="connsiteY32" fmla="*/ 557261 h 763540"/>
                      <a:gd name="connsiteX33" fmla="*/ 631151 w 1637915"/>
                      <a:gd name="connsiteY33" fmla="*/ 535709 h 763540"/>
                      <a:gd name="connsiteX34" fmla="*/ 618836 w 1637915"/>
                      <a:gd name="connsiteY34" fmla="*/ 517237 h 763540"/>
                      <a:gd name="connsiteX35" fmla="*/ 609600 w 1637915"/>
                      <a:gd name="connsiteY35" fmla="*/ 517237 h 763540"/>
                      <a:gd name="connsiteX36" fmla="*/ 603442 w 1637915"/>
                      <a:gd name="connsiteY36" fmla="*/ 532631 h 763540"/>
                      <a:gd name="connsiteX37" fmla="*/ 578812 w 1637915"/>
                      <a:gd name="connsiteY37" fmla="*/ 551103 h 763540"/>
                      <a:gd name="connsiteX38" fmla="*/ 563418 w 1637915"/>
                      <a:gd name="connsiteY38" fmla="*/ 557261 h 763540"/>
                      <a:gd name="connsiteX39" fmla="*/ 563418 w 1637915"/>
                      <a:gd name="connsiteY39" fmla="*/ 541867 h 763540"/>
                      <a:gd name="connsiteX40" fmla="*/ 560339 w 1637915"/>
                      <a:gd name="connsiteY40" fmla="*/ 517237 h 763540"/>
                      <a:gd name="connsiteX41" fmla="*/ 535709 w 1637915"/>
                      <a:gd name="connsiteY41" fmla="*/ 501843 h 763540"/>
                      <a:gd name="connsiteX42" fmla="*/ 508000 w 1637915"/>
                      <a:gd name="connsiteY42" fmla="*/ 495685 h 763540"/>
                      <a:gd name="connsiteX43" fmla="*/ 458739 w 1637915"/>
                      <a:gd name="connsiteY43" fmla="*/ 483370 h 763540"/>
                      <a:gd name="connsiteX44" fmla="*/ 415636 w 1637915"/>
                      <a:gd name="connsiteY44" fmla="*/ 471055 h 763540"/>
                      <a:gd name="connsiteX45" fmla="*/ 378691 w 1637915"/>
                      <a:gd name="connsiteY45" fmla="*/ 452582 h 763540"/>
                      <a:gd name="connsiteX46" fmla="*/ 344824 w 1637915"/>
                      <a:gd name="connsiteY46" fmla="*/ 424873 h 763540"/>
                      <a:gd name="connsiteX47" fmla="*/ 314036 w 1637915"/>
                      <a:gd name="connsiteY47" fmla="*/ 409479 h 763540"/>
                      <a:gd name="connsiteX48" fmla="*/ 283248 w 1637915"/>
                      <a:gd name="connsiteY48" fmla="*/ 409479 h 763540"/>
                      <a:gd name="connsiteX49" fmla="*/ 258618 w 1637915"/>
                      <a:gd name="connsiteY49" fmla="*/ 406400 h 763540"/>
                      <a:gd name="connsiteX50" fmla="*/ 230909 w 1637915"/>
                      <a:gd name="connsiteY50" fmla="*/ 384849 h 763540"/>
                      <a:gd name="connsiteX51" fmla="*/ 206279 w 1637915"/>
                      <a:gd name="connsiteY51" fmla="*/ 375613 h 763540"/>
                      <a:gd name="connsiteX52" fmla="*/ 178570 w 1637915"/>
                      <a:gd name="connsiteY52" fmla="*/ 372534 h 763540"/>
                      <a:gd name="connsiteX53" fmla="*/ 153939 w 1637915"/>
                      <a:gd name="connsiteY53" fmla="*/ 381770 h 763540"/>
                      <a:gd name="connsiteX54" fmla="*/ 144703 w 1637915"/>
                      <a:gd name="connsiteY54" fmla="*/ 381770 h 763540"/>
                      <a:gd name="connsiteX55" fmla="*/ 138545 w 1637915"/>
                      <a:gd name="connsiteY55" fmla="*/ 363297 h 763540"/>
                      <a:gd name="connsiteX56" fmla="*/ 120073 w 1637915"/>
                      <a:gd name="connsiteY56" fmla="*/ 307879 h 763540"/>
                      <a:gd name="connsiteX57" fmla="*/ 120073 w 1637915"/>
                      <a:gd name="connsiteY57" fmla="*/ 289406 h 763540"/>
                      <a:gd name="connsiteX58" fmla="*/ 107758 w 1637915"/>
                      <a:gd name="connsiteY58" fmla="*/ 246303 h 763540"/>
                      <a:gd name="connsiteX59" fmla="*/ 83127 w 1637915"/>
                      <a:gd name="connsiteY59" fmla="*/ 184728 h 763540"/>
                      <a:gd name="connsiteX60" fmla="*/ 58497 w 1637915"/>
                      <a:gd name="connsiteY60" fmla="*/ 123152 h 763540"/>
                      <a:gd name="connsiteX61" fmla="*/ 43103 w 1637915"/>
                      <a:gd name="connsiteY61" fmla="*/ 80049 h 763540"/>
                      <a:gd name="connsiteX62" fmla="*/ 24630 w 1637915"/>
                      <a:gd name="connsiteY62" fmla="*/ 40025 h 763540"/>
                      <a:gd name="connsiteX63" fmla="*/ 0 w 1637915"/>
                      <a:gd name="connsiteY63" fmla="*/ 0 h 763540"/>
                      <a:gd name="connsiteX0" fmla="*/ 1613285 w 1613285"/>
                      <a:gd name="connsiteY0" fmla="*/ 723515 h 723515"/>
                      <a:gd name="connsiteX1" fmla="*/ 1554788 w 1613285"/>
                      <a:gd name="connsiteY1" fmla="*/ 708121 h 723515"/>
                      <a:gd name="connsiteX2" fmla="*/ 1520921 w 1613285"/>
                      <a:gd name="connsiteY2" fmla="*/ 692727 h 723515"/>
                      <a:gd name="connsiteX3" fmla="*/ 1505528 w 1613285"/>
                      <a:gd name="connsiteY3" fmla="*/ 680412 h 723515"/>
                      <a:gd name="connsiteX4" fmla="*/ 1459346 w 1613285"/>
                      <a:gd name="connsiteY4" fmla="*/ 680412 h 723515"/>
                      <a:gd name="connsiteX5" fmla="*/ 1443952 w 1613285"/>
                      <a:gd name="connsiteY5" fmla="*/ 671175 h 723515"/>
                      <a:gd name="connsiteX6" fmla="*/ 1400849 w 1613285"/>
                      <a:gd name="connsiteY6" fmla="*/ 680412 h 723515"/>
                      <a:gd name="connsiteX7" fmla="*/ 1357746 w 1613285"/>
                      <a:gd name="connsiteY7" fmla="*/ 680412 h 723515"/>
                      <a:gd name="connsiteX8" fmla="*/ 1323879 w 1613285"/>
                      <a:gd name="connsiteY8" fmla="*/ 680412 h 723515"/>
                      <a:gd name="connsiteX9" fmla="*/ 1290012 w 1613285"/>
                      <a:gd name="connsiteY9" fmla="*/ 661939 h 723515"/>
                      <a:gd name="connsiteX10" fmla="*/ 1268461 w 1613285"/>
                      <a:gd name="connsiteY10" fmla="*/ 646545 h 723515"/>
                      <a:gd name="connsiteX11" fmla="*/ 1265382 w 1613285"/>
                      <a:gd name="connsiteY11" fmla="*/ 631151 h 723515"/>
                      <a:gd name="connsiteX12" fmla="*/ 1265382 w 1613285"/>
                      <a:gd name="connsiteY12" fmla="*/ 615757 h 723515"/>
                      <a:gd name="connsiteX13" fmla="*/ 1271540 w 1613285"/>
                      <a:gd name="connsiteY13" fmla="*/ 600363 h 723515"/>
                      <a:gd name="connsiteX14" fmla="*/ 1277697 w 1613285"/>
                      <a:gd name="connsiteY14" fmla="*/ 581891 h 723515"/>
                      <a:gd name="connsiteX15" fmla="*/ 1259225 w 1613285"/>
                      <a:gd name="connsiteY15" fmla="*/ 566497 h 723515"/>
                      <a:gd name="connsiteX16" fmla="*/ 1200728 w 1613285"/>
                      <a:gd name="connsiteY16" fmla="*/ 548024 h 723515"/>
                      <a:gd name="connsiteX17" fmla="*/ 1151467 w 1613285"/>
                      <a:gd name="connsiteY17" fmla="*/ 526472 h 723515"/>
                      <a:gd name="connsiteX18" fmla="*/ 1065261 w 1613285"/>
                      <a:gd name="connsiteY18" fmla="*/ 520315 h 723515"/>
                      <a:gd name="connsiteX19" fmla="*/ 1009843 w 1613285"/>
                      <a:gd name="connsiteY19" fmla="*/ 520315 h 723515"/>
                      <a:gd name="connsiteX20" fmla="*/ 942109 w 1613285"/>
                      <a:gd name="connsiteY20" fmla="*/ 532630 h 723515"/>
                      <a:gd name="connsiteX21" fmla="*/ 899006 w 1613285"/>
                      <a:gd name="connsiteY21" fmla="*/ 541866 h 723515"/>
                      <a:gd name="connsiteX22" fmla="*/ 889770 w 1613285"/>
                      <a:gd name="connsiteY22" fmla="*/ 541866 h 723515"/>
                      <a:gd name="connsiteX23" fmla="*/ 883612 w 1613285"/>
                      <a:gd name="connsiteY23" fmla="*/ 523394 h 723515"/>
                      <a:gd name="connsiteX24" fmla="*/ 865140 w 1613285"/>
                      <a:gd name="connsiteY24" fmla="*/ 517236 h 723515"/>
                      <a:gd name="connsiteX25" fmla="*/ 834352 w 1613285"/>
                      <a:gd name="connsiteY25" fmla="*/ 526472 h 723515"/>
                      <a:gd name="connsiteX26" fmla="*/ 785091 w 1613285"/>
                      <a:gd name="connsiteY26" fmla="*/ 508000 h 723515"/>
                      <a:gd name="connsiteX27" fmla="*/ 766618 w 1613285"/>
                      <a:gd name="connsiteY27" fmla="*/ 498763 h 723515"/>
                      <a:gd name="connsiteX28" fmla="*/ 741988 w 1613285"/>
                      <a:gd name="connsiteY28" fmla="*/ 504921 h 723515"/>
                      <a:gd name="connsiteX29" fmla="*/ 698885 w 1613285"/>
                      <a:gd name="connsiteY29" fmla="*/ 501842 h 723515"/>
                      <a:gd name="connsiteX30" fmla="*/ 674255 w 1613285"/>
                      <a:gd name="connsiteY30" fmla="*/ 498763 h 723515"/>
                      <a:gd name="connsiteX31" fmla="*/ 658861 w 1613285"/>
                      <a:gd name="connsiteY31" fmla="*/ 511078 h 723515"/>
                      <a:gd name="connsiteX32" fmla="*/ 637309 w 1613285"/>
                      <a:gd name="connsiteY32" fmla="*/ 517236 h 723515"/>
                      <a:gd name="connsiteX33" fmla="*/ 606521 w 1613285"/>
                      <a:gd name="connsiteY33" fmla="*/ 495684 h 723515"/>
                      <a:gd name="connsiteX34" fmla="*/ 594206 w 1613285"/>
                      <a:gd name="connsiteY34" fmla="*/ 477212 h 723515"/>
                      <a:gd name="connsiteX35" fmla="*/ 584970 w 1613285"/>
                      <a:gd name="connsiteY35" fmla="*/ 477212 h 723515"/>
                      <a:gd name="connsiteX36" fmla="*/ 578812 w 1613285"/>
                      <a:gd name="connsiteY36" fmla="*/ 492606 h 723515"/>
                      <a:gd name="connsiteX37" fmla="*/ 554182 w 1613285"/>
                      <a:gd name="connsiteY37" fmla="*/ 511078 h 723515"/>
                      <a:gd name="connsiteX38" fmla="*/ 538788 w 1613285"/>
                      <a:gd name="connsiteY38" fmla="*/ 517236 h 723515"/>
                      <a:gd name="connsiteX39" fmla="*/ 538788 w 1613285"/>
                      <a:gd name="connsiteY39" fmla="*/ 501842 h 723515"/>
                      <a:gd name="connsiteX40" fmla="*/ 535709 w 1613285"/>
                      <a:gd name="connsiteY40" fmla="*/ 477212 h 723515"/>
                      <a:gd name="connsiteX41" fmla="*/ 511079 w 1613285"/>
                      <a:gd name="connsiteY41" fmla="*/ 461818 h 723515"/>
                      <a:gd name="connsiteX42" fmla="*/ 483370 w 1613285"/>
                      <a:gd name="connsiteY42" fmla="*/ 455660 h 723515"/>
                      <a:gd name="connsiteX43" fmla="*/ 434109 w 1613285"/>
                      <a:gd name="connsiteY43" fmla="*/ 443345 h 723515"/>
                      <a:gd name="connsiteX44" fmla="*/ 391006 w 1613285"/>
                      <a:gd name="connsiteY44" fmla="*/ 431030 h 723515"/>
                      <a:gd name="connsiteX45" fmla="*/ 354061 w 1613285"/>
                      <a:gd name="connsiteY45" fmla="*/ 412557 h 723515"/>
                      <a:gd name="connsiteX46" fmla="*/ 320194 w 1613285"/>
                      <a:gd name="connsiteY46" fmla="*/ 384848 h 723515"/>
                      <a:gd name="connsiteX47" fmla="*/ 289406 w 1613285"/>
                      <a:gd name="connsiteY47" fmla="*/ 369454 h 723515"/>
                      <a:gd name="connsiteX48" fmla="*/ 258618 w 1613285"/>
                      <a:gd name="connsiteY48" fmla="*/ 369454 h 723515"/>
                      <a:gd name="connsiteX49" fmla="*/ 233988 w 1613285"/>
                      <a:gd name="connsiteY49" fmla="*/ 366375 h 723515"/>
                      <a:gd name="connsiteX50" fmla="*/ 206279 w 1613285"/>
                      <a:gd name="connsiteY50" fmla="*/ 344824 h 723515"/>
                      <a:gd name="connsiteX51" fmla="*/ 181649 w 1613285"/>
                      <a:gd name="connsiteY51" fmla="*/ 335588 h 723515"/>
                      <a:gd name="connsiteX52" fmla="*/ 153940 w 1613285"/>
                      <a:gd name="connsiteY52" fmla="*/ 332509 h 723515"/>
                      <a:gd name="connsiteX53" fmla="*/ 129309 w 1613285"/>
                      <a:gd name="connsiteY53" fmla="*/ 341745 h 723515"/>
                      <a:gd name="connsiteX54" fmla="*/ 120073 w 1613285"/>
                      <a:gd name="connsiteY54" fmla="*/ 341745 h 723515"/>
                      <a:gd name="connsiteX55" fmla="*/ 113915 w 1613285"/>
                      <a:gd name="connsiteY55" fmla="*/ 323272 h 723515"/>
                      <a:gd name="connsiteX56" fmla="*/ 95443 w 1613285"/>
                      <a:gd name="connsiteY56" fmla="*/ 267854 h 723515"/>
                      <a:gd name="connsiteX57" fmla="*/ 95443 w 1613285"/>
                      <a:gd name="connsiteY57" fmla="*/ 249381 h 723515"/>
                      <a:gd name="connsiteX58" fmla="*/ 83128 w 1613285"/>
                      <a:gd name="connsiteY58" fmla="*/ 206278 h 723515"/>
                      <a:gd name="connsiteX59" fmla="*/ 58497 w 1613285"/>
                      <a:gd name="connsiteY59" fmla="*/ 144703 h 723515"/>
                      <a:gd name="connsiteX60" fmla="*/ 33867 w 1613285"/>
                      <a:gd name="connsiteY60" fmla="*/ 83127 h 723515"/>
                      <a:gd name="connsiteX61" fmla="*/ 18473 w 1613285"/>
                      <a:gd name="connsiteY61" fmla="*/ 40024 h 723515"/>
                      <a:gd name="connsiteX62" fmla="*/ 0 w 1613285"/>
                      <a:gd name="connsiteY62" fmla="*/ 0 h 723515"/>
                      <a:gd name="connsiteX0" fmla="*/ 1594812 w 1594812"/>
                      <a:gd name="connsiteY0" fmla="*/ 683491 h 683491"/>
                      <a:gd name="connsiteX1" fmla="*/ 1536315 w 1594812"/>
                      <a:gd name="connsiteY1" fmla="*/ 668097 h 683491"/>
                      <a:gd name="connsiteX2" fmla="*/ 1502448 w 1594812"/>
                      <a:gd name="connsiteY2" fmla="*/ 652703 h 683491"/>
                      <a:gd name="connsiteX3" fmla="*/ 1487055 w 1594812"/>
                      <a:gd name="connsiteY3" fmla="*/ 640388 h 683491"/>
                      <a:gd name="connsiteX4" fmla="*/ 1440873 w 1594812"/>
                      <a:gd name="connsiteY4" fmla="*/ 640388 h 683491"/>
                      <a:gd name="connsiteX5" fmla="*/ 1425479 w 1594812"/>
                      <a:gd name="connsiteY5" fmla="*/ 631151 h 683491"/>
                      <a:gd name="connsiteX6" fmla="*/ 1382376 w 1594812"/>
                      <a:gd name="connsiteY6" fmla="*/ 640388 h 683491"/>
                      <a:gd name="connsiteX7" fmla="*/ 1339273 w 1594812"/>
                      <a:gd name="connsiteY7" fmla="*/ 640388 h 683491"/>
                      <a:gd name="connsiteX8" fmla="*/ 1305406 w 1594812"/>
                      <a:gd name="connsiteY8" fmla="*/ 640388 h 683491"/>
                      <a:gd name="connsiteX9" fmla="*/ 1271539 w 1594812"/>
                      <a:gd name="connsiteY9" fmla="*/ 621915 h 683491"/>
                      <a:gd name="connsiteX10" fmla="*/ 1249988 w 1594812"/>
                      <a:gd name="connsiteY10" fmla="*/ 606521 h 683491"/>
                      <a:gd name="connsiteX11" fmla="*/ 1246909 w 1594812"/>
                      <a:gd name="connsiteY11" fmla="*/ 591127 h 683491"/>
                      <a:gd name="connsiteX12" fmla="*/ 1246909 w 1594812"/>
                      <a:gd name="connsiteY12" fmla="*/ 575733 h 683491"/>
                      <a:gd name="connsiteX13" fmla="*/ 1253067 w 1594812"/>
                      <a:gd name="connsiteY13" fmla="*/ 560339 h 683491"/>
                      <a:gd name="connsiteX14" fmla="*/ 1259224 w 1594812"/>
                      <a:gd name="connsiteY14" fmla="*/ 541867 h 683491"/>
                      <a:gd name="connsiteX15" fmla="*/ 1240752 w 1594812"/>
                      <a:gd name="connsiteY15" fmla="*/ 526473 h 683491"/>
                      <a:gd name="connsiteX16" fmla="*/ 1182255 w 1594812"/>
                      <a:gd name="connsiteY16" fmla="*/ 508000 h 683491"/>
                      <a:gd name="connsiteX17" fmla="*/ 1132994 w 1594812"/>
                      <a:gd name="connsiteY17" fmla="*/ 486448 h 683491"/>
                      <a:gd name="connsiteX18" fmla="*/ 1046788 w 1594812"/>
                      <a:gd name="connsiteY18" fmla="*/ 480291 h 683491"/>
                      <a:gd name="connsiteX19" fmla="*/ 991370 w 1594812"/>
                      <a:gd name="connsiteY19" fmla="*/ 480291 h 683491"/>
                      <a:gd name="connsiteX20" fmla="*/ 923636 w 1594812"/>
                      <a:gd name="connsiteY20" fmla="*/ 492606 h 683491"/>
                      <a:gd name="connsiteX21" fmla="*/ 880533 w 1594812"/>
                      <a:gd name="connsiteY21" fmla="*/ 501842 h 683491"/>
                      <a:gd name="connsiteX22" fmla="*/ 871297 w 1594812"/>
                      <a:gd name="connsiteY22" fmla="*/ 501842 h 683491"/>
                      <a:gd name="connsiteX23" fmla="*/ 865139 w 1594812"/>
                      <a:gd name="connsiteY23" fmla="*/ 483370 h 683491"/>
                      <a:gd name="connsiteX24" fmla="*/ 846667 w 1594812"/>
                      <a:gd name="connsiteY24" fmla="*/ 477212 h 683491"/>
                      <a:gd name="connsiteX25" fmla="*/ 815879 w 1594812"/>
                      <a:gd name="connsiteY25" fmla="*/ 486448 h 683491"/>
                      <a:gd name="connsiteX26" fmla="*/ 766618 w 1594812"/>
                      <a:gd name="connsiteY26" fmla="*/ 467976 h 683491"/>
                      <a:gd name="connsiteX27" fmla="*/ 748145 w 1594812"/>
                      <a:gd name="connsiteY27" fmla="*/ 458739 h 683491"/>
                      <a:gd name="connsiteX28" fmla="*/ 723515 w 1594812"/>
                      <a:gd name="connsiteY28" fmla="*/ 464897 h 683491"/>
                      <a:gd name="connsiteX29" fmla="*/ 680412 w 1594812"/>
                      <a:gd name="connsiteY29" fmla="*/ 461818 h 683491"/>
                      <a:gd name="connsiteX30" fmla="*/ 655782 w 1594812"/>
                      <a:gd name="connsiteY30" fmla="*/ 458739 h 683491"/>
                      <a:gd name="connsiteX31" fmla="*/ 640388 w 1594812"/>
                      <a:gd name="connsiteY31" fmla="*/ 471054 h 683491"/>
                      <a:gd name="connsiteX32" fmla="*/ 618836 w 1594812"/>
                      <a:gd name="connsiteY32" fmla="*/ 477212 h 683491"/>
                      <a:gd name="connsiteX33" fmla="*/ 588048 w 1594812"/>
                      <a:gd name="connsiteY33" fmla="*/ 455660 h 683491"/>
                      <a:gd name="connsiteX34" fmla="*/ 575733 w 1594812"/>
                      <a:gd name="connsiteY34" fmla="*/ 437188 h 683491"/>
                      <a:gd name="connsiteX35" fmla="*/ 566497 w 1594812"/>
                      <a:gd name="connsiteY35" fmla="*/ 437188 h 683491"/>
                      <a:gd name="connsiteX36" fmla="*/ 560339 w 1594812"/>
                      <a:gd name="connsiteY36" fmla="*/ 452582 h 683491"/>
                      <a:gd name="connsiteX37" fmla="*/ 535709 w 1594812"/>
                      <a:gd name="connsiteY37" fmla="*/ 471054 h 683491"/>
                      <a:gd name="connsiteX38" fmla="*/ 520315 w 1594812"/>
                      <a:gd name="connsiteY38" fmla="*/ 477212 h 683491"/>
                      <a:gd name="connsiteX39" fmla="*/ 520315 w 1594812"/>
                      <a:gd name="connsiteY39" fmla="*/ 461818 h 683491"/>
                      <a:gd name="connsiteX40" fmla="*/ 517236 w 1594812"/>
                      <a:gd name="connsiteY40" fmla="*/ 437188 h 683491"/>
                      <a:gd name="connsiteX41" fmla="*/ 492606 w 1594812"/>
                      <a:gd name="connsiteY41" fmla="*/ 421794 h 683491"/>
                      <a:gd name="connsiteX42" fmla="*/ 464897 w 1594812"/>
                      <a:gd name="connsiteY42" fmla="*/ 415636 h 683491"/>
                      <a:gd name="connsiteX43" fmla="*/ 415636 w 1594812"/>
                      <a:gd name="connsiteY43" fmla="*/ 403321 h 683491"/>
                      <a:gd name="connsiteX44" fmla="*/ 372533 w 1594812"/>
                      <a:gd name="connsiteY44" fmla="*/ 391006 h 683491"/>
                      <a:gd name="connsiteX45" fmla="*/ 335588 w 1594812"/>
                      <a:gd name="connsiteY45" fmla="*/ 372533 h 683491"/>
                      <a:gd name="connsiteX46" fmla="*/ 301721 w 1594812"/>
                      <a:gd name="connsiteY46" fmla="*/ 344824 h 683491"/>
                      <a:gd name="connsiteX47" fmla="*/ 270933 w 1594812"/>
                      <a:gd name="connsiteY47" fmla="*/ 329430 h 683491"/>
                      <a:gd name="connsiteX48" fmla="*/ 240145 w 1594812"/>
                      <a:gd name="connsiteY48" fmla="*/ 329430 h 683491"/>
                      <a:gd name="connsiteX49" fmla="*/ 215515 w 1594812"/>
                      <a:gd name="connsiteY49" fmla="*/ 326351 h 683491"/>
                      <a:gd name="connsiteX50" fmla="*/ 187806 w 1594812"/>
                      <a:gd name="connsiteY50" fmla="*/ 304800 h 683491"/>
                      <a:gd name="connsiteX51" fmla="*/ 163176 w 1594812"/>
                      <a:gd name="connsiteY51" fmla="*/ 295564 h 683491"/>
                      <a:gd name="connsiteX52" fmla="*/ 135467 w 1594812"/>
                      <a:gd name="connsiteY52" fmla="*/ 292485 h 683491"/>
                      <a:gd name="connsiteX53" fmla="*/ 110836 w 1594812"/>
                      <a:gd name="connsiteY53" fmla="*/ 301721 h 683491"/>
                      <a:gd name="connsiteX54" fmla="*/ 101600 w 1594812"/>
                      <a:gd name="connsiteY54" fmla="*/ 301721 h 683491"/>
                      <a:gd name="connsiteX55" fmla="*/ 95442 w 1594812"/>
                      <a:gd name="connsiteY55" fmla="*/ 283248 h 683491"/>
                      <a:gd name="connsiteX56" fmla="*/ 76970 w 1594812"/>
                      <a:gd name="connsiteY56" fmla="*/ 227830 h 683491"/>
                      <a:gd name="connsiteX57" fmla="*/ 76970 w 1594812"/>
                      <a:gd name="connsiteY57" fmla="*/ 209357 h 683491"/>
                      <a:gd name="connsiteX58" fmla="*/ 64655 w 1594812"/>
                      <a:gd name="connsiteY58" fmla="*/ 166254 h 683491"/>
                      <a:gd name="connsiteX59" fmla="*/ 40024 w 1594812"/>
                      <a:gd name="connsiteY59" fmla="*/ 104679 h 683491"/>
                      <a:gd name="connsiteX60" fmla="*/ 15394 w 1594812"/>
                      <a:gd name="connsiteY60" fmla="*/ 43103 h 683491"/>
                      <a:gd name="connsiteX61" fmla="*/ 0 w 1594812"/>
                      <a:gd name="connsiteY61" fmla="*/ 0 h 683491"/>
                      <a:gd name="connsiteX0" fmla="*/ 1536315 w 1536315"/>
                      <a:gd name="connsiteY0" fmla="*/ 668097 h 668097"/>
                      <a:gd name="connsiteX1" fmla="*/ 1502448 w 1536315"/>
                      <a:gd name="connsiteY1" fmla="*/ 652703 h 668097"/>
                      <a:gd name="connsiteX2" fmla="*/ 1487055 w 1536315"/>
                      <a:gd name="connsiteY2" fmla="*/ 640388 h 668097"/>
                      <a:gd name="connsiteX3" fmla="*/ 1440873 w 1536315"/>
                      <a:gd name="connsiteY3" fmla="*/ 640388 h 668097"/>
                      <a:gd name="connsiteX4" fmla="*/ 1425479 w 1536315"/>
                      <a:gd name="connsiteY4" fmla="*/ 631151 h 668097"/>
                      <a:gd name="connsiteX5" fmla="*/ 1382376 w 1536315"/>
                      <a:gd name="connsiteY5" fmla="*/ 640388 h 668097"/>
                      <a:gd name="connsiteX6" fmla="*/ 1339273 w 1536315"/>
                      <a:gd name="connsiteY6" fmla="*/ 640388 h 668097"/>
                      <a:gd name="connsiteX7" fmla="*/ 1305406 w 1536315"/>
                      <a:gd name="connsiteY7" fmla="*/ 640388 h 668097"/>
                      <a:gd name="connsiteX8" fmla="*/ 1271539 w 1536315"/>
                      <a:gd name="connsiteY8" fmla="*/ 621915 h 668097"/>
                      <a:gd name="connsiteX9" fmla="*/ 1249988 w 1536315"/>
                      <a:gd name="connsiteY9" fmla="*/ 606521 h 668097"/>
                      <a:gd name="connsiteX10" fmla="*/ 1246909 w 1536315"/>
                      <a:gd name="connsiteY10" fmla="*/ 591127 h 668097"/>
                      <a:gd name="connsiteX11" fmla="*/ 1246909 w 1536315"/>
                      <a:gd name="connsiteY11" fmla="*/ 575733 h 668097"/>
                      <a:gd name="connsiteX12" fmla="*/ 1253067 w 1536315"/>
                      <a:gd name="connsiteY12" fmla="*/ 560339 h 668097"/>
                      <a:gd name="connsiteX13" fmla="*/ 1259224 w 1536315"/>
                      <a:gd name="connsiteY13" fmla="*/ 541867 h 668097"/>
                      <a:gd name="connsiteX14" fmla="*/ 1240752 w 1536315"/>
                      <a:gd name="connsiteY14" fmla="*/ 526473 h 668097"/>
                      <a:gd name="connsiteX15" fmla="*/ 1182255 w 1536315"/>
                      <a:gd name="connsiteY15" fmla="*/ 508000 h 668097"/>
                      <a:gd name="connsiteX16" fmla="*/ 1132994 w 1536315"/>
                      <a:gd name="connsiteY16" fmla="*/ 486448 h 668097"/>
                      <a:gd name="connsiteX17" fmla="*/ 1046788 w 1536315"/>
                      <a:gd name="connsiteY17" fmla="*/ 480291 h 668097"/>
                      <a:gd name="connsiteX18" fmla="*/ 991370 w 1536315"/>
                      <a:gd name="connsiteY18" fmla="*/ 480291 h 668097"/>
                      <a:gd name="connsiteX19" fmla="*/ 923636 w 1536315"/>
                      <a:gd name="connsiteY19" fmla="*/ 492606 h 668097"/>
                      <a:gd name="connsiteX20" fmla="*/ 880533 w 1536315"/>
                      <a:gd name="connsiteY20" fmla="*/ 501842 h 668097"/>
                      <a:gd name="connsiteX21" fmla="*/ 871297 w 1536315"/>
                      <a:gd name="connsiteY21" fmla="*/ 501842 h 668097"/>
                      <a:gd name="connsiteX22" fmla="*/ 865139 w 1536315"/>
                      <a:gd name="connsiteY22" fmla="*/ 483370 h 668097"/>
                      <a:gd name="connsiteX23" fmla="*/ 846667 w 1536315"/>
                      <a:gd name="connsiteY23" fmla="*/ 477212 h 668097"/>
                      <a:gd name="connsiteX24" fmla="*/ 815879 w 1536315"/>
                      <a:gd name="connsiteY24" fmla="*/ 486448 h 668097"/>
                      <a:gd name="connsiteX25" fmla="*/ 766618 w 1536315"/>
                      <a:gd name="connsiteY25" fmla="*/ 467976 h 668097"/>
                      <a:gd name="connsiteX26" fmla="*/ 748145 w 1536315"/>
                      <a:gd name="connsiteY26" fmla="*/ 458739 h 668097"/>
                      <a:gd name="connsiteX27" fmla="*/ 723515 w 1536315"/>
                      <a:gd name="connsiteY27" fmla="*/ 464897 h 668097"/>
                      <a:gd name="connsiteX28" fmla="*/ 680412 w 1536315"/>
                      <a:gd name="connsiteY28" fmla="*/ 461818 h 668097"/>
                      <a:gd name="connsiteX29" fmla="*/ 655782 w 1536315"/>
                      <a:gd name="connsiteY29" fmla="*/ 458739 h 668097"/>
                      <a:gd name="connsiteX30" fmla="*/ 640388 w 1536315"/>
                      <a:gd name="connsiteY30" fmla="*/ 471054 h 668097"/>
                      <a:gd name="connsiteX31" fmla="*/ 618836 w 1536315"/>
                      <a:gd name="connsiteY31" fmla="*/ 477212 h 668097"/>
                      <a:gd name="connsiteX32" fmla="*/ 588048 w 1536315"/>
                      <a:gd name="connsiteY32" fmla="*/ 455660 h 668097"/>
                      <a:gd name="connsiteX33" fmla="*/ 575733 w 1536315"/>
                      <a:gd name="connsiteY33" fmla="*/ 437188 h 668097"/>
                      <a:gd name="connsiteX34" fmla="*/ 566497 w 1536315"/>
                      <a:gd name="connsiteY34" fmla="*/ 437188 h 668097"/>
                      <a:gd name="connsiteX35" fmla="*/ 560339 w 1536315"/>
                      <a:gd name="connsiteY35" fmla="*/ 452582 h 668097"/>
                      <a:gd name="connsiteX36" fmla="*/ 535709 w 1536315"/>
                      <a:gd name="connsiteY36" fmla="*/ 471054 h 668097"/>
                      <a:gd name="connsiteX37" fmla="*/ 520315 w 1536315"/>
                      <a:gd name="connsiteY37" fmla="*/ 477212 h 668097"/>
                      <a:gd name="connsiteX38" fmla="*/ 520315 w 1536315"/>
                      <a:gd name="connsiteY38" fmla="*/ 461818 h 668097"/>
                      <a:gd name="connsiteX39" fmla="*/ 517236 w 1536315"/>
                      <a:gd name="connsiteY39" fmla="*/ 437188 h 668097"/>
                      <a:gd name="connsiteX40" fmla="*/ 492606 w 1536315"/>
                      <a:gd name="connsiteY40" fmla="*/ 421794 h 668097"/>
                      <a:gd name="connsiteX41" fmla="*/ 464897 w 1536315"/>
                      <a:gd name="connsiteY41" fmla="*/ 415636 h 668097"/>
                      <a:gd name="connsiteX42" fmla="*/ 415636 w 1536315"/>
                      <a:gd name="connsiteY42" fmla="*/ 403321 h 668097"/>
                      <a:gd name="connsiteX43" fmla="*/ 372533 w 1536315"/>
                      <a:gd name="connsiteY43" fmla="*/ 391006 h 668097"/>
                      <a:gd name="connsiteX44" fmla="*/ 335588 w 1536315"/>
                      <a:gd name="connsiteY44" fmla="*/ 372533 h 668097"/>
                      <a:gd name="connsiteX45" fmla="*/ 301721 w 1536315"/>
                      <a:gd name="connsiteY45" fmla="*/ 344824 h 668097"/>
                      <a:gd name="connsiteX46" fmla="*/ 270933 w 1536315"/>
                      <a:gd name="connsiteY46" fmla="*/ 329430 h 668097"/>
                      <a:gd name="connsiteX47" fmla="*/ 240145 w 1536315"/>
                      <a:gd name="connsiteY47" fmla="*/ 329430 h 668097"/>
                      <a:gd name="connsiteX48" fmla="*/ 215515 w 1536315"/>
                      <a:gd name="connsiteY48" fmla="*/ 326351 h 668097"/>
                      <a:gd name="connsiteX49" fmla="*/ 187806 w 1536315"/>
                      <a:gd name="connsiteY49" fmla="*/ 304800 h 668097"/>
                      <a:gd name="connsiteX50" fmla="*/ 163176 w 1536315"/>
                      <a:gd name="connsiteY50" fmla="*/ 295564 h 668097"/>
                      <a:gd name="connsiteX51" fmla="*/ 135467 w 1536315"/>
                      <a:gd name="connsiteY51" fmla="*/ 292485 h 668097"/>
                      <a:gd name="connsiteX52" fmla="*/ 110836 w 1536315"/>
                      <a:gd name="connsiteY52" fmla="*/ 301721 h 668097"/>
                      <a:gd name="connsiteX53" fmla="*/ 101600 w 1536315"/>
                      <a:gd name="connsiteY53" fmla="*/ 301721 h 668097"/>
                      <a:gd name="connsiteX54" fmla="*/ 95442 w 1536315"/>
                      <a:gd name="connsiteY54" fmla="*/ 283248 h 668097"/>
                      <a:gd name="connsiteX55" fmla="*/ 76970 w 1536315"/>
                      <a:gd name="connsiteY55" fmla="*/ 227830 h 668097"/>
                      <a:gd name="connsiteX56" fmla="*/ 76970 w 1536315"/>
                      <a:gd name="connsiteY56" fmla="*/ 209357 h 668097"/>
                      <a:gd name="connsiteX57" fmla="*/ 64655 w 1536315"/>
                      <a:gd name="connsiteY57" fmla="*/ 166254 h 668097"/>
                      <a:gd name="connsiteX58" fmla="*/ 40024 w 1536315"/>
                      <a:gd name="connsiteY58" fmla="*/ 104679 h 668097"/>
                      <a:gd name="connsiteX59" fmla="*/ 15394 w 1536315"/>
                      <a:gd name="connsiteY59" fmla="*/ 43103 h 668097"/>
                      <a:gd name="connsiteX60" fmla="*/ 0 w 1536315"/>
                      <a:gd name="connsiteY60" fmla="*/ 0 h 668097"/>
                      <a:gd name="connsiteX0" fmla="*/ 1502448 w 1502448"/>
                      <a:gd name="connsiteY0" fmla="*/ 652703 h 652703"/>
                      <a:gd name="connsiteX1" fmla="*/ 1487055 w 1502448"/>
                      <a:gd name="connsiteY1" fmla="*/ 640388 h 652703"/>
                      <a:gd name="connsiteX2" fmla="*/ 1440873 w 1502448"/>
                      <a:gd name="connsiteY2" fmla="*/ 640388 h 652703"/>
                      <a:gd name="connsiteX3" fmla="*/ 1425479 w 1502448"/>
                      <a:gd name="connsiteY3" fmla="*/ 631151 h 652703"/>
                      <a:gd name="connsiteX4" fmla="*/ 1382376 w 1502448"/>
                      <a:gd name="connsiteY4" fmla="*/ 640388 h 652703"/>
                      <a:gd name="connsiteX5" fmla="*/ 1339273 w 1502448"/>
                      <a:gd name="connsiteY5" fmla="*/ 640388 h 652703"/>
                      <a:gd name="connsiteX6" fmla="*/ 1305406 w 1502448"/>
                      <a:gd name="connsiteY6" fmla="*/ 640388 h 652703"/>
                      <a:gd name="connsiteX7" fmla="*/ 1271539 w 1502448"/>
                      <a:gd name="connsiteY7" fmla="*/ 621915 h 652703"/>
                      <a:gd name="connsiteX8" fmla="*/ 1249988 w 1502448"/>
                      <a:gd name="connsiteY8" fmla="*/ 606521 h 652703"/>
                      <a:gd name="connsiteX9" fmla="*/ 1246909 w 1502448"/>
                      <a:gd name="connsiteY9" fmla="*/ 591127 h 652703"/>
                      <a:gd name="connsiteX10" fmla="*/ 1246909 w 1502448"/>
                      <a:gd name="connsiteY10" fmla="*/ 575733 h 652703"/>
                      <a:gd name="connsiteX11" fmla="*/ 1253067 w 1502448"/>
                      <a:gd name="connsiteY11" fmla="*/ 560339 h 652703"/>
                      <a:gd name="connsiteX12" fmla="*/ 1259224 w 1502448"/>
                      <a:gd name="connsiteY12" fmla="*/ 541867 h 652703"/>
                      <a:gd name="connsiteX13" fmla="*/ 1240752 w 1502448"/>
                      <a:gd name="connsiteY13" fmla="*/ 526473 h 652703"/>
                      <a:gd name="connsiteX14" fmla="*/ 1182255 w 1502448"/>
                      <a:gd name="connsiteY14" fmla="*/ 508000 h 652703"/>
                      <a:gd name="connsiteX15" fmla="*/ 1132994 w 1502448"/>
                      <a:gd name="connsiteY15" fmla="*/ 486448 h 652703"/>
                      <a:gd name="connsiteX16" fmla="*/ 1046788 w 1502448"/>
                      <a:gd name="connsiteY16" fmla="*/ 480291 h 652703"/>
                      <a:gd name="connsiteX17" fmla="*/ 991370 w 1502448"/>
                      <a:gd name="connsiteY17" fmla="*/ 480291 h 652703"/>
                      <a:gd name="connsiteX18" fmla="*/ 923636 w 1502448"/>
                      <a:gd name="connsiteY18" fmla="*/ 492606 h 652703"/>
                      <a:gd name="connsiteX19" fmla="*/ 880533 w 1502448"/>
                      <a:gd name="connsiteY19" fmla="*/ 501842 h 652703"/>
                      <a:gd name="connsiteX20" fmla="*/ 871297 w 1502448"/>
                      <a:gd name="connsiteY20" fmla="*/ 501842 h 652703"/>
                      <a:gd name="connsiteX21" fmla="*/ 865139 w 1502448"/>
                      <a:gd name="connsiteY21" fmla="*/ 483370 h 652703"/>
                      <a:gd name="connsiteX22" fmla="*/ 846667 w 1502448"/>
                      <a:gd name="connsiteY22" fmla="*/ 477212 h 652703"/>
                      <a:gd name="connsiteX23" fmla="*/ 815879 w 1502448"/>
                      <a:gd name="connsiteY23" fmla="*/ 486448 h 652703"/>
                      <a:gd name="connsiteX24" fmla="*/ 766618 w 1502448"/>
                      <a:gd name="connsiteY24" fmla="*/ 467976 h 652703"/>
                      <a:gd name="connsiteX25" fmla="*/ 748145 w 1502448"/>
                      <a:gd name="connsiteY25" fmla="*/ 458739 h 652703"/>
                      <a:gd name="connsiteX26" fmla="*/ 723515 w 1502448"/>
                      <a:gd name="connsiteY26" fmla="*/ 464897 h 652703"/>
                      <a:gd name="connsiteX27" fmla="*/ 680412 w 1502448"/>
                      <a:gd name="connsiteY27" fmla="*/ 461818 h 652703"/>
                      <a:gd name="connsiteX28" fmla="*/ 655782 w 1502448"/>
                      <a:gd name="connsiteY28" fmla="*/ 458739 h 652703"/>
                      <a:gd name="connsiteX29" fmla="*/ 640388 w 1502448"/>
                      <a:gd name="connsiteY29" fmla="*/ 471054 h 652703"/>
                      <a:gd name="connsiteX30" fmla="*/ 618836 w 1502448"/>
                      <a:gd name="connsiteY30" fmla="*/ 477212 h 652703"/>
                      <a:gd name="connsiteX31" fmla="*/ 588048 w 1502448"/>
                      <a:gd name="connsiteY31" fmla="*/ 455660 h 652703"/>
                      <a:gd name="connsiteX32" fmla="*/ 575733 w 1502448"/>
                      <a:gd name="connsiteY32" fmla="*/ 437188 h 652703"/>
                      <a:gd name="connsiteX33" fmla="*/ 566497 w 1502448"/>
                      <a:gd name="connsiteY33" fmla="*/ 437188 h 652703"/>
                      <a:gd name="connsiteX34" fmla="*/ 560339 w 1502448"/>
                      <a:gd name="connsiteY34" fmla="*/ 452582 h 652703"/>
                      <a:gd name="connsiteX35" fmla="*/ 535709 w 1502448"/>
                      <a:gd name="connsiteY35" fmla="*/ 471054 h 652703"/>
                      <a:gd name="connsiteX36" fmla="*/ 520315 w 1502448"/>
                      <a:gd name="connsiteY36" fmla="*/ 477212 h 652703"/>
                      <a:gd name="connsiteX37" fmla="*/ 520315 w 1502448"/>
                      <a:gd name="connsiteY37" fmla="*/ 461818 h 652703"/>
                      <a:gd name="connsiteX38" fmla="*/ 517236 w 1502448"/>
                      <a:gd name="connsiteY38" fmla="*/ 437188 h 652703"/>
                      <a:gd name="connsiteX39" fmla="*/ 492606 w 1502448"/>
                      <a:gd name="connsiteY39" fmla="*/ 421794 h 652703"/>
                      <a:gd name="connsiteX40" fmla="*/ 464897 w 1502448"/>
                      <a:gd name="connsiteY40" fmla="*/ 415636 h 652703"/>
                      <a:gd name="connsiteX41" fmla="*/ 415636 w 1502448"/>
                      <a:gd name="connsiteY41" fmla="*/ 403321 h 652703"/>
                      <a:gd name="connsiteX42" fmla="*/ 372533 w 1502448"/>
                      <a:gd name="connsiteY42" fmla="*/ 391006 h 652703"/>
                      <a:gd name="connsiteX43" fmla="*/ 335588 w 1502448"/>
                      <a:gd name="connsiteY43" fmla="*/ 372533 h 652703"/>
                      <a:gd name="connsiteX44" fmla="*/ 301721 w 1502448"/>
                      <a:gd name="connsiteY44" fmla="*/ 344824 h 652703"/>
                      <a:gd name="connsiteX45" fmla="*/ 270933 w 1502448"/>
                      <a:gd name="connsiteY45" fmla="*/ 329430 h 652703"/>
                      <a:gd name="connsiteX46" fmla="*/ 240145 w 1502448"/>
                      <a:gd name="connsiteY46" fmla="*/ 329430 h 652703"/>
                      <a:gd name="connsiteX47" fmla="*/ 215515 w 1502448"/>
                      <a:gd name="connsiteY47" fmla="*/ 326351 h 652703"/>
                      <a:gd name="connsiteX48" fmla="*/ 187806 w 1502448"/>
                      <a:gd name="connsiteY48" fmla="*/ 304800 h 652703"/>
                      <a:gd name="connsiteX49" fmla="*/ 163176 w 1502448"/>
                      <a:gd name="connsiteY49" fmla="*/ 295564 h 652703"/>
                      <a:gd name="connsiteX50" fmla="*/ 135467 w 1502448"/>
                      <a:gd name="connsiteY50" fmla="*/ 292485 h 652703"/>
                      <a:gd name="connsiteX51" fmla="*/ 110836 w 1502448"/>
                      <a:gd name="connsiteY51" fmla="*/ 301721 h 652703"/>
                      <a:gd name="connsiteX52" fmla="*/ 101600 w 1502448"/>
                      <a:gd name="connsiteY52" fmla="*/ 301721 h 652703"/>
                      <a:gd name="connsiteX53" fmla="*/ 95442 w 1502448"/>
                      <a:gd name="connsiteY53" fmla="*/ 283248 h 652703"/>
                      <a:gd name="connsiteX54" fmla="*/ 76970 w 1502448"/>
                      <a:gd name="connsiteY54" fmla="*/ 227830 h 652703"/>
                      <a:gd name="connsiteX55" fmla="*/ 76970 w 1502448"/>
                      <a:gd name="connsiteY55" fmla="*/ 209357 h 652703"/>
                      <a:gd name="connsiteX56" fmla="*/ 64655 w 1502448"/>
                      <a:gd name="connsiteY56" fmla="*/ 166254 h 652703"/>
                      <a:gd name="connsiteX57" fmla="*/ 40024 w 1502448"/>
                      <a:gd name="connsiteY57" fmla="*/ 104679 h 652703"/>
                      <a:gd name="connsiteX58" fmla="*/ 15394 w 1502448"/>
                      <a:gd name="connsiteY58" fmla="*/ 43103 h 652703"/>
                      <a:gd name="connsiteX59" fmla="*/ 0 w 1502448"/>
                      <a:gd name="connsiteY59" fmla="*/ 0 h 652703"/>
                      <a:gd name="connsiteX0" fmla="*/ 1487055 w 1487055"/>
                      <a:gd name="connsiteY0" fmla="*/ 640388 h 641756"/>
                      <a:gd name="connsiteX1" fmla="*/ 1440873 w 1487055"/>
                      <a:gd name="connsiteY1" fmla="*/ 640388 h 641756"/>
                      <a:gd name="connsiteX2" fmla="*/ 1425479 w 1487055"/>
                      <a:gd name="connsiteY2" fmla="*/ 631151 h 641756"/>
                      <a:gd name="connsiteX3" fmla="*/ 1382376 w 1487055"/>
                      <a:gd name="connsiteY3" fmla="*/ 640388 h 641756"/>
                      <a:gd name="connsiteX4" fmla="*/ 1339273 w 1487055"/>
                      <a:gd name="connsiteY4" fmla="*/ 640388 h 641756"/>
                      <a:gd name="connsiteX5" fmla="*/ 1305406 w 1487055"/>
                      <a:gd name="connsiteY5" fmla="*/ 640388 h 641756"/>
                      <a:gd name="connsiteX6" fmla="*/ 1271539 w 1487055"/>
                      <a:gd name="connsiteY6" fmla="*/ 621915 h 641756"/>
                      <a:gd name="connsiteX7" fmla="*/ 1249988 w 1487055"/>
                      <a:gd name="connsiteY7" fmla="*/ 606521 h 641756"/>
                      <a:gd name="connsiteX8" fmla="*/ 1246909 w 1487055"/>
                      <a:gd name="connsiteY8" fmla="*/ 591127 h 641756"/>
                      <a:gd name="connsiteX9" fmla="*/ 1246909 w 1487055"/>
                      <a:gd name="connsiteY9" fmla="*/ 575733 h 641756"/>
                      <a:gd name="connsiteX10" fmla="*/ 1253067 w 1487055"/>
                      <a:gd name="connsiteY10" fmla="*/ 560339 h 641756"/>
                      <a:gd name="connsiteX11" fmla="*/ 1259224 w 1487055"/>
                      <a:gd name="connsiteY11" fmla="*/ 541867 h 641756"/>
                      <a:gd name="connsiteX12" fmla="*/ 1240752 w 1487055"/>
                      <a:gd name="connsiteY12" fmla="*/ 526473 h 641756"/>
                      <a:gd name="connsiteX13" fmla="*/ 1182255 w 1487055"/>
                      <a:gd name="connsiteY13" fmla="*/ 508000 h 641756"/>
                      <a:gd name="connsiteX14" fmla="*/ 1132994 w 1487055"/>
                      <a:gd name="connsiteY14" fmla="*/ 486448 h 641756"/>
                      <a:gd name="connsiteX15" fmla="*/ 1046788 w 1487055"/>
                      <a:gd name="connsiteY15" fmla="*/ 480291 h 641756"/>
                      <a:gd name="connsiteX16" fmla="*/ 991370 w 1487055"/>
                      <a:gd name="connsiteY16" fmla="*/ 480291 h 641756"/>
                      <a:gd name="connsiteX17" fmla="*/ 923636 w 1487055"/>
                      <a:gd name="connsiteY17" fmla="*/ 492606 h 641756"/>
                      <a:gd name="connsiteX18" fmla="*/ 880533 w 1487055"/>
                      <a:gd name="connsiteY18" fmla="*/ 501842 h 641756"/>
                      <a:gd name="connsiteX19" fmla="*/ 871297 w 1487055"/>
                      <a:gd name="connsiteY19" fmla="*/ 501842 h 641756"/>
                      <a:gd name="connsiteX20" fmla="*/ 865139 w 1487055"/>
                      <a:gd name="connsiteY20" fmla="*/ 483370 h 641756"/>
                      <a:gd name="connsiteX21" fmla="*/ 846667 w 1487055"/>
                      <a:gd name="connsiteY21" fmla="*/ 477212 h 641756"/>
                      <a:gd name="connsiteX22" fmla="*/ 815879 w 1487055"/>
                      <a:gd name="connsiteY22" fmla="*/ 486448 h 641756"/>
                      <a:gd name="connsiteX23" fmla="*/ 766618 w 1487055"/>
                      <a:gd name="connsiteY23" fmla="*/ 467976 h 641756"/>
                      <a:gd name="connsiteX24" fmla="*/ 748145 w 1487055"/>
                      <a:gd name="connsiteY24" fmla="*/ 458739 h 641756"/>
                      <a:gd name="connsiteX25" fmla="*/ 723515 w 1487055"/>
                      <a:gd name="connsiteY25" fmla="*/ 464897 h 641756"/>
                      <a:gd name="connsiteX26" fmla="*/ 680412 w 1487055"/>
                      <a:gd name="connsiteY26" fmla="*/ 461818 h 641756"/>
                      <a:gd name="connsiteX27" fmla="*/ 655782 w 1487055"/>
                      <a:gd name="connsiteY27" fmla="*/ 458739 h 641756"/>
                      <a:gd name="connsiteX28" fmla="*/ 640388 w 1487055"/>
                      <a:gd name="connsiteY28" fmla="*/ 471054 h 641756"/>
                      <a:gd name="connsiteX29" fmla="*/ 618836 w 1487055"/>
                      <a:gd name="connsiteY29" fmla="*/ 477212 h 641756"/>
                      <a:gd name="connsiteX30" fmla="*/ 588048 w 1487055"/>
                      <a:gd name="connsiteY30" fmla="*/ 455660 h 641756"/>
                      <a:gd name="connsiteX31" fmla="*/ 575733 w 1487055"/>
                      <a:gd name="connsiteY31" fmla="*/ 437188 h 641756"/>
                      <a:gd name="connsiteX32" fmla="*/ 566497 w 1487055"/>
                      <a:gd name="connsiteY32" fmla="*/ 437188 h 641756"/>
                      <a:gd name="connsiteX33" fmla="*/ 560339 w 1487055"/>
                      <a:gd name="connsiteY33" fmla="*/ 452582 h 641756"/>
                      <a:gd name="connsiteX34" fmla="*/ 535709 w 1487055"/>
                      <a:gd name="connsiteY34" fmla="*/ 471054 h 641756"/>
                      <a:gd name="connsiteX35" fmla="*/ 520315 w 1487055"/>
                      <a:gd name="connsiteY35" fmla="*/ 477212 h 641756"/>
                      <a:gd name="connsiteX36" fmla="*/ 520315 w 1487055"/>
                      <a:gd name="connsiteY36" fmla="*/ 461818 h 641756"/>
                      <a:gd name="connsiteX37" fmla="*/ 517236 w 1487055"/>
                      <a:gd name="connsiteY37" fmla="*/ 437188 h 641756"/>
                      <a:gd name="connsiteX38" fmla="*/ 492606 w 1487055"/>
                      <a:gd name="connsiteY38" fmla="*/ 421794 h 641756"/>
                      <a:gd name="connsiteX39" fmla="*/ 464897 w 1487055"/>
                      <a:gd name="connsiteY39" fmla="*/ 415636 h 641756"/>
                      <a:gd name="connsiteX40" fmla="*/ 415636 w 1487055"/>
                      <a:gd name="connsiteY40" fmla="*/ 403321 h 641756"/>
                      <a:gd name="connsiteX41" fmla="*/ 372533 w 1487055"/>
                      <a:gd name="connsiteY41" fmla="*/ 391006 h 641756"/>
                      <a:gd name="connsiteX42" fmla="*/ 335588 w 1487055"/>
                      <a:gd name="connsiteY42" fmla="*/ 372533 h 641756"/>
                      <a:gd name="connsiteX43" fmla="*/ 301721 w 1487055"/>
                      <a:gd name="connsiteY43" fmla="*/ 344824 h 641756"/>
                      <a:gd name="connsiteX44" fmla="*/ 270933 w 1487055"/>
                      <a:gd name="connsiteY44" fmla="*/ 329430 h 641756"/>
                      <a:gd name="connsiteX45" fmla="*/ 240145 w 1487055"/>
                      <a:gd name="connsiteY45" fmla="*/ 329430 h 641756"/>
                      <a:gd name="connsiteX46" fmla="*/ 215515 w 1487055"/>
                      <a:gd name="connsiteY46" fmla="*/ 326351 h 641756"/>
                      <a:gd name="connsiteX47" fmla="*/ 187806 w 1487055"/>
                      <a:gd name="connsiteY47" fmla="*/ 304800 h 641756"/>
                      <a:gd name="connsiteX48" fmla="*/ 163176 w 1487055"/>
                      <a:gd name="connsiteY48" fmla="*/ 295564 h 641756"/>
                      <a:gd name="connsiteX49" fmla="*/ 135467 w 1487055"/>
                      <a:gd name="connsiteY49" fmla="*/ 292485 h 641756"/>
                      <a:gd name="connsiteX50" fmla="*/ 110836 w 1487055"/>
                      <a:gd name="connsiteY50" fmla="*/ 301721 h 641756"/>
                      <a:gd name="connsiteX51" fmla="*/ 101600 w 1487055"/>
                      <a:gd name="connsiteY51" fmla="*/ 301721 h 641756"/>
                      <a:gd name="connsiteX52" fmla="*/ 95442 w 1487055"/>
                      <a:gd name="connsiteY52" fmla="*/ 283248 h 641756"/>
                      <a:gd name="connsiteX53" fmla="*/ 76970 w 1487055"/>
                      <a:gd name="connsiteY53" fmla="*/ 227830 h 641756"/>
                      <a:gd name="connsiteX54" fmla="*/ 76970 w 1487055"/>
                      <a:gd name="connsiteY54" fmla="*/ 209357 h 641756"/>
                      <a:gd name="connsiteX55" fmla="*/ 64655 w 1487055"/>
                      <a:gd name="connsiteY55" fmla="*/ 166254 h 641756"/>
                      <a:gd name="connsiteX56" fmla="*/ 40024 w 1487055"/>
                      <a:gd name="connsiteY56" fmla="*/ 104679 h 641756"/>
                      <a:gd name="connsiteX57" fmla="*/ 15394 w 1487055"/>
                      <a:gd name="connsiteY57" fmla="*/ 43103 h 641756"/>
                      <a:gd name="connsiteX58" fmla="*/ 0 w 1487055"/>
                      <a:gd name="connsiteY58" fmla="*/ 0 h 641756"/>
                      <a:gd name="connsiteX0" fmla="*/ 1440873 w 1440873"/>
                      <a:gd name="connsiteY0" fmla="*/ 640388 h 641756"/>
                      <a:gd name="connsiteX1" fmla="*/ 1425479 w 1440873"/>
                      <a:gd name="connsiteY1" fmla="*/ 631151 h 641756"/>
                      <a:gd name="connsiteX2" fmla="*/ 1382376 w 1440873"/>
                      <a:gd name="connsiteY2" fmla="*/ 640388 h 641756"/>
                      <a:gd name="connsiteX3" fmla="*/ 1339273 w 1440873"/>
                      <a:gd name="connsiteY3" fmla="*/ 640388 h 641756"/>
                      <a:gd name="connsiteX4" fmla="*/ 1305406 w 1440873"/>
                      <a:gd name="connsiteY4" fmla="*/ 640388 h 641756"/>
                      <a:gd name="connsiteX5" fmla="*/ 1271539 w 1440873"/>
                      <a:gd name="connsiteY5" fmla="*/ 621915 h 641756"/>
                      <a:gd name="connsiteX6" fmla="*/ 1249988 w 1440873"/>
                      <a:gd name="connsiteY6" fmla="*/ 606521 h 641756"/>
                      <a:gd name="connsiteX7" fmla="*/ 1246909 w 1440873"/>
                      <a:gd name="connsiteY7" fmla="*/ 591127 h 641756"/>
                      <a:gd name="connsiteX8" fmla="*/ 1246909 w 1440873"/>
                      <a:gd name="connsiteY8" fmla="*/ 575733 h 641756"/>
                      <a:gd name="connsiteX9" fmla="*/ 1253067 w 1440873"/>
                      <a:gd name="connsiteY9" fmla="*/ 560339 h 641756"/>
                      <a:gd name="connsiteX10" fmla="*/ 1259224 w 1440873"/>
                      <a:gd name="connsiteY10" fmla="*/ 541867 h 641756"/>
                      <a:gd name="connsiteX11" fmla="*/ 1240752 w 1440873"/>
                      <a:gd name="connsiteY11" fmla="*/ 526473 h 641756"/>
                      <a:gd name="connsiteX12" fmla="*/ 1182255 w 1440873"/>
                      <a:gd name="connsiteY12" fmla="*/ 508000 h 641756"/>
                      <a:gd name="connsiteX13" fmla="*/ 1132994 w 1440873"/>
                      <a:gd name="connsiteY13" fmla="*/ 486448 h 641756"/>
                      <a:gd name="connsiteX14" fmla="*/ 1046788 w 1440873"/>
                      <a:gd name="connsiteY14" fmla="*/ 480291 h 641756"/>
                      <a:gd name="connsiteX15" fmla="*/ 991370 w 1440873"/>
                      <a:gd name="connsiteY15" fmla="*/ 480291 h 641756"/>
                      <a:gd name="connsiteX16" fmla="*/ 923636 w 1440873"/>
                      <a:gd name="connsiteY16" fmla="*/ 492606 h 641756"/>
                      <a:gd name="connsiteX17" fmla="*/ 880533 w 1440873"/>
                      <a:gd name="connsiteY17" fmla="*/ 501842 h 641756"/>
                      <a:gd name="connsiteX18" fmla="*/ 871297 w 1440873"/>
                      <a:gd name="connsiteY18" fmla="*/ 501842 h 641756"/>
                      <a:gd name="connsiteX19" fmla="*/ 865139 w 1440873"/>
                      <a:gd name="connsiteY19" fmla="*/ 483370 h 641756"/>
                      <a:gd name="connsiteX20" fmla="*/ 846667 w 1440873"/>
                      <a:gd name="connsiteY20" fmla="*/ 477212 h 641756"/>
                      <a:gd name="connsiteX21" fmla="*/ 815879 w 1440873"/>
                      <a:gd name="connsiteY21" fmla="*/ 486448 h 641756"/>
                      <a:gd name="connsiteX22" fmla="*/ 766618 w 1440873"/>
                      <a:gd name="connsiteY22" fmla="*/ 467976 h 641756"/>
                      <a:gd name="connsiteX23" fmla="*/ 748145 w 1440873"/>
                      <a:gd name="connsiteY23" fmla="*/ 458739 h 641756"/>
                      <a:gd name="connsiteX24" fmla="*/ 723515 w 1440873"/>
                      <a:gd name="connsiteY24" fmla="*/ 464897 h 641756"/>
                      <a:gd name="connsiteX25" fmla="*/ 680412 w 1440873"/>
                      <a:gd name="connsiteY25" fmla="*/ 461818 h 641756"/>
                      <a:gd name="connsiteX26" fmla="*/ 655782 w 1440873"/>
                      <a:gd name="connsiteY26" fmla="*/ 458739 h 641756"/>
                      <a:gd name="connsiteX27" fmla="*/ 640388 w 1440873"/>
                      <a:gd name="connsiteY27" fmla="*/ 471054 h 641756"/>
                      <a:gd name="connsiteX28" fmla="*/ 618836 w 1440873"/>
                      <a:gd name="connsiteY28" fmla="*/ 477212 h 641756"/>
                      <a:gd name="connsiteX29" fmla="*/ 588048 w 1440873"/>
                      <a:gd name="connsiteY29" fmla="*/ 455660 h 641756"/>
                      <a:gd name="connsiteX30" fmla="*/ 575733 w 1440873"/>
                      <a:gd name="connsiteY30" fmla="*/ 437188 h 641756"/>
                      <a:gd name="connsiteX31" fmla="*/ 566497 w 1440873"/>
                      <a:gd name="connsiteY31" fmla="*/ 437188 h 641756"/>
                      <a:gd name="connsiteX32" fmla="*/ 560339 w 1440873"/>
                      <a:gd name="connsiteY32" fmla="*/ 452582 h 641756"/>
                      <a:gd name="connsiteX33" fmla="*/ 535709 w 1440873"/>
                      <a:gd name="connsiteY33" fmla="*/ 471054 h 641756"/>
                      <a:gd name="connsiteX34" fmla="*/ 520315 w 1440873"/>
                      <a:gd name="connsiteY34" fmla="*/ 477212 h 641756"/>
                      <a:gd name="connsiteX35" fmla="*/ 520315 w 1440873"/>
                      <a:gd name="connsiteY35" fmla="*/ 461818 h 641756"/>
                      <a:gd name="connsiteX36" fmla="*/ 517236 w 1440873"/>
                      <a:gd name="connsiteY36" fmla="*/ 437188 h 641756"/>
                      <a:gd name="connsiteX37" fmla="*/ 492606 w 1440873"/>
                      <a:gd name="connsiteY37" fmla="*/ 421794 h 641756"/>
                      <a:gd name="connsiteX38" fmla="*/ 464897 w 1440873"/>
                      <a:gd name="connsiteY38" fmla="*/ 415636 h 641756"/>
                      <a:gd name="connsiteX39" fmla="*/ 415636 w 1440873"/>
                      <a:gd name="connsiteY39" fmla="*/ 403321 h 641756"/>
                      <a:gd name="connsiteX40" fmla="*/ 372533 w 1440873"/>
                      <a:gd name="connsiteY40" fmla="*/ 391006 h 641756"/>
                      <a:gd name="connsiteX41" fmla="*/ 335588 w 1440873"/>
                      <a:gd name="connsiteY41" fmla="*/ 372533 h 641756"/>
                      <a:gd name="connsiteX42" fmla="*/ 301721 w 1440873"/>
                      <a:gd name="connsiteY42" fmla="*/ 344824 h 641756"/>
                      <a:gd name="connsiteX43" fmla="*/ 270933 w 1440873"/>
                      <a:gd name="connsiteY43" fmla="*/ 329430 h 641756"/>
                      <a:gd name="connsiteX44" fmla="*/ 240145 w 1440873"/>
                      <a:gd name="connsiteY44" fmla="*/ 329430 h 641756"/>
                      <a:gd name="connsiteX45" fmla="*/ 215515 w 1440873"/>
                      <a:gd name="connsiteY45" fmla="*/ 326351 h 641756"/>
                      <a:gd name="connsiteX46" fmla="*/ 187806 w 1440873"/>
                      <a:gd name="connsiteY46" fmla="*/ 304800 h 641756"/>
                      <a:gd name="connsiteX47" fmla="*/ 163176 w 1440873"/>
                      <a:gd name="connsiteY47" fmla="*/ 295564 h 641756"/>
                      <a:gd name="connsiteX48" fmla="*/ 135467 w 1440873"/>
                      <a:gd name="connsiteY48" fmla="*/ 292485 h 641756"/>
                      <a:gd name="connsiteX49" fmla="*/ 110836 w 1440873"/>
                      <a:gd name="connsiteY49" fmla="*/ 301721 h 641756"/>
                      <a:gd name="connsiteX50" fmla="*/ 101600 w 1440873"/>
                      <a:gd name="connsiteY50" fmla="*/ 301721 h 641756"/>
                      <a:gd name="connsiteX51" fmla="*/ 95442 w 1440873"/>
                      <a:gd name="connsiteY51" fmla="*/ 283248 h 641756"/>
                      <a:gd name="connsiteX52" fmla="*/ 76970 w 1440873"/>
                      <a:gd name="connsiteY52" fmla="*/ 227830 h 641756"/>
                      <a:gd name="connsiteX53" fmla="*/ 76970 w 1440873"/>
                      <a:gd name="connsiteY53" fmla="*/ 209357 h 641756"/>
                      <a:gd name="connsiteX54" fmla="*/ 64655 w 1440873"/>
                      <a:gd name="connsiteY54" fmla="*/ 166254 h 641756"/>
                      <a:gd name="connsiteX55" fmla="*/ 40024 w 1440873"/>
                      <a:gd name="connsiteY55" fmla="*/ 104679 h 641756"/>
                      <a:gd name="connsiteX56" fmla="*/ 15394 w 1440873"/>
                      <a:gd name="connsiteY56" fmla="*/ 43103 h 641756"/>
                      <a:gd name="connsiteX57" fmla="*/ 0 w 1440873"/>
                      <a:gd name="connsiteY57" fmla="*/ 0 h 641756"/>
                      <a:gd name="connsiteX0" fmla="*/ 1425479 w 1425479"/>
                      <a:gd name="connsiteY0" fmla="*/ 631151 h 641756"/>
                      <a:gd name="connsiteX1" fmla="*/ 1382376 w 1425479"/>
                      <a:gd name="connsiteY1" fmla="*/ 640388 h 641756"/>
                      <a:gd name="connsiteX2" fmla="*/ 1339273 w 1425479"/>
                      <a:gd name="connsiteY2" fmla="*/ 640388 h 641756"/>
                      <a:gd name="connsiteX3" fmla="*/ 1305406 w 1425479"/>
                      <a:gd name="connsiteY3" fmla="*/ 640388 h 641756"/>
                      <a:gd name="connsiteX4" fmla="*/ 1271539 w 1425479"/>
                      <a:gd name="connsiteY4" fmla="*/ 621915 h 641756"/>
                      <a:gd name="connsiteX5" fmla="*/ 1249988 w 1425479"/>
                      <a:gd name="connsiteY5" fmla="*/ 606521 h 641756"/>
                      <a:gd name="connsiteX6" fmla="*/ 1246909 w 1425479"/>
                      <a:gd name="connsiteY6" fmla="*/ 591127 h 641756"/>
                      <a:gd name="connsiteX7" fmla="*/ 1246909 w 1425479"/>
                      <a:gd name="connsiteY7" fmla="*/ 575733 h 641756"/>
                      <a:gd name="connsiteX8" fmla="*/ 1253067 w 1425479"/>
                      <a:gd name="connsiteY8" fmla="*/ 560339 h 641756"/>
                      <a:gd name="connsiteX9" fmla="*/ 1259224 w 1425479"/>
                      <a:gd name="connsiteY9" fmla="*/ 541867 h 641756"/>
                      <a:gd name="connsiteX10" fmla="*/ 1240752 w 1425479"/>
                      <a:gd name="connsiteY10" fmla="*/ 526473 h 641756"/>
                      <a:gd name="connsiteX11" fmla="*/ 1182255 w 1425479"/>
                      <a:gd name="connsiteY11" fmla="*/ 508000 h 641756"/>
                      <a:gd name="connsiteX12" fmla="*/ 1132994 w 1425479"/>
                      <a:gd name="connsiteY12" fmla="*/ 486448 h 641756"/>
                      <a:gd name="connsiteX13" fmla="*/ 1046788 w 1425479"/>
                      <a:gd name="connsiteY13" fmla="*/ 480291 h 641756"/>
                      <a:gd name="connsiteX14" fmla="*/ 991370 w 1425479"/>
                      <a:gd name="connsiteY14" fmla="*/ 480291 h 641756"/>
                      <a:gd name="connsiteX15" fmla="*/ 923636 w 1425479"/>
                      <a:gd name="connsiteY15" fmla="*/ 492606 h 641756"/>
                      <a:gd name="connsiteX16" fmla="*/ 880533 w 1425479"/>
                      <a:gd name="connsiteY16" fmla="*/ 501842 h 641756"/>
                      <a:gd name="connsiteX17" fmla="*/ 871297 w 1425479"/>
                      <a:gd name="connsiteY17" fmla="*/ 501842 h 641756"/>
                      <a:gd name="connsiteX18" fmla="*/ 865139 w 1425479"/>
                      <a:gd name="connsiteY18" fmla="*/ 483370 h 641756"/>
                      <a:gd name="connsiteX19" fmla="*/ 846667 w 1425479"/>
                      <a:gd name="connsiteY19" fmla="*/ 477212 h 641756"/>
                      <a:gd name="connsiteX20" fmla="*/ 815879 w 1425479"/>
                      <a:gd name="connsiteY20" fmla="*/ 486448 h 641756"/>
                      <a:gd name="connsiteX21" fmla="*/ 766618 w 1425479"/>
                      <a:gd name="connsiteY21" fmla="*/ 467976 h 641756"/>
                      <a:gd name="connsiteX22" fmla="*/ 748145 w 1425479"/>
                      <a:gd name="connsiteY22" fmla="*/ 458739 h 641756"/>
                      <a:gd name="connsiteX23" fmla="*/ 723515 w 1425479"/>
                      <a:gd name="connsiteY23" fmla="*/ 464897 h 641756"/>
                      <a:gd name="connsiteX24" fmla="*/ 680412 w 1425479"/>
                      <a:gd name="connsiteY24" fmla="*/ 461818 h 641756"/>
                      <a:gd name="connsiteX25" fmla="*/ 655782 w 1425479"/>
                      <a:gd name="connsiteY25" fmla="*/ 458739 h 641756"/>
                      <a:gd name="connsiteX26" fmla="*/ 640388 w 1425479"/>
                      <a:gd name="connsiteY26" fmla="*/ 471054 h 641756"/>
                      <a:gd name="connsiteX27" fmla="*/ 618836 w 1425479"/>
                      <a:gd name="connsiteY27" fmla="*/ 477212 h 641756"/>
                      <a:gd name="connsiteX28" fmla="*/ 588048 w 1425479"/>
                      <a:gd name="connsiteY28" fmla="*/ 455660 h 641756"/>
                      <a:gd name="connsiteX29" fmla="*/ 575733 w 1425479"/>
                      <a:gd name="connsiteY29" fmla="*/ 437188 h 641756"/>
                      <a:gd name="connsiteX30" fmla="*/ 566497 w 1425479"/>
                      <a:gd name="connsiteY30" fmla="*/ 437188 h 641756"/>
                      <a:gd name="connsiteX31" fmla="*/ 560339 w 1425479"/>
                      <a:gd name="connsiteY31" fmla="*/ 452582 h 641756"/>
                      <a:gd name="connsiteX32" fmla="*/ 535709 w 1425479"/>
                      <a:gd name="connsiteY32" fmla="*/ 471054 h 641756"/>
                      <a:gd name="connsiteX33" fmla="*/ 520315 w 1425479"/>
                      <a:gd name="connsiteY33" fmla="*/ 477212 h 641756"/>
                      <a:gd name="connsiteX34" fmla="*/ 520315 w 1425479"/>
                      <a:gd name="connsiteY34" fmla="*/ 461818 h 641756"/>
                      <a:gd name="connsiteX35" fmla="*/ 517236 w 1425479"/>
                      <a:gd name="connsiteY35" fmla="*/ 437188 h 641756"/>
                      <a:gd name="connsiteX36" fmla="*/ 492606 w 1425479"/>
                      <a:gd name="connsiteY36" fmla="*/ 421794 h 641756"/>
                      <a:gd name="connsiteX37" fmla="*/ 464897 w 1425479"/>
                      <a:gd name="connsiteY37" fmla="*/ 415636 h 641756"/>
                      <a:gd name="connsiteX38" fmla="*/ 415636 w 1425479"/>
                      <a:gd name="connsiteY38" fmla="*/ 403321 h 641756"/>
                      <a:gd name="connsiteX39" fmla="*/ 372533 w 1425479"/>
                      <a:gd name="connsiteY39" fmla="*/ 391006 h 641756"/>
                      <a:gd name="connsiteX40" fmla="*/ 335588 w 1425479"/>
                      <a:gd name="connsiteY40" fmla="*/ 372533 h 641756"/>
                      <a:gd name="connsiteX41" fmla="*/ 301721 w 1425479"/>
                      <a:gd name="connsiteY41" fmla="*/ 344824 h 641756"/>
                      <a:gd name="connsiteX42" fmla="*/ 270933 w 1425479"/>
                      <a:gd name="connsiteY42" fmla="*/ 329430 h 641756"/>
                      <a:gd name="connsiteX43" fmla="*/ 240145 w 1425479"/>
                      <a:gd name="connsiteY43" fmla="*/ 329430 h 641756"/>
                      <a:gd name="connsiteX44" fmla="*/ 215515 w 1425479"/>
                      <a:gd name="connsiteY44" fmla="*/ 326351 h 641756"/>
                      <a:gd name="connsiteX45" fmla="*/ 187806 w 1425479"/>
                      <a:gd name="connsiteY45" fmla="*/ 304800 h 641756"/>
                      <a:gd name="connsiteX46" fmla="*/ 163176 w 1425479"/>
                      <a:gd name="connsiteY46" fmla="*/ 295564 h 641756"/>
                      <a:gd name="connsiteX47" fmla="*/ 135467 w 1425479"/>
                      <a:gd name="connsiteY47" fmla="*/ 292485 h 641756"/>
                      <a:gd name="connsiteX48" fmla="*/ 110836 w 1425479"/>
                      <a:gd name="connsiteY48" fmla="*/ 301721 h 641756"/>
                      <a:gd name="connsiteX49" fmla="*/ 101600 w 1425479"/>
                      <a:gd name="connsiteY49" fmla="*/ 301721 h 641756"/>
                      <a:gd name="connsiteX50" fmla="*/ 95442 w 1425479"/>
                      <a:gd name="connsiteY50" fmla="*/ 283248 h 641756"/>
                      <a:gd name="connsiteX51" fmla="*/ 76970 w 1425479"/>
                      <a:gd name="connsiteY51" fmla="*/ 227830 h 641756"/>
                      <a:gd name="connsiteX52" fmla="*/ 76970 w 1425479"/>
                      <a:gd name="connsiteY52" fmla="*/ 209357 h 641756"/>
                      <a:gd name="connsiteX53" fmla="*/ 64655 w 1425479"/>
                      <a:gd name="connsiteY53" fmla="*/ 166254 h 641756"/>
                      <a:gd name="connsiteX54" fmla="*/ 40024 w 1425479"/>
                      <a:gd name="connsiteY54" fmla="*/ 104679 h 641756"/>
                      <a:gd name="connsiteX55" fmla="*/ 15394 w 1425479"/>
                      <a:gd name="connsiteY55" fmla="*/ 43103 h 641756"/>
                      <a:gd name="connsiteX56" fmla="*/ 0 w 1425479"/>
                      <a:gd name="connsiteY56" fmla="*/ 0 h 641756"/>
                      <a:gd name="connsiteX0" fmla="*/ 1382376 w 1382376"/>
                      <a:gd name="connsiteY0" fmla="*/ 640388 h 641756"/>
                      <a:gd name="connsiteX1" fmla="*/ 1339273 w 1382376"/>
                      <a:gd name="connsiteY1" fmla="*/ 640388 h 641756"/>
                      <a:gd name="connsiteX2" fmla="*/ 1305406 w 1382376"/>
                      <a:gd name="connsiteY2" fmla="*/ 640388 h 641756"/>
                      <a:gd name="connsiteX3" fmla="*/ 1271539 w 1382376"/>
                      <a:gd name="connsiteY3" fmla="*/ 621915 h 641756"/>
                      <a:gd name="connsiteX4" fmla="*/ 1249988 w 1382376"/>
                      <a:gd name="connsiteY4" fmla="*/ 606521 h 641756"/>
                      <a:gd name="connsiteX5" fmla="*/ 1246909 w 1382376"/>
                      <a:gd name="connsiteY5" fmla="*/ 591127 h 641756"/>
                      <a:gd name="connsiteX6" fmla="*/ 1246909 w 1382376"/>
                      <a:gd name="connsiteY6" fmla="*/ 575733 h 641756"/>
                      <a:gd name="connsiteX7" fmla="*/ 1253067 w 1382376"/>
                      <a:gd name="connsiteY7" fmla="*/ 560339 h 641756"/>
                      <a:gd name="connsiteX8" fmla="*/ 1259224 w 1382376"/>
                      <a:gd name="connsiteY8" fmla="*/ 541867 h 641756"/>
                      <a:gd name="connsiteX9" fmla="*/ 1240752 w 1382376"/>
                      <a:gd name="connsiteY9" fmla="*/ 526473 h 641756"/>
                      <a:gd name="connsiteX10" fmla="*/ 1182255 w 1382376"/>
                      <a:gd name="connsiteY10" fmla="*/ 508000 h 641756"/>
                      <a:gd name="connsiteX11" fmla="*/ 1132994 w 1382376"/>
                      <a:gd name="connsiteY11" fmla="*/ 486448 h 641756"/>
                      <a:gd name="connsiteX12" fmla="*/ 1046788 w 1382376"/>
                      <a:gd name="connsiteY12" fmla="*/ 480291 h 641756"/>
                      <a:gd name="connsiteX13" fmla="*/ 991370 w 1382376"/>
                      <a:gd name="connsiteY13" fmla="*/ 480291 h 641756"/>
                      <a:gd name="connsiteX14" fmla="*/ 923636 w 1382376"/>
                      <a:gd name="connsiteY14" fmla="*/ 492606 h 641756"/>
                      <a:gd name="connsiteX15" fmla="*/ 880533 w 1382376"/>
                      <a:gd name="connsiteY15" fmla="*/ 501842 h 641756"/>
                      <a:gd name="connsiteX16" fmla="*/ 871297 w 1382376"/>
                      <a:gd name="connsiteY16" fmla="*/ 501842 h 641756"/>
                      <a:gd name="connsiteX17" fmla="*/ 865139 w 1382376"/>
                      <a:gd name="connsiteY17" fmla="*/ 483370 h 641756"/>
                      <a:gd name="connsiteX18" fmla="*/ 846667 w 1382376"/>
                      <a:gd name="connsiteY18" fmla="*/ 477212 h 641756"/>
                      <a:gd name="connsiteX19" fmla="*/ 815879 w 1382376"/>
                      <a:gd name="connsiteY19" fmla="*/ 486448 h 641756"/>
                      <a:gd name="connsiteX20" fmla="*/ 766618 w 1382376"/>
                      <a:gd name="connsiteY20" fmla="*/ 467976 h 641756"/>
                      <a:gd name="connsiteX21" fmla="*/ 748145 w 1382376"/>
                      <a:gd name="connsiteY21" fmla="*/ 458739 h 641756"/>
                      <a:gd name="connsiteX22" fmla="*/ 723515 w 1382376"/>
                      <a:gd name="connsiteY22" fmla="*/ 464897 h 641756"/>
                      <a:gd name="connsiteX23" fmla="*/ 680412 w 1382376"/>
                      <a:gd name="connsiteY23" fmla="*/ 461818 h 641756"/>
                      <a:gd name="connsiteX24" fmla="*/ 655782 w 1382376"/>
                      <a:gd name="connsiteY24" fmla="*/ 458739 h 641756"/>
                      <a:gd name="connsiteX25" fmla="*/ 640388 w 1382376"/>
                      <a:gd name="connsiteY25" fmla="*/ 471054 h 641756"/>
                      <a:gd name="connsiteX26" fmla="*/ 618836 w 1382376"/>
                      <a:gd name="connsiteY26" fmla="*/ 477212 h 641756"/>
                      <a:gd name="connsiteX27" fmla="*/ 588048 w 1382376"/>
                      <a:gd name="connsiteY27" fmla="*/ 455660 h 641756"/>
                      <a:gd name="connsiteX28" fmla="*/ 575733 w 1382376"/>
                      <a:gd name="connsiteY28" fmla="*/ 437188 h 641756"/>
                      <a:gd name="connsiteX29" fmla="*/ 566497 w 1382376"/>
                      <a:gd name="connsiteY29" fmla="*/ 437188 h 641756"/>
                      <a:gd name="connsiteX30" fmla="*/ 560339 w 1382376"/>
                      <a:gd name="connsiteY30" fmla="*/ 452582 h 641756"/>
                      <a:gd name="connsiteX31" fmla="*/ 535709 w 1382376"/>
                      <a:gd name="connsiteY31" fmla="*/ 471054 h 641756"/>
                      <a:gd name="connsiteX32" fmla="*/ 520315 w 1382376"/>
                      <a:gd name="connsiteY32" fmla="*/ 477212 h 641756"/>
                      <a:gd name="connsiteX33" fmla="*/ 520315 w 1382376"/>
                      <a:gd name="connsiteY33" fmla="*/ 461818 h 641756"/>
                      <a:gd name="connsiteX34" fmla="*/ 517236 w 1382376"/>
                      <a:gd name="connsiteY34" fmla="*/ 437188 h 641756"/>
                      <a:gd name="connsiteX35" fmla="*/ 492606 w 1382376"/>
                      <a:gd name="connsiteY35" fmla="*/ 421794 h 641756"/>
                      <a:gd name="connsiteX36" fmla="*/ 464897 w 1382376"/>
                      <a:gd name="connsiteY36" fmla="*/ 415636 h 641756"/>
                      <a:gd name="connsiteX37" fmla="*/ 415636 w 1382376"/>
                      <a:gd name="connsiteY37" fmla="*/ 403321 h 641756"/>
                      <a:gd name="connsiteX38" fmla="*/ 372533 w 1382376"/>
                      <a:gd name="connsiteY38" fmla="*/ 391006 h 641756"/>
                      <a:gd name="connsiteX39" fmla="*/ 335588 w 1382376"/>
                      <a:gd name="connsiteY39" fmla="*/ 372533 h 641756"/>
                      <a:gd name="connsiteX40" fmla="*/ 301721 w 1382376"/>
                      <a:gd name="connsiteY40" fmla="*/ 344824 h 641756"/>
                      <a:gd name="connsiteX41" fmla="*/ 270933 w 1382376"/>
                      <a:gd name="connsiteY41" fmla="*/ 329430 h 641756"/>
                      <a:gd name="connsiteX42" fmla="*/ 240145 w 1382376"/>
                      <a:gd name="connsiteY42" fmla="*/ 329430 h 641756"/>
                      <a:gd name="connsiteX43" fmla="*/ 215515 w 1382376"/>
                      <a:gd name="connsiteY43" fmla="*/ 326351 h 641756"/>
                      <a:gd name="connsiteX44" fmla="*/ 187806 w 1382376"/>
                      <a:gd name="connsiteY44" fmla="*/ 304800 h 641756"/>
                      <a:gd name="connsiteX45" fmla="*/ 163176 w 1382376"/>
                      <a:gd name="connsiteY45" fmla="*/ 295564 h 641756"/>
                      <a:gd name="connsiteX46" fmla="*/ 135467 w 1382376"/>
                      <a:gd name="connsiteY46" fmla="*/ 292485 h 641756"/>
                      <a:gd name="connsiteX47" fmla="*/ 110836 w 1382376"/>
                      <a:gd name="connsiteY47" fmla="*/ 301721 h 641756"/>
                      <a:gd name="connsiteX48" fmla="*/ 101600 w 1382376"/>
                      <a:gd name="connsiteY48" fmla="*/ 301721 h 641756"/>
                      <a:gd name="connsiteX49" fmla="*/ 95442 w 1382376"/>
                      <a:gd name="connsiteY49" fmla="*/ 283248 h 641756"/>
                      <a:gd name="connsiteX50" fmla="*/ 76970 w 1382376"/>
                      <a:gd name="connsiteY50" fmla="*/ 227830 h 641756"/>
                      <a:gd name="connsiteX51" fmla="*/ 76970 w 1382376"/>
                      <a:gd name="connsiteY51" fmla="*/ 209357 h 641756"/>
                      <a:gd name="connsiteX52" fmla="*/ 64655 w 1382376"/>
                      <a:gd name="connsiteY52" fmla="*/ 166254 h 641756"/>
                      <a:gd name="connsiteX53" fmla="*/ 40024 w 1382376"/>
                      <a:gd name="connsiteY53" fmla="*/ 104679 h 641756"/>
                      <a:gd name="connsiteX54" fmla="*/ 15394 w 1382376"/>
                      <a:gd name="connsiteY54" fmla="*/ 43103 h 641756"/>
                      <a:gd name="connsiteX55" fmla="*/ 0 w 1382376"/>
                      <a:gd name="connsiteY55" fmla="*/ 0 h 641756"/>
                      <a:gd name="connsiteX0" fmla="*/ 1339273 w 1339273"/>
                      <a:gd name="connsiteY0" fmla="*/ 640388 h 641756"/>
                      <a:gd name="connsiteX1" fmla="*/ 1305406 w 1339273"/>
                      <a:gd name="connsiteY1" fmla="*/ 640388 h 641756"/>
                      <a:gd name="connsiteX2" fmla="*/ 1271539 w 1339273"/>
                      <a:gd name="connsiteY2" fmla="*/ 621915 h 641756"/>
                      <a:gd name="connsiteX3" fmla="*/ 1249988 w 1339273"/>
                      <a:gd name="connsiteY3" fmla="*/ 606521 h 641756"/>
                      <a:gd name="connsiteX4" fmla="*/ 1246909 w 1339273"/>
                      <a:gd name="connsiteY4" fmla="*/ 591127 h 641756"/>
                      <a:gd name="connsiteX5" fmla="*/ 1246909 w 1339273"/>
                      <a:gd name="connsiteY5" fmla="*/ 575733 h 641756"/>
                      <a:gd name="connsiteX6" fmla="*/ 1253067 w 1339273"/>
                      <a:gd name="connsiteY6" fmla="*/ 560339 h 641756"/>
                      <a:gd name="connsiteX7" fmla="*/ 1259224 w 1339273"/>
                      <a:gd name="connsiteY7" fmla="*/ 541867 h 641756"/>
                      <a:gd name="connsiteX8" fmla="*/ 1240752 w 1339273"/>
                      <a:gd name="connsiteY8" fmla="*/ 526473 h 641756"/>
                      <a:gd name="connsiteX9" fmla="*/ 1182255 w 1339273"/>
                      <a:gd name="connsiteY9" fmla="*/ 508000 h 641756"/>
                      <a:gd name="connsiteX10" fmla="*/ 1132994 w 1339273"/>
                      <a:gd name="connsiteY10" fmla="*/ 486448 h 641756"/>
                      <a:gd name="connsiteX11" fmla="*/ 1046788 w 1339273"/>
                      <a:gd name="connsiteY11" fmla="*/ 480291 h 641756"/>
                      <a:gd name="connsiteX12" fmla="*/ 991370 w 1339273"/>
                      <a:gd name="connsiteY12" fmla="*/ 480291 h 641756"/>
                      <a:gd name="connsiteX13" fmla="*/ 923636 w 1339273"/>
                      <a:gd name="connsiteY13" fmla="*/ 492606 h 641756"/>
                      <a:gd name="connsiteX14" fmla="*/ 880533 w 1339273"/>
                      <a:gd name="connsiteY14" fmla="*/ 501842 h 641756"/>
                      <a:gd name="connsiteX15" fmla="*/ 871297 w 1339273"/>
                      <a:gd name="connsiteY15" fmla="*/ 501842 h 641756"/>
                      <a:gd name="connsiteX16" fmla="*/ 865139 w 1339273"/>
                      <a:gd name="connsiteY16" fmla="*/ 483370 h 641756"/>
                      <a:gd name="connsiteX17" fmla="*/ 846667 w 1339273"/>
                      <a:gd name="connsiteY17" fmla="*/ 477212 h 641756"/>
                      <a:gd name="connsiteX18" fmla="*/ 815879 w 1339273"/>
                      <a:gd name="connsiteY18" fmla="*/ 486448 h 641756"/>
                      <a:gd name="connsiteX19" fmla="*/ 766618 w 1339273"/>
                      <a:gd name="connsiteY19" fmla="*/ 467976 h 641756"/>
                      <a:gd name="connsiteX20" fmla="*/ 748145 w 1339273"/>
                      <a:gd name="connsiteY20" fmla="*/ 458739 h 641756"/>
                      <a:gd name="connsiteX21" fmla="*/ 723515 w 1339273"/>
                      <a:gd name="connsiteY21" fmla="*/ 464897 h 641756"/>
                      <a:gd name="connsiteX22" fmla="*/ 680412 w 1339273"/>
                      <a:gd name="connsiteY22" fmla="*/ 461818 h 641756"/>
                      <a:gd name="connsiteX23" fmla="*/ 655782 w 1339273"/>
                      <a:gd name="connsiteY23" fmla="*/ 458739 h 641756"/>
                      <a:gd name="connsiteX24" fmla="*/ 640388 w 1339273"/>
                      <a:gd name="connsiteY24" fmla="*/ 471054 h 641756"/>
                      <a:gd name="connsiteX25" fmla="*/ 618836 w 1339273"/>
                      <a:gd name="connsiteY25" fmla="*/ 477212 h 641756"/>
                      <a:gd name="connsiteX26" fmla="*/ 588048 w 1339273"/>
                      <a:gd name="connsiteY26" fmla="*/ 455660 h 641756"/>
                      <a:gd name="connsiteX27" fmla="*/ 575733 w 1339273"/>
                      <a:gd name="connsiteY27" fmla="*/ 437188 h 641756"/>
                      <a:gd name="connsiteX28" fmla="*/ 566497 w 1339273"/>
                      <a:gd name="connsiteY28" fmla="*/ 437188 h 641756"/>
                      <a:gd name="connsiteX29" fmla="*/ 560339 w 1339273"/>
                      <a:gd name="connsiteY29" fmla="*/ 452582 h 641756"/>
                      <a:gd name="connsiteX30" fmla="*/ 535709 w 1339273"/>
                      <a:gd name="connsiteY30" fmla="*/ 471054 h 641756"/>
                      <a:gd name="connsiteX31" fmla="*/ 520315 w 1339273"/>
                      <a:gd name="connsiteY31" fmla="*/ 477212 h 641756"/>
                      <a:gd name="connsiteX32" fmla="*/ 520315 w 1339273"/>
                      <a:gd name="connsiteY32" fmla="*/ 461818 h 641756"/>
                      <a:gd name="connsiteX33" fmla="*/ 517236 w 1339273"/>
                      <a:gd name="connsiteY33" fmla="*/ 437188 h 641756"/>
                      <a:gd name="connsiteX34" fmla="*/ 492606 w 1339273"/>
                      <a:gd name="connsiteY34" fmla="*/ 421794 h 641756"/>
                      <a:gd name="connsiteX35" fmla="*/ 464897 w 1339273"/>
                      <a:gd name="connsiteY35" fmla="*/ 415636 h 641756"/>
                      <a:gd name="connsiteX36" fmla="*/ 415636 w 1339273"/>
                      <a:gd name="connsiteY36" fmla="*/ 403321 h 641756"/>
                      <a:gd name="connsiteX37" fmla="*/ 372533 w 1339273"/>
                      <a:gd name="connsiteY37" fmla="*/ 391006 h 641756"/>
                      <a:gd name="connsiteX38" fmla="*/ 335588 w 1339273"/>
                      <a:gd name="connsiteY38" fmla="*/ 372533 h 641756"/>
                      <a:gd name="connsiteX39" fmla="*/ 301721 w 1339273"/>
                      <a:gd name="connsiteY39" fmla="*/ 344824 h 641756"/>
                      <a:gd name="connsiteX40" fmla="*/ 270933 w 1339273"/>
                      <a:gd name="connsiteY40" fmla="*/ 329430 h 641756"/>
                      <a:gd name="connsiteX41" fmla="*/ 240145 w 1339273"/>
                      <a:gd name="connsiteY41" fmla="*/ 329430 h 641756"/>
                      <a:gd name="connsiteX42" fmla="*/ 215515 w 1339273"/>
                      <a:gd name="connsiteY42" fmla="*/ 326351 h 641756"/>
                      <a:gd name="connsiteX43" fmla="*/ 187806 w 1339273"/>
                      <a:gd name="connsiteY43" fmla="*/ 304800 h 641756"/>
                      <a:gd name="connsiteX44" fmla="*/ 163176 w 1339273"/>
                      <a:gd name="connsiteY44" fmla="*/ 295564 h 641756"/>
                      <a:gd name="connsiteX45" fmla="*/ 135467 w 1339273"/>
                      <a:gd name="connsiteY45" fmla="*/ 292485 h 641756"/>
                      <a:gd name="connsiteX46" fmla="*/ 110836 w 1339273"/>
                      <a:gd name="connsiteY46" fmla="*/ 301721 h 641756"/>
                      <a:gd name="connsiteX47" fmla="*/ 101600 w 1339273"/>
                      <a:gd name="connsiteY47" fmla="*/ 301721 h 641756"/>
                      <a:gd name="connsiteX48" fmla="*/ 95442 w 1339273"/>
                      <a:gd name="connsiteY48" fmla="*/ 283248 h 641756"/>
                      <a:gd name="connsiteX49" fmla="*/ 76970 w 1339273"/>
                      <a:gd name="connsiteY49" fmla="*/ 227830 h 641756"/>
                      <a:gd name="connsiteX50" fmla="*/ 76970 w 1339273"/>
                      <a:gd name="connsiteY50" fmla="*/ 209357 h 641756"/>
                      <a:gd name="connsiteX51" fmla="*/ 64655 w 1339273"/>
                      <a:gd name="connsiteY51" fmla="*/ 166254 h 641756"/>
                      <a:gd name="connsiteX52" fmla="*/ 40024 w 1339273"/>
                      <a:gd name="connsiteY52" fmla="*/ 104679 h 641756"/>
                      <a:gd name="connsiteX53" fmla="*/ 15394 w 1339273"/>
                      <a:gd name="connsiteY53" fmla="*/ 43103 h 641756"/>
                      <a:gd name="connsiteX54" fmla="*/ 0 w 1339273"/>
                      <a:gd name="connsiteY54" fmla="*/ 0 h 641756"/>
                      <a:gd name="connsiteX0" fmla="*/ 1305406 w 1305406"/>
                      <a:gd name="connsiteY0" fmla="*/ 640388 h 640388"/>
                      <a:gd name="connsiteX1" fmla="*/ 1271539 w 1305406"/>
                      <a:gd name="connsiteY1" fmla="*/ 621915 h 640388"/>
                      <a:gd name="connsiteX2" fmla="*/ 1249988 w 1305406"/>
                      <a:gd name="connsiteY2" fmla="*/ 606521 h 640388"/>
                      <a:gd name="connsiteX3" fmla="*/ 1246909 w 1305406"/>
                      <a:gd name="connsiteY3" fmla="*/ 591127 h 640388"/>
                      <a:gd name="connsiteX4" fmla="*/ 1246909 w 1305406"/>
                      <a:gd name="connsiteY4" fmla="*/ 575733 h 640388"/>
                      <a:gd name="connsiteX5" fmla="*/ 1253067 w 1305406"/>
                      <a:gd name="connsiteY5" fmla="*/ 560339 h 640388"/>
                      <a:gd name="connsiteX6" fmla="*/ 1259224 w 1305406"/>
                      <a:gd name="connsiteY6" fmla="*/ 541867 h 640388"/>
                      <a:gd name="connsiteX7" fmla="*/ 1240752 w 1305406"/>
                      <a:gd name="connsiteY7" fmla="*/ 526473 h 640388"/>
                      <a:gd name="connsiteX8" fmla="*/ 1182255 w 1305406"/>
                      <a:gd name="connsiteY8" fmla="*/ 508000 h 640388"/>
                      <a:gd name="connsiteX9" fmla="*/ 1132994 w 1305406"/>
                      <a:gd name="connsiteY9" fmla="*/ 486448 h 640388"/>
                      <a:gd name="connsiteX10" fmla="*/ 1046788 w 1305406"/>
                      <a:gd name="connsiteY10" fmla="*/ 480291 h 640388"/>
                      <a:gd name="connsiteX11" fmla="*/ 991370 w 1305406"/>
                      <a:gd name="connsiteY11" fmla="*/ 480291 h 640388"/>
                      <a:gd name="connsiteX12" fmla="*/ 923636 w 1305406"/>
                      <a:gd name="connsiteY12" fmla="*/ 492606 h 640388"/>
                      <a:gd name="connsiteX13" fmla="*/ 880533 w 1305406"/>
                      <a:gd name="connsiteY13" fmla="*/ 501842 h 640388"/>
                      <a:gd name="connsiteX14" fmla="*/ 871297 w 1305406"/>
                      <a:gd name="connsiteY14" fmla="*/ 501842 h 640388"/>
                      <a:gd name="connsiteX15" fmla="*/ 865139 w 1305406"/>
                      <a:gd name="connsiteY15" fmla="*/ 483370 h 640388"/>
                      <a:gd name="connsiteX16" fmla="*/ 846667 w 1305406"/>
                      <a:gd name="connsiteY16" fmla="*/ 477212 h 640388"/>
                      <a:gd name="connsiteX17" fmla="*/ 815879 w 1305406"/>
                      <a:gd name="connsiteY17" fmla="*/ 486448 h 640388"/>
                      <a:gd name="connsiteX18" fmla="*/ 766618 w 1305406"/>
                      <a:gd name="connsiteY18" fmla="*/ 467976 h 640388"/>
                      <a:gd name="connsiteX19" fmla="*/ 748145 w 1305406"/>
                      <a:gd name="connsiteY19" fmla="*/ 458739 h 640388"/>
                      <a:gd name="connsiteX20" fmla="*/ 723515 w 1305406"/>
                      <a:gd name="connsiteY20" fmla="*/ 464897 h 640388"/>
                      <a:gd name="connsiteX21" fmla="*/ 680412 w 1305406"/>
                      <a:gd name="connsiteY21" fmla="*/ 461818 h 640388"/>
                      <a:gd name="connsiteX22" fmla="*/ 655782 w 1305406"/>
                      <a:gd name="connsiteY22" fmla="*/ 458739 h 640388"/>
                      <a:gd name="connsiteX23" fmla="*/ 640388 w 1305406"/>
                      <a:gd name="connsiteY23" fmla="*/ 471054 h 640388"/>
                      <a:gd name="connsiteX24" fmla="*/ 618836 w 1305406"/>
                      <a:gd name="connsiteY24" fmla="*/ 477212 h 640388"/>
                      <a:gd name="connsiteX25" fmla="*/ 588048 w 1305406"/>
                      <a:gd name="connsiteY25" fmla="*/ 455660 h 640388"/>
                      <a:gd name="connsiteX26" fmla="*/ 575733 w 1305406"/>
                      <a:gd name="connsiteY26" fmla="*/ 437188 h 640388"/>
                      <a:gd name="connsiteX27" fmla="*/ 566497 w 1305406"/>
                      <a:gd name="connsiteY27" fmla="*/ 437188 h 640388"/>
                      <a:gd name="connsiteX28" fmla="*/ 560339 w 1305406"/>
                      <a:gd name="connsiteY28" fmla="*/ 452582 h 640388"/>
                      <a:gd name="connsiteX29" fmla="*/ 535709 w 1305406"/>
                      <a:gd name="connsiteY29" fmla="*/ 471054 h 640388"/>
                      <a:gd name="connsiteX30" fmla="*/ 520315 w 1305406"/>
                      <a:gd name="connsiteY30" fmla="*/ 477212 h 640388"/>
                      <a:gd name="connsiteX31" fmla="*/ 520315 w 1305406"/>
                      <a:gd name="connsiteY31" fmla="*/ 461818 h 640388"/>
                      <a:gd name="connsiteX32" fmla="*/ 517236 w 1305406"/>
                      <a:gd name="connsiteY32" fmla="*/ 437188 h 640388"/>
                      <a:gd name="connsiteX33" fmla="*/ 492606 w 1305406"/>
                      <a:gd name="connsiteY33" fmla="*/ 421794 h 640388"/>
                      <a:gd name="connsiteX34" fmla="*/ 464897 w 1305406"/>
                      <a:gd name="connsiteY34" fmla="*/ 415636 h 640388"/>
                      <a:gd name="connsiteX35" fmla="*/ 415636 w 1305406"/>
                      <a:gd name="connsiteY35" fmla="*/ 403321 h 640388"/>
                      <a:gd name="connsiteX36" fmla="*/ 372533 w 1305406"/>
                      <a:gd name="connsiteY36" fmla="*/ 391006 h 640388"/>
                      <a:gd name="connsiteX37" fmla="*/ 335588 w 1305406"/>
                      <a:gd name="connsiteY37" fmla="*/ 372533 h 640388"/>
                      <a:gd name="connsiteX38" fmla="*/ 301721 w 1305406"/>
                      <a:gd name="connsiteY38" fmla="*/ 344824 h 640388"/>
                      <a:gd name="connsiteX39" fmla="*/ 270933 w 1305406"/>
                      <a:gd name="connsiteY39" fmla="*/ 329430 h 640388"/>
                      <a:gd name="connsiteX40" fmla="*/ 240145 w 1305406"/>
                      <a:gd name="connsiteY40" fmla="*/ 329430 h 640388"/>
                      <a:gd name="connsiteX41" fmla="*/ 215515 w 1305406"/>
                      <a:gd name="connsiteY41" fmla="*/ 326351 h 640388"/>
                      <a:gd name="connsiteX42" fmla="*/ 187806 w 1305406"/>
                      <a:gd name="connsiteY42" fmla="*/ 304800 h 640388"/>
                      <a:gd name="connsiteX43" fmla="*/ 163176 w 1305406"/>
                      <a:gd name="connsiteY43" fmla="*/ 295564 h 640388"/>
                      <a:gd name="connsiteX44" fmla="*/ 135467 w 1305406"/>
                      <a:gd name="connsiteY44" fmla="*/ 292485 h 640388"/>
                      <a:gd name="connsiteX45" fmla="*/ 110836 w 1305406"/>
                      <a:gd name="connsiteY45" fmla="*/ 301721 h 640388"/>
                      <a:gd name="connsiteX46" fmla="*/ 101600 w 1305406"/>
                      <a:gd name="connsiteY46" fmla="*/ 301721 h 640388"/>
                      <a:gd name="connsiteX47" fmla="*/ 95442 w 1305406"/>
                      <a:gd name="connsiteY47" fmla="*/ 283248 h 640388"/>
                      <a:gd name="connsiteX48" fmla="*/ 76970 w 1305406"/>
                      <a:gd name="connsiteY48" fmla="*/ 227830 h 640388"/>
                      <a:gd name="connsiteX49" fmla="*/ 76970 w 1305406"/>
                      <a:gd name="connsiteY49" fmla="*/ 209357 h 640388"/>
                      <a:gd name="connsiteX50" fmla="*/ 64655 w 1305406"/>
                      <a:gd name="connsiteY50" fmla="*/ 166254 h 640388"/>
                      <a:gd name="connsiteX51" fmla="*/ 40024 w 1305406"/>
                      <a:gd name="connsiteY51" fmla="*/ 104679 h 640388"/>
                      <a:gd name="connsiteX52" fmla="*/ 15394 w 1305406"/>
                      <a:gd name="connsiteY52" fmla="*/ 43103 h 640388"/>
                      <a:gd name="connsiteX53" fmla="*/ 0 w 1305406"/>
                      <a:gd name="connsiteY53" fmla="*/ 0 h 640388"/>
                      <a:gd name="connsiteX0" fmla="*/ 1271539 w 1271539"/>
                      <a:gd name="connsiteY0" fmla="*/ 621915 h 621915"/>
                      <a:gd name="connsiteX1" fmla="*/ 1249988 w 1271539"/>
                      <a:gd name="connsiteY1" fmla="*/ 606521 h 621915"/>
                      <a:gd name="connsiteX2" fmla="*/ 1246909 w 1271539"/>
                      <a:gd name="connsiteY2" fmla="*/ 591127 h 621915"/>
                      <a:gd name="connsiteX3" fmla="*/ 1246909 w 1271539"/>
                      <a:gd name="connsiteY3" fmla="*/ 575733 h 621915"/>
                      <a:gd name="connsiteX4" fmla="*/ 1253067 w 1271539"/>
                      <a:gd name="connsiteY4" fmla="*/ 560339 h 621915"/>
                      <a:gd name="connsiteX5" fmla="*/ 1259224 w 1271539"/>
                      <a:gd name="connsiteY5" fmla="*/ 541867 h 621915"/>
                      <a:gd name="connsiteX6" fmla="*/ 1240752 w 1271539"/>
                      <a:gd name="connsiteY6" fmla="*/ 526473 h 621915"/>
                      <a:gd name="connsiteX7" fmla="*/ 1182255 w 1271539"/>
                      <a:gd name="connsiteY7" fmla="*/ 508000 h 621915"/>
                      <a:gd name="connsiteX8" fmla="*/ 1132994 w 1271539"/>
                      <a:gd name="connsiteY8" fmla="*/ 486448 h 621915"/>
                      <a:gd name="connsiteX9" fmla="*/ 1046788 w 1271539"/>
                      <a:gd name="connsiteY9" fmla="*/ 480291 h 621915"/>
                      <a:gd name="connsiteX10" fmla="*/ 991370 w 1271539"/>
                      <a:gd name="connsiteY10" fmla="*/ 480291 h 621915"/>
                      <a:gd name="connsiteX11" fmla="*/ 923636 w 1271539"/>
                      <a:gd name="connsiteY11" fmla="*/ 492606 h 621915"/>
                      <a:gd name="connsiteX12" fmla="*/ 880533 w 1271539"/>
                      <a:gd name="connsiteY12" fmla="*/ 501842 h 621915"/>
                      <a:gd name="connsiteX13" fmla="*/ 871297 w 1271539"/>
                      <a:gd name="connsiteY13" fmla="*/ 501842 h 621915"/>
                      <a:gd name="connsiteX14" fmla="*/ 865139 w 1271539"/>
                      <a:gd name="connsiteY14" fmla="*/ 483370 h 621915"/>
                      <a:gd name="connsiteX15" fmla="*/ 846667 w 1271539"/>
                      <a:gd name="connsiteY15" fmla="*/ 477212 h 621915"/>
                      <a:gd name="connsiteX16" fmla="*/ 815879 w 1271539"/>
                      <a:gd name="connsiteY16" fmla="*/ 486448 h 621915"/>
                      <a:gd name="connsiteX17" fmla="*/ 766618 w 1271539"/>
                      <a:gd name="connsiteY17" fmla="*/ 467976 h 621915"/>
                      <a:gd name="connsiteX18" fmla="*/ 748145 w 1271539"/>
                      <a:gd name="connsiteY18" fmla="*/ 458739 h 621915"/>
                      <a:gd name="connsiteX19" fmla="*/ 723515 w 1271539"/>
                      <a:gd name="connsiteY19" fmla="*/ 464897 h 621915"/>
                      <a:gd name="connsiteX20" fmla="*/ 680412 w 1271539"/>
                      <a:gd name="connsiteY20" fmla="*/ 461818 h 621915"/>
                      <a:gd name="connsiteX21" fmla="*/ 655782 w 1271539"/>
                      <a:gd name="connsiteY21" fmla="*/ 458739 h 621915"/>
                      <a:gd name="connsiteX22" fmla="*/ 640388 w 1271539"/>
                      <a:gd name="connsiteY22" fmla="*/ 471054 h 621915"/>
                      <a:gd name="connsiteX23" fmla="*/ 618836 w 1271539"/>
                      <a:gd name="connsiteY23" fmla="*/ 477212 h 621915"/>
                      <a:gd name="connsiteX24" fmla="*/ 588048 w 1271539"/>
                      <a:gd name="connsiteY24" fmla="*/ 455660 h 621915"/>
                      <a:gd name="connsiteX25" fmla="*/ 575733 w 1271539"/>
                      <a:gd name="connsiteY25" fmla="*/ 437188 h 621915"/>
                      <a:gd name="connsiteX26" fmla="*/ 566497 w 1271539"/>
                      <a:gd name="connsiteY26" fmla="*/ 437188 h 621915"/>
                      <a:gd name="connsiteX27" fmla="*/ 560339 w 1271539"/>
                      <a:gd name="connsiteY27" fmla="*/ 452582 h 621915"/>
                      <a:gd name="connsiteX28" fmla="*/ 535709 w 1271539"/>
                      <a:gd name="connsiteY28" fmla="*/ 471054 h 621915"/>
                      <a:gd name="connsiteX29" fmla="*/ 520315 w 1271539"/>
                      <a:gd name="connsiteY29" fmla="*/ 477212 h 621915"/>
                      <a:gd name="connsiteX30" fmla="*/ 520315 w 1271539"/>
                      <a:gd name="connsiteY30" fmla="*/ 461818 h 621915"/>
                      <a:gd name="connsiteX31" fmla="*/ 517236 w 1271539"/>
                      <a:gd name="connsiteY31" fmla="*/ 437188 h 621915"/>
                      <a:gd name="connsiteX32" fmla="*/ 492606 w 1271539"/>
                      <a:gd name="connsiteY32" fmla="*/ 421794 h 621915"/>
                      <a:gd name="connsiteX33" fmla="*/ 464897 w 1271539"/>
                      <a:gd name="connsiteY33" fmla="*/ 415636 h 621915"/>
                      <a:gd name="connsiteX34" fmla="*/ 415636 w 1271539"/>
                      <a:gd name="connsiteY34" fmla="*/ 403321 h 621915"/>
                      <a:gd name="connsiteX35" fmla="*/ 372533 w 1271539"/>
                      <a:gd name="connsiteY35" fmla="*/ 391006 h 621915"/>
                      <a:gd name="connsiteX36" fmla="*/ 335588 w 1271539"/>
                      <a:gd name="connsiteY36" fmla="*/ 372533 h 621915"/>
                      <a:gd name="connsiteX37" fmla="*/ 301721 w 1271539"/>
                      <a:gd name="connsiteY37" fmla="*/ 344824 h 621915"/>
                      <a:gd name="connsiteX38" fmla="*/ 270933 w 1271539"/>
                      <a:gd name="connsiteY38" fmla="*/ 329430 h 621915"/>
                      <a:gd name="connsiteX39" fmla="*/ 240145 w 1271539"/>
                      <a:gd name="connsiteY39" fmla="*/ 329430 h 621915"/>
                      <a:gd name="connsiteX40" fmla="*/ 215515 w 1271539"/>
                      <a:gd name="connsiteY40" fmla="*/ 326351 h 621915"/>
                      <a:gd name="connsiteX41" fmla="*/ 187806 w 1271539"/>
                      <a:gd name="connsiteY41" fmla="*/ 304800 h 621915"/>
                      <a:gd name="connsiteX42" fmla="*/ 163176 w 1271539"/>
                      <a:gd name="connsiteY42" fmla="*/ 295564 h 621915"/>
                      <a:gd name="connsiteX43" fmla="*/ 135467 w 1271539"/>
                      <a:gd name="connsiteY43" fmla="*/ 292485 h 621915"/>
                      <a:gd name="connsiteX44" fmla="*/ 110836 w 1271539"/>
                      <a:gd name="connsiteY44" fmla="*/ 301721 h 621915"/>
                      <a:gd name="connsiteX45" fmla="*/ 101600 w 1271539"/>
                      <a:gd name="connsiteY45" fmla="*/ 301721 h 621915"/>
                      <a:gd name="connsiteX46" fmla="*/ 95442 w 1271539"/>
                      <a:gd name="connsiteY46" fmla="*/ 283248 h 621915"/>
                      <a:gd name="connsiteX47" fmla="*/ 76970 w 1271539"/>
                      <a:gd name="connsiteY47" fmla="*/ 227830 h 621915"/>
                      <a:gd name="connsiteX48" fmla="*/ 76970 w 1271539"/>
                      <a:gd name="connsiteY48" fmla="*/ 209357 h 621915"/>
                      <a:gd name="connsiteX49" fmla="*/ 64655 w 1271539"/>
                      <a:gd name="connsiteY49" fmla="*/ 166254 h 621915"/>
                      <a:gd name="connsiteX50" fmla="*/ 40024 w 1271539"/>
                      <a:gd name="connsiteY50" fmla="*/ 104679 h 621915"/>
                      <a:gd name="connsiteX51" fmla="*/ 15394 w 1271539"/>
                      <a:gd name="connsiteY51" fmla="*/ 43103 h 621915"/>
                      <a:gd name="connsiteX52" fmla="*/ 0 w 1271539"/>
                      <a:gd name="connsiteY52" fmla="*/ 0 h 621915"/>
                      <a:gd name="connsiteX0" fmla="*/ 1249988 w 1259636"/>
                      <a:gd name="connsiteY0" fmla="*/ 606521 h 606521"/>
                      <a:gd name="connsiteX1" fmla="*/ 1246909 w 1259636"/>
                      <a:gd name="connsiteY1" fmla="*/ 591127 h 606521"/>
                      <a:gd name="connsiteX2" fmla="*/ 1246909 w 1259636"/>
                      <a:gd name="connsiteY2" fmla="*/ 575733 h 606521"/>
                      <a:gd name="connsiteX3" fmla="*/ 1253067 w 1259636"/>
                      <a:gd name="connsiteY3" fmla="*/ 560339 h 606521"/>
                      <a:gd name="connsiteX4" fmla="*/ 1259224 w 1259636"/>
                      <a:gd name="connsiteY4" fmla="*/ 541867 h 606521"/>
                      <a:gd name="connsiteX5" fmla="*/ 1240752 w 1259636"/>
                      <a:gd name="connsiteY5" fmla="*/ 526473 h 606521"/>
                      <a:gd name="connsiteX6" fmla="*/ 1182255 w 1259636"/>
                      <a:gd name="connsiteY6" fmla="*/ 508000 h 606521"/>
                      <a:gd name="connsiteX7" fmla="*/ 1132994 w 1259636"/>
                      <a:gd name="connsiteY7" fmla="*/ 486448 h 606521"/>
                      <a:gd name="connsiteX8" fmla="*/ 1046788 w 1259636"/>
                      <a:gd name="connsiteY8" fmla="*/ 480291 h 606521"/>
                      <a:gd name="connsiteX9" fmla="*/ 991370 w 1259636"/>
                      <a:gd name="connsiteY9" fmla="*/ 480291 h 606521"/>
                      <a:gd name="connsiteX10" fmla="*/ 923636 w 1259636"/>
                      <a:gd name="connsiteY10" fmla="*/ 492606 h 606521"/>
                      <a:gd name="connsiteX11" fmla="*/ 880533 w 1259636"/>
                      <a:gd name="connsiteY11" fmla="*/ 501842 h 606521"/>
                      <a:gd name="connsiteX12" fmla="*/ 871297 w 1259636"/>
                      <a:gd name="connsiteY12" fmla="*/ 501842 h 606521"/>
                      <a:gd name="connsiteX13" fmla="*/ 865139 w 1259636"/>
                      <a:gd name="connsiteY13" fmla="*/ 483370 h 606521"/>
                      <a:gd name="connsiteX14" fmla="*/ 846667 w 1259636"/>
                      <a:gd name="connsiteY14" fmla="*/ 477212 h 606521"/>
                      <a:gd name="connsiteX15" fmla="*/ 815879 w 1259636"/>
                      <a:gd name="connsiteY15" fmla="*/ 486448 h 606521"/>
                      <a:gd name="connsiteX16" fmla="*/ 766618 w 1259636"/>
                      <a:gd name="connsiteY16" fmla="*/ 467976 h 606521"/>
                      <a:gd name="connsiteX17" fmla="*/ 748145 w 1259636"/>
                      <a:gd name="connsiteY17" fmla="*/ 458739 h 606521"/>
                      <a:gd name="connsiteX18" fmla="*/ 723515 w 1259636"/>
                      <a:gd name="connsiteY18" fmla="*/ 464897 h 606521"/>
                      <a:gd name="connsiteX19" fmla="*/ 680412 w 1259636"/>
                      <a:gd name="connsiteY19" fmla="*/ 461818 h 606521"/>
                      <a:gd name="connsiteX20" fmla="*/ 655782 w 1259636"/>
                      <a:gd name="connsiteY20" fmla="*/ 458739 h 606521"/>
                      <a:gd name="connsiteX21" fmla="*/ 640388 w 1259636"/>
                      <a:gd name="connsiteY21" fmla="*/ 471054 h 606521"/>
                      <a:gd name="connsiteX22" fmla="*/ 618836 w 1259636"/>
                      <a:gd name="connsiteY22" fmla="*/ 477212 h 606521"/>
                      <a:gd name="connsiteX23" fmla="*/ 588048 w 1259636"/>
                      <a:gd name="connsiteY23" fmla="*/ 455660 h 606521"/>
                      <a:gd name="connsiteX24" fmla="*/ 575733 w 1259636"/>
                      <a:gd name="connsiteY24" fmla="*/ 437188 h 606521"/>
                      <a:gd name="connsiteX25" fmla="*/ 566497 w 1259636"/>
                      <a:gd name="connsiteY25" fmla="*/ 437188 h 606521"/>
                      <a:gd name="connsiteX26" fmla="*/ 560339 w 1259636"/>
                      <a:gd name="connsiteY26" fmla="*/ 452582 h 606521"/>
                      <a:gd name="connsiteX27" fmla="*/ 535709 w 1259636"/>
                      <a:gd name="connsiteY27" fmla="*/ 471054 h 606521"/>
                      <a:gd name="connsiteX28" fmla="*/ 520315 w 1259636"/>
                      <a:gd name="connsiteY28" fmla="*/ 477212 h 606521"/>
                      <a:gd name="connsiteX29" fmla="*/ 520315 w 1259636"/>
                      <a:gd name="connsiteY29" fmla="*/ 461818 h 606521"/>
                      <a:gd name="connsiteX30" fmla="*/ 517236 w 1259636"/>
                      <a:gd name="connsiteY30" fmla="*/ 437188 h 606521"/>
                      <a:gd name="connsiteX31" fmla="*/ 492606 w 1259636"/>
                      <a:gd name="connsiteY31" fmla="*/ 421794 h 606521"/>
                      <a:gd name="connsiteX32" fmla="*/ 464897 w 1259636"/>
                      <a:gd name="connsiteY32" fmla="*/ 415636 h 606521"/>
                      <a:gd name="connsiteX33" fmla="*/ 415636 w 1259636"/>
                      <a:gd name="connsiteY33" fmla="*/ 403321 h 606521"/>
                      <a:gd name="connsiteX34" fmla="*/ 372533 w 1259636"/>
                      <a:gd name="connsiteY34" fmla="*/ 391006 h 606521"/>
                      <a:gd name="connsiteX35" fmla="*/ 335588 w 1259636"/>
                      <a:gd name="connsiteY35" fmla="*/ 372533 h 606521"/>
                      <a:gd name="connsiteX36" fmla="*/ 301721 w 1259636"/>
                      <a:gd name="connsiteY36" fmla="*/ 344824 h 606521"/>
                      <a:gd name="connsiteX37" fmla="*/ 270933 w 1259636"/>
                      <a:gd name="connsiteY37" fmla="*/ 329430 h 606521"/>
                      <a:gd name="connsiteX38" fmla="*/ 240145 w 1259636"/>
                      <a:gd name="connsiteY38" fmla="*/ 329430 h 606521"/>
                      <a:gd name="connsiteX39" fmla="*/ 215515 w 1259636"/>
                      <a:gd name="connsiteY39" fmla="*/ 326351 h 606521"/>
                      <a:gd name="connsiteX40" fmla="*/ 187806 w 1259636"/>
                      <a:gd name="connsiteY40" fmla="*/ 304800 h 606521"/>
                      <a:gd name="connsiteX41" fmla="*/ 163176 w 1259636"/>
                      <a:gd name="connsiteY41" fmla="*/ 295564 h 606521"/>
                      <a:gd name="connsiteX42" fmla="*/ 135467 w 1259636"/>
                      <a:gd name="connsiteY42" fmla="*/ 292485 h 606521"/>
                      <a:gd name="connsiteX43" fmla="*/ 110836 w 1259636"/>
                      <a:gd name="connsiteY43" fmla="*/ 301721 h 606521"/>
                      <a:gd name="connsiteX44" fmla="*/ 101600 w 1259636"/>
                      <a:gd name="connsiteY44" fmla="*/ 301721 h 606521"/>
                      <a:gd name="connsiteX45" fmla="*/ 95442 w 1259636"/>
                      <a:gd name="connsiteY45" fmla="*/ 283248 h 606521"/>
                      <a:gd name="connsiteX46" fmla="*/ 76970 w 1259636"/>
                      <a:gd name="connsiteY46" fmla="*/ 227830 h 606521"/>
                      <a:gd name="connsiteX47" fmla="*/ 76970 w 1259636"/>
                      <a:gd name="connsiteY47" fmla="*/ 209357 h 606521"/>
                      <a:gd name="connsiteX48" fmla="*/ 64655 w 1259636"/>
                      <a:gd name="connsiteY48" fmla="*/ 166254 h 606521"/>
                      <a:gd name="connsiteX49" fmla="*/ 40024 w 1259636"/>
                      <a:gd name="connsiteY49" fmla="*/ 104679 h 606521"/>
                      <a:gd name="connsiteX50" fmla="*/ 15394 w 1259636"/>
                      <a:gd name="connsiteY50" fmla="*/ 43103 h 606521"/>
                      <a:gd name="connsiteX51" fmla="*/ 0 w 1259636"/>
                      <a:gd name="connsiteY51" fmla="*/ 0 h 606521"/>
                      <a:gd name="connsiteX0" fmla="*/ 1246909 w 1259636"/>
                      <a:gd name="connsiteY0" fmla="*/ 591127 h 591127"/>
                      <a:gd name="connsiteX1" fmla="*/ 1246909 w 1259636"/>
                      <a:gd name="connsiteY1" fmla="*/ 575733 h 591127"/>
                      <a:gd name="connsiteX2" fmla="*/ 1253067 w 1259636"/>
                      <a:gd name="connsiteY2" fmla="*/ 560339 h 591127"/>
                      <a:gd name="connsiteX3" fmla="*/ 1259224 w 1259636"/>
                      <a:gd name="connsiteY3" fmla="*/ 541867 h 591127"/>
                      <a:gd name="connsiteX4" fmla="*/ 1240752 w 1259636"/>
                      <a:gd name="connsiteY4" fmla="*/ 526473 h 591127"/>
                      <a:gd name="connsiteX5" fmla="*/ 1182255 w 1259636"/>
                      <a:gd name="connsiteY5" fmla="*/ 508000 h 591127"/>
                      <a:gd name="connsiteX6" fmla="*/ 1132994 w 1259636"/>
                      <a:gd name="connsiteY6" fmla="*/ 486448 h 591127"/>
                      <a:gd name="connsiteX7" fmla="*/ 1046788 w 1259636"/>
                      <a:gd name="connsiteY7" fmla="*/ 480291 h 591127"/>
                      <a:gd name="connsiteX8" fmla="*/ 991370 w 1259636"/>
                      <a:gd name="connsiteY8" fmla="*/ 480291 h 591127"/>
                      <a:gd name="connsiteX9" fmla="*/ 923636 w 1259636"/>
                      <a:gd name="connsiteY9" fmla="*/ 492606 h 591127"/>
                      <a:gd name="connsiteX10" fmla="*/ 880533 w 1259636"/>
                      <a:gd name="connsiteY10" fmla="*/ 501842 h 591127"/>
                      <a:gd name="connsiteX11" fmla="*/ 871297 w 1259636"/>
                      <a:gd name="connsiteY11" fmla="*/ 501842 h 591127"/>
                      <a:gd name="connsiteX12" fmla="*/ 865139 w 1259636"/>
                      <a:gd name="connsiteY12" fmla="*/ 483370 h 591127"/>
                      <a:gd name="connsiteX13" fmla="*/ 846667 w 1259636"/>
                      <a:gd name="connsiteY13" fmla="*/ 477212 h 591127"/>
                      <a:gd name="connsiteX14" fmla="*/ 815879 w 1259636"/>
                      <a:gd name="connsiteY14" fmla="*/ 486448 h 591127"/>
                      <a:gd name="connsiteX15" fmla="*/ 766618 w 1259636"/>
                      <a:gd name="connsiteY15" fmla="*/ 467976 h 591127"/>
                      <a:gd name="connsiteX16" fmla="*/ 748145 w 1259636"/>
                      <a:gd name="connsiteY16" fmla="*/ 458739 h 591127"/>
                      <a:gd name="connsiteX17" fmla="*/ 723515 w 1259636"/>
                      <a:gd name="connsiteY17" fmla="*/ 464897 h 591127"/>
                      <a:gd name="connsiteX18" fmla="*/ 680412 w 1259636"/>
                      <a:gd name="connsiteY18" fmla="*/ 461818 h 591127"/>
                      <a:gd name="connsiteX19" fmla="*/ 655782 w 1259636"/>
                      <a:gd name="connsiteY19" fmla="*/ 458739 h 591127"/>
                      <a:gd name="connsiteX20" fmla="*/ 640388 w 1259636"/>
                      <a:gd name="connsiteY20" fmla="*/ 471054 h 591127"/>
                      <a:gd name="connsiteX21" fmla="*/ 618836 w 1259636"/>
                      <a:gd name="connsiteY21" fmla="*/ 477212 h 591127"/>
                      <a:gd name="connsiteX22" fmla="*/ 588048 w 1259636"/>
                      <a:gd name="connsiteY22" fmla="*/ 455660 h 591127"/>
                      <a:gd name="connsiteX23" fmla="*/ 575733 w 1259636"/>
                      <a:gd name="connsiteY23" fmla="*/ 437188 h 591127"/>
                      <a:gd name="connsiteX24" fmla="*/ 566497 w 1259636"/>
                      <a:gd name="connsiteY24" fmla="*/ 437188 h 591127"/>
                      <a:gd name="connsiteX25" fmla="*/ 560339 w 1259636"/>
                      <a:gd name="connsiteY25" fmla="*/ 452582 h 591127"/>
                      <a:gd name="connsiteX26" fmla="*/ 535709 w 1259636"/>
                      <a:gd name="connsiteY26" fmla="*/ 471054 h 591127"/>
                      <a:gd name="connsiteX27" fmla="*/ 520315 w 1259636"/>
                      <a:gd name="connsiteY27" fmla="*/ 477212 h 591127"/>
                      <a:gd name="connsiteX28" fmla="*/ 520315 w 1259636"/>
                      <a:gd name="connsiteY28" fmla="*/ 461818 h 591127"/>
                      <a:gd name="connsiteX29" fmla="*/ 517236 w 1259636"/>
                      <a:gd name="connsiteY29" fmla="*/ 437188 h 591127"/>
                      <a:gd name="connsiteX30" fmla="*/ 492606 w 1259636"/>
                      <a:gd name="connsiteY30" fmla="*/ 421794 h 591127"/>
                      <a:gd name="connsiteX31" fmla="*/ 464897 w 1259636"/>
                      <a:gd name="connsiteY31" fmla="*/ 415636 h 591127"/>
                      <a:gd name="connsiteX32" fmla="*/ 415636 w 1259636"/>
                      <a:gd name="connsiteY32" fmla="*/ 403321 h 591127"/>
                      <a:gd name="connsiteX33" fmla="*/ 372533 w 1259636"/>
                      <a:gd name="connsiteY33" fmla="*/ 391006 h 591127"/>
                      <a:gd name="connsiteX34" fmla="*/ 335588 w 1259636"/>
                      <a:gd name="connsiteY34" fmla="*/ 372533 h 591127"/>
                      <a:gd name="connsiteX35" fmla="*/ 301721 w 1259636"/>
                      <a:gd name="connsiteY35" fmla="*/ 344824 h 591127"/>
                      <a:gd name="connsiteX36" fmla="*/ 270933 w 1259636"/>
                      <a:gd name="connsiteY36" fmla="*/ 329430 h 591127"/>
                      <a:gd name="connsiteX37" fmla="*/ 240145 w 1259636"/>
                      <a:gd name="connsiteY37" fmla="*/ 329430 h 591127"/>
                      <a:gd name="connsiteX38" fmla="*/ 215515 w 1259636"/>
                      <a:gd name="connsiteY38" fmla="*/ 326351 h 591127"/>
                      <a:gd name="connsiteX39" fmla="*/ 187806 w 1259636"/>
                      <a:gd name="connsiteY39" fmla="*/ 304800 h 591127"/>
                      <a:gd name="connsiteX40" fmla="*/ 163176 w 1259636"/>
                      <a:gd name="connsiteY40" fmla="*/ 295564 h 591127"/>
                      <a:gd name="connsiteX41" fmla="*/ 135467 w 1259636"/>
                      <a:gd name="connsiteY41" fmla="*/ 292485 h 591127"/>
                      <a:gd name="connsiteX42" fmla="*/ 110836 w 1259636"/>
                      <a:gd name="connsiteY42" fmla="*/ 301721 h 591127"/>
                      <a:gd name="connsiteX43" fmla="*/ 101600 w 1259636"/>
                      <a:gd name="connsiteY43" fmla="*/ 301721 h 591127"/>
                      <a:gd name="connsiteX44" fmla="*/ 95442 w 1259636"/>
                      <a:gd name="connsiteY44" fmla="*/ 283248 h 591127"/>
                      <a:gd name="connsiteX45" fmla="*/ 76970 w 1259636"/>
                      <a:gd name="connsiteY45" fmla="*/ 227830 h 591127"/>
                      <a:gd name="connsiteX46" fmla="*/ 76970 w 1259636"/>
                      <a:gd name="connsiteY46" fmla="*/ 209357 h 591127"/>
                      <a:gd name="connsiteX47" fmla="*/ 64655 w 1259636"/>
                      <a:gd name="connsiteY47" fmla="*/ 166254 h 591127"/>
                      <a:gd name="connsiteX48" fmla="*/ 40024 w 1259636"/>
                      <a:gd name="connsiteY48" fmla="*/ 104679 h 591127"/>
                      <a:gd name="connsiteX49" fmla="*/ 15394 w 1259636"/>
                      <a:gd name="connsiteY49" fmla="*/ 43103 h 591127"/>
                      <a:gd name="connsiteX50" fmla="*/ 0 w 1259636"/>
                      <a:gd name="connsiteY50" fmla="*/ 0 h 591127"/>
                      <a:gd name="connsiteX0" fmla="*/ 1246909 w 1259636"/>
                      <a:gd name="connsiteY0" fmla="*/ 575733 h 575733"/>
                      <a:gd name="connsiteX1" fmla="*/ 1253067 w 1259636"/>
                      <a:gd name="connsiteY1" fmla="*/ 560339 h 575733"/>
                      <a:gd name="connsiteX2" fmla="*/ 1259224 w 1259636"/>
                      <a:gd name="connsiteY2" fmla="*/ 541867 h 575733"/>
                      <a:gd name="connsiteX3" fmla="*/ 1240752 w 1259636"/>
                      <a:gd name="connsiteY3" fmla="*/ 526473 h 575733"/>
                      <a:gd name="connsiteX4" fmla="*/ 1182255 w 1259636"/>
                      <a:gd name="connsiteY4" fmla="*/ 508000 h 575733"/>
                      <a:gd name="connsiteX5" fmla="*/ 1132994 w 1259636"/>
                      <a:gd name="connsiteY5" fmla="*/ 486448 h 575733"/>
                      <a:gd name="connsiteX6" fmla="*/ 1046788 w 1259636"/>
                      <a:gd name="connsiteY6" fmla="*/ 480291 h 575733"/>
                      <a:gd name="connsiteX7" fmla="*/ 991370 w 1259636"/>
                      <a:gd name="connsiteY7" fmla="*/ 480291 h 575733"/>
                      <a:gd name="connsiteX8" fmla="*/ 923636 w 1259636"/>
                      <a:gd name="connsiteY8" fmla="*/ 492606 h 575733"/>
                      <a:gd name="connsiteX9" fmla="*/ 880533 w 1259636"/>
                      <a:gd name="connsiteY9" fmla="*/ 501842 h 575733"/>
                      <a:gd name="connsiteX10" fmla="*/ 871297 w 1259636"/>
                      <a:gd name="connsiteY10" fmla="*/ 501842 h 575733"/>
                      <a:gd name="connsiteX11" fmla="*/ 865139 w 1259636"/>
                      <a:gd name="connsiteY11" fmla="*/ 483370 h 575733"/>
                      <a:gd name="connsiteX12" fmla="*/ 846667 w 1259636"/>
                      <a:gd name="connsiteY12" fmla="*/ 477212 h 575733"/>
                      <a:gd name="connsiteX13" fmla="*/ 815879 w 1259636"/>
                      <a:gd name="connsiteY13" fmla="*/ 486448 h 575733"/>
                      <a:gd name="connsiteX14" fmla="*/ 766618 w 1259636"/>
                      <a:gd name="connsiteY14" fmla="*/ 467976 h 575733"/>
                      <a:gd name="connsiteX15" fmla="*/ 748145 w 1259636"/>
                      <a:gd name="connsiteY15" fmla="*/ 458739 h 575733"/>
                      <a:gd name="connsiteX16" fmla="*/ 723515 w 1259636"/>
                      <a:gd name="connsiteY16" fmla="*/ 464897 h 575733"/>
                      <a:gd name="connsiteX17" fmla="*/ 680412 w 1259636"/>
                      <a:gd name="connsiteY17" fmla="*/ 461818 h 575733"/>
                      <a:gd name="connsiteX18" fmla="*/ 655782 w 1259636"/>
                      <a:gd name="connsiteY18" fmla="*/ 458739 h 575733"/>
                      <a:gd name="connsiteX19" fmla="*/ 640388 w 1259636"/>
                      <a:gd name="connsiteY19" fmla="*/ 471054 h 575733"/>
                      <a:gd name="connsiteX20" fmla="*/ 618836 w 1259636"/>
                      <a:gd name="connsiteY20" fmla="*/ 477212 h 575733"/>
                      <a:gd name="connsiteX21" fmla="*/ 588048 w 1259636"/>
                      <a:gd name="connsiteY21" fmla="*/ 455660 h 575733"/>
                      <a:gd name="connsiteX22" fmla="*/ 575733 w 1259636"/>
                      <a:gd name="connsiteY22" fmla="*/ 437188 h 575733"/>
                      <a:gd name="connsiteX23" fmla="*/ 566497 w 1259636"/>
                      <a:gd name="connsiteY23" fmla="*/ 437188 h 575733"/>
                      <a:gd name="connsiteX24" fmla="*/ 560339 w 1259636"/>
                      <a:gd name="connsiteY24" fmla="*/ 452582 h 575733"/>
                      <a:gd name="connsiteX25" fmla="*/ 535709 w 1259636"/>
                      <a:gd name="connsiteY25" fmla="*/ 471054 h 575733"/>
                      <a:gd name="connsiteX26" fmla="*/ 520315 w 1259636"/>
                      <a:gd name="connsiteY26" fmla="*/ 477212 h 575733"/>
                      <a:gd name="connsiteX27" fmla="*/ 520315 w 1259636"/>
                      <a:gd name="connsiteY27" fmla="*/ 461818 h 575733"/>
                      <a:gd name="connsiteX28" fmla="*/ 517236 w 1259636"/>
                      <a:gd name="connsiteY28" fmla="*/ 437188 h 575733"/>
                      <a:gd name="connsiteX29" fmla="*/ 492606 w 1259636"/>
                      <a:gd name="connsiteY29" fmla="*/ 421794 h 575733"/>
                      <a:gd name="connsiteX30" fmla="*/ 464897 w 1259636"/>
                      <a:gd name="connsiteY30" fmla="*/ 415636 h 575733"/>
                      <a:gd name="connsiteX31" fmla="*/ 415636 w 1259636"/>
                      <a:gd name="connsiteY31" fmla="*/ 403321 h 575733"/>
                      <a:gd name="connsiteX32" fmla="*/ 372533 w 1259636"/>
                      <a:gd name="connsiteY32" fmla="*/ 391006 h 575733"/>
                      <a:gd name="connsiteX33" fmla="*/ 335588 w 1259636"/>
                      <a:gd name="connsiteY33" fmla="*/ 372533 h 575733"/>
                      <a:gd name="connsiteX34" fmla="*/ 301721 w 1259636"/>
                      <a:gd name="connsiteY34" fmla="*/ 344824 h 575733"/>
                      <a:gd name="connsiteX35" fmla="*/ 270933 w 1259636"/>
                      <a:gd name="connsiteY35" fmla="*/ 329430 h 575733"/>
                      <a:gd name="connsiteX36" fmla="*/ 240145 w 1259636"/>
                      <a:gd name="connsiteY36" fmla="*/ 329430 h 575733"/>
                      <a:gd name="connsiteX37" fmla="*/ 215515 w 1259636"/>
                      <a:gd name="connsiteY37" fmla="*/ 326351 h 575733"/>
                      <a:gd name="connsiteX38" fmla="*/ 187806 w 1259636"/>
                      <a:gd name="connsiteY38" fmla="*/ 304800 h 575733"/>
                      <a:gd name="connsiteX39" fmla="*/ 163176 w 1259636"/>
                      <a:gd name="connsiteY39" fmla="*/ 295564 h 575733"/>
                      <a:gd name="connsiteX40" fmla="*/ 135467 w 1259636"/>
                      <a:gd name="connsiteY40" fmla="*/ 292485 h 575733"/>
                      <a:gd name="connsiteX41" fmla="*/ 110836 w 1259636"/>
                      <a:gd name="connsiteY41" fmla="*/ 301721 h 575733"/>
                      <a:gd name="connsiteX42" fmla="*/ 101600 w 1259636"/>
                      <a:gd name="connsiteY42" fmla="*/ 301721 h 575733"/>
                      <a:gd name="connsiteX43" fmla="*/ 95442 w 1259636"/>
                      <a:gd name="connsiteY43" fmla="*/ 283248 h 575733"/>
                      <a:gd name="connsiteX44" fmla="*/ 76970 w 1259636"/>
                      <a:gd name="connsiteY44" fmla="*/ 227830 h 575733"/>
                      <a:gd name="connsiteX45" fmla="*/ 76970 w 1259636"/>
                      <a:gd name="connsiteY45" fmla="*/ 209357 h 575733"/>
                      <a:gd name="connsiteX46" fmla="*/ 64655 w 1259636"/>
                      <a:gd name="connsiteY46" fmla="*/ 166254 h 575733"/>
                      <a:gd name="connsiteX47" fmla="*/ 40024 w 1259636"/>
                      <a:gd name="connsiteY47" fmla="*/ 104679 h 575733"/>
                      <a:gd name="connsiteX48" fmla="*/ 15394 w 1259636"/>
                      <a:gd name="connsiteY48" fmla="*/ 43103 h 575733"/>
                      <a:gd name="connsiteX49" fmla="*/ 0 w 1259636"/>
                      <a:gd name="connsiteY49" fmla="*/ 0 h 575733"/>
                      <a:gd name="connsiteX0" fmla="*/ 1253067 w 1259636"/>
                      <a:gd name="connsiteY0" fmla="*/ 560339 h 560339"/>
                      <a:gd name="connsiteX1" fmla="*/ 1259224 w 1259636"/>
                      <a:gd name="connsiteY1" fmla="*/ 541867 h 560339"/>
                      <a:gd name="connsiteX2" fmla="*/ 1240752 w 1259636"/>
                      <a:gd name="connsiteY2" fmla="*/ 526473 h 560339"/>
                      <a:gd name="connsiteX3" fmla="*/ 1182255 w 1259636"/>
                      <a:gd name="connsiteY3" fmla="*/ 508000 h 560339"/>
                      <a:gd name="connsiteX4" fmla="*/ 1132994 w 1259636"/>
                      <a:gd name="connsiteY4" fmla="*/ 486448 h 560339"/>
                      <a:gd name="connsiteX5" fmla="*/ 1046788 w 1259636"/>
                      <a:gd name="connsiteY5" fmla="*/ 480291 h 560339"/>
                      <a:gd name="connsiteX6" fmla="*/ 991370 w 1259636"/>
                      <a:gd name="connsiteY6" fmla="*/ 480291 h 560339"/>
                      <a:gd name="connsiteX7" fmla="*/ 923636 w 1259636"/>
                      <a:gd name="connsiteY7" fmla="*/ 492606 h 560339"/>
                      <a:gd name="connsiteX8" fmla="*/ 880533 w 1259636"/>
                      <a:gd name="connsiteY8" fmla="*/ 501842 h 560339"/>
                      <a:gd name="connsiteX9" fmla="*/ 871297 w 1259636"/>
                      <a:gd name="connsiteY9" fmla="*/ 501842 h 560339"/>
                      <a:gd name="connsiteX10" fmla="*/ 865139 w 1259636"/>
                      <a:gd name="connsiteY10" fmla="*/ 483370 h 560339"/>
                      <a:gd name="connsiteX11" fmla="*/ 846667 w 1259636"/>
                      <a:gd name="connsiteY11" fmla="*/ 477212 h 560339"/>
                      <a:gd name="connsiteX12" fmla="*/ 815879 w 1259636"/>
                      <a:gd name="connsiteY12" fmla="*/ 486448 h 560339"/>
                      <a:gd name="connsiteX13" fmla="*/ 766618 w 1259636"/>
                      <a:gd name="connsiteY13" fmla="*/ 467976 h 560339"/>
                      <a:gd name="connsiteX14" fmla="*/ 748145 w 1259636"/>
                      <a:gd name="connsiteY14" fmla="*/ 458739 h 560339"/>
                      <a:gd name="connsiteX15" fmla="*/ 723515 w 1259636"/>
                      <a:gd name="connsiteY15" fmla="*/ 464897 h 560339"/>
                      <a:gd name="connsiteX16" fmla="*/ 680412 w 1259636"/>
                      <a:gd name="connsiteY16" fmla="*/ 461818 h 560339"/>
                      <a:gd name="connsiteX17" fmla="*/ 655782 w 1259636"/>
                      <a:gd name="connsiteY17" fmla="*/ 458739 h 560339"/>
                      <a:gd name="connsiteX18" fmla="*/ 640388 w 1259636"/>
                      <a:gd name="connsiteY18" fmla="*/ 471054 h 560339"/>
                      <a:gd name="connsiteX19" fmla="*/ 618836 w 1259636"/>
                      <a:gd name="connsiteY19" fmla="*/ 477212 h 560339"/>
                      <a:gd name="connsiteX20" fmla="*/ 588048 w 1259636"/>
                      <a:gd name="connsiteY20" fmla="*/ 455660 h 560339"/>
                      <a:gd name="connsiteX21" fmla="*/ 575733 w 1259636"/>
                      <a:gd name="connsiteY21" fmla="*/ 437188 h 560339"/>
                      <a:gd name="connsiteX22" fmla="*/ 566497 w 1259636"/>
                      <a:gd name="connsiteY22" fmla="*/ 437188 h 560339"/>
                      <a:gd name="connsiteX23" fmla="*/ 560339 w 1259636"/>
                      <a:gd name="connsiteY23" fmla="*/ 452582 h 560339"/>
                      <a:gd name="connsiteX24" fmla="*/ 535709 w 1259636"/>
                      <a:gd name="connsiteY24" fmla="*/ 471054 h 560339"/>
                      <a:gd name="connsiteX25" fmla="*/ 520315 w 1259636"/>
                      <a:gd name="connsiteY25" fmla="*/ 477212 h 560339"/>
                      <a:gd name="connsiteX26" fmla="*/ 520315 w 1259636"/>
                      <a:gd name="connsiteY26" fmla="*/ 461818 h 560339"/>
                      <a:gd name="connsiteX27" fmla="*/ 517236 w 1259636"/>
                      <a:gd name="connsiteY27" fmla="*/ 437188 h 560339"/>
                      <a:gd name="connsiteX28" fmla="*/ 492606 w 1259636"/>
                      <a:gd name="connsiteY28" fmla="*/ 421794 h 560339"/>
                      <a:gd name="connsiteX29" fmla="*/ 464897 w 1259636"/>
                      <a:gd name="connsiteY29" fmla="*/ 415636 h 560339"/>
                      <a:gd name="connsiteX30" fmla="*/ 415636 w 1259636"/>
                      <a:gd name="connsiteY30" fmla="*/ 403321 h 560339"/>
                      <a:gd name="connsiteX31" fmla="*/ 372533 w 1259636"/>
                      <a:gd name="connsiteY31" fmla="*/ 391006 h 560339"/>
                      <a:gd name="connsiteX32" fmla="*/ 335588 w 1259636"/>
                      <a:gd name="connsiteY32" fmla="*/ 372533 h 560339"/>
                      <a:gd name="connsiteX33" fmla="*/ 301721 w 1259636"/>
                      <a:gd name="connsiteY33" fmla="*/ 344824 h 560339"/>
                      <a:gd name="connsiteX34" fmla="*/ 270933 w 1259636"/>
                      <a:gd name="connsiteY34" fmla="*/ 329430 h 560339"/>
                      <a:gd name="connsiteX35" fmla="*/ 240145 w 1259636"/>
                      <a:gd name="connsiteY35" fmla="*/ 329430 h 560339"/>
                      <a:gd name="connsiteX36" fmla="*/ 215515 w 1259636"/>
                      <a:gd name="connsiteY36" fmla="*/ 326351 h 560339"/>
                      <a:gd name="connsiteX37" fmla="*/ 187806 w 1259636"/>
                      <a:gd name="connsiteY37" fmla="*/ 304800 h 560339"/>
                      <a:gd name="connsiteX38" fmla="*/ 163176 w 1259636"/>
                      <a:gd name="connsiteY38" fmla="*/ 295564 h 560339"/>
                      <a:gd name="connsiteX39" fmla="*/ 135467 w 1259636"/>
                      <a:gd name="connsiteY39" fmla="*/ 292485 h 560339"/>
                      <a:gd name="connsiteX40" fmla="*/ 110836 w 1259636"/>
                      <a:gd name="connsiteY40" fmla="*/ 301721 h 560339"/>
                      <a:gd name="connsiteX41" fmla="*/ 101600 w 1259636"/>
                      <a:gd name="connsiteY41" fmla="*/ 301721 h 560339"/>
                      <a:gd name="connsiteX42" fmla="*/ 95442 w 1259636"/>
                      <a:gd name="connsiteY42" fmla="*/ 283248 h 560339"/>
                      <a:gd name="connsiteX43" fmla="*/ 76970 w 1259636"/>
                      <a:gd name="connsiteY43" fmla="*/ 227830 h 560339"/>
                      <a:gd name="connsiteX44" fmla="*/ 76970 w 1259636"/>
                      <a:gd name="connsiteY44" fmla="*/ 209357 h 560339"/>
                      <a:gd name="connsiteX45" fmla="*/ 64655 w 1259636"/>
                      <a:gd name="connsiteY45" fmla="*/ 166254 h 560339"/>
                      <a:gd name="connsiteX46" fmla="*/ 40024 w 1259636"/>
                      <a:gd name="connsiteY46" fmla="*/ 104679 h 560339"/>
                      <a:gd name="connsiteX47" fmla="*/ 15394 w 1259636"/>
                      <a:gd name="connsiteY47" fmla="*/ 43103 h 560339"/>
                      <a:gd name="connsiteX48" fmla="*/ 0 w 1259636"/>
                      <a:gd name="connsiteY48" fmla="*/ 0 h 560339"/>
                      <a:gd name="connsiteX0" fmla="*/ 1259224 w 1259224"/>
                      <a:gd name="connsiteY0" fmla="*/ 541867 h 541867"/>
                      <a:gd name="connsiteX1" fmla="*/ 1240752 w 1259224"/>
                      <a:gd name="connsiteY1" fmla="*/ 526473 h 541867"/>
                      <a:gd name="connsiteX2" fmla="*/ 1182255 w 1259224"/>
                      <a:gd name="connsiteY2" fmla="*/ 508000 h 541867"/>
                      <a:gd name="connsiteX3" fmla="*/ 1132994 w 1259224"/>
                      <a:gd name="connsiteY3" fmla="*/ 486448 h 541867"/>
                      <a:gd name="connsiteX4" fmla="*/ 1046788 w 1259224"/>
                      <a:gd name="connsiteY4" fmla="*/ 480291 h 541867"/>
                      <a:gd name="connsiteX5" fmla="*/ 991370 w 1259224"/>
                      <a:gd name="connsiteY5" fmla="*/ 480291 h 541867"/>
                      <a:gd name="connsiteX6" fmla="*/ 923636 w 1259224"/>
                      <a:gd name="connsiteY6" fmla="*/ 492606 h 541867"/>
                      <a:gd name="connsiteX7" fmla="*/ 880533 w 1259224"/>
                      <a:gd name="connsiteY7" fmla="*/ 501842 h 541867"/>
                      <a:gd name="connsiteX8" fmla="*/ 871297 w 1259224"/>
                      <a:gd name="connsiteY8" fmla="*/ 501842 h 541867"/>
                      <a:gd name="connsiteX9" fmla="*/ 865139 w 1259224"/>
                      <a:gd name="connsiteY9" fmla="*/ 483370 h 541867"/>
                      <a:gd name="connsiteX10" fmla="*/ 846667 w 1259224"/>
                      <a:gd name="connsiteY10" fmla="*/ 477212 h 541867"/>
                      <a:gd name="connsiteX11" fmla="*/ 815879 w 1259224"/>
                      <a:gd name="connsiteY11" fmla="*/ 486448 h 541867"/>
                      <a:gd name="connsiteX12" fmla="*/ 766618 w 1259224"/>
                      <a:gd name="connsiteY12" fmla="*/ 467976 h 541867"/>
                      <a:gd name="connsiteX13" fmla="*/ 748145 w 1259224"/>
                      <a:gd name="connsiteY13" fmla="*/ 458739 h 541867"/>
                      <a:gd name="connsiteX14" fmla="*/ 723515 w 1259224"/>
                      <a:gd name="connsiteY14" fmla="*/ 464897 h 541867"/>
                      <a:gd name="connsiteX15" fmla="*/ 680412 w 1259224"/>
                      <a:gd name="connsiteY15" fmla="*/ 461818 h 541867"/>
                      <a:gd name="connsiteX16" fmla="*/ 655782 w 1259224"/>
                      <a:gd name="connsiteY16" fmla="*/ 458739 h 541867"/>
                      <a:gd name="connsiteX17" fmla="*/ 640388 w 1259224"/>
                      <a:gd name="connsiteY17" fmla="*/ 471054 h 541867"/>
                      <a:gd name="connsiteX18" fmla="*/ 618836 w 1259224"/>
                      <a:gd name="connsiteY18" fmla="*/ 477212 h 541867"/>
                      <a:gd name="connsiteX19" fmla="*/ 588048 w 1259224"/>
                      <a:gd name="connsiteY19" fmla="*/ 455660 h 541867"/>
                      <a:gd name="connsiteX20" fmla="*/ 575733 w 1259224"/>
                      <a:gd name="connsiteY20" fmla="*/ 437188 h 541867"/>
                      <a:gd name="connsiteX21" fmla="*/ 566497 w 1259224"/>
                      <a:gd name="connsiteY21" fmla="*/ 437188 h 541867"/>
                      <a:gd name="connsiteX22" fmla="*/ 560339 w 1259224"/>
                      <a:gd name="connsiteY22" fmla="*/ 452582 h 541867"/>
                      <a:gd name="connsiteX23" fmla="*/ 535709 w 1259224"/>
                      <a:gd name="connsiteY23" fmla="*/ 471054 h 541867"/>
                      <a:gd name="connsiteX24" fmla="*/ 520315 w 1259224"/>
                      <a:gd name="connsiteY24" fmla="*/ 477212 h 541867"/>
                      <a:gd name="connsiteX25" fmla="*/ 520315 w 1259224"/>
                      <a:gd name="connsiteY25" fmla="*/ 461818 h 541867"/>
                      <a:gd name="connsiteX26" fmla="*/ 517236 w 1259224"/>
                      <a:gd name="connsiteY26" fmla="*/ 437188 h 541867"/>
                      <a:gd name="connsiteX27" fmla="*/ 492606 w 1259224"/>
                      <a:gd name="connsiteY27" fmla="*/ 421794 h 541867"/>
                      <a:gd name="connsiteX28" fmla="*/ 464897 w 1259224"/>
                      <a:gd name="connsiteY28" fmla="*/ 415636 h 541867"/>
                      <a:gd name="connsiteX29" fmla="*/ 415636 w 1259224"/>
                      <a:gd name="connsiteY29" fmla="*/ 403321 h 541867"/>
                      <a:gd name="connsiteX30" fmla="*/ 372533 w 1259224"/>
                      <a:gd name="connsiteY30" fmla="*/ 391006 h 541867"/>
                      <a:gd name="connsiteX31" fmla="*/ 335588 w 1259224"/>
                      <a:gd name="connsiteY31" fmla="*/ 372533 h 541867"/>
                      <a:gd name="connsiteX32" fmla="*/ 301721 w 1259224"/>
                      <a:gd name="connsiteY32" fmla="*/ 344824 h 541867"/>
                      <a:gd name="connsiteX33" fmla="*/ 270933 w 1259224"/>
                      <a:gd name="connsiteY33" fmla="*/ 329430 h 541867"/>
                      <a:gd name="connsiteX34" fmla="*/ 240145 w 1259224"/>
                      <a:gd name="connsiteY34" fmla="*/ 329430 h 541867"/>
                      <a:gd name="connsiteX35" fmla="*/ 215515 w 1259224"/>
                      <a:gd name="connsiteY35" fmla="*/ 326351 h 541867"/>
                      <a:gd name="connsiteX36" fmla="*/ 187806 w 1259224"/>
                      <a:gd name="connsiteY36" fmla="*/ 304800 h 541867"/>
                      <a:gd name="connsiteX37" fmla="*/ 163176 w 1259224"/>
                      <a:gd name="connsiteY37" fmla="*/ 295564 h 541867"/>
                      <a:gd name="connsiteX38" fmla="*/ 135467 w 1259224"/>
                      <a:gd name="connsiteY38" fmla="*/ 292485 h 541867"/>
                      <a:gd name="connsiteX39" fmla="*/ 110836 w 1259224"/>
                      <a:gd name="connsiteY39" fmla="*/ 301721 h 541867"/>
                      <a:gd name="connsiteX40" fmla="*/ 101600 w 1259224"/>
                      <a:gd name="connsiteY40" fmla="*/ 301721 h 541867"/>
                      <a:gd name="connsiteX41" fmla="*/ 95442 w 1259224"/>
                      <a:gd name="connsiteY41" fmla="*/ 283248 h 541867"/>
                      <a:gd name="connsiteX42" fmla="*/ 76970 w 1259224"/>
                      <a:gd name="connsiteY42" fmla="*/ 227830 h 541867"/>
                      <a:gd name="connsiteX43" fmla="*/ 76970 w 1259224"/>
                      <a:gd name="connsiteY43" fmla="*/ 209357 h 541867"/>
                      <a:gd name="connsiteX44" fmla="*/ 64655 w 1259224"/>
                      <a:gd name="connsiteY44" fmla="*/ 166254 h 541867"/>
                      <a:gd name="connsiteX45" fmla="*/ 40024 w 1259224"/>
                      <a:gd name="connsiteY45" fmla="*/ 104679 h 541867"/>
                      <a:gd name="connsiteX46" fmla="*/ 15394 w 1259224"/>
                      <a:gd name="connsiteY46" fmla="*/ 43103 h 541867"/>
                      <a:gd name="connsiteX47" fmla="*/ 0 w 1259224"/>
                      <a:gd name="connsiteY47" fmla="*/ 0 h 541867"/>
                      <a:gd name="connsiteX0" fmla="*/ 1240752 w 1240752"/>
                      <a:gd name="connsiteY0" fmla="*/ 526473 h 526473"/>
                      <a:gd name="connsiteX1" fmla="*/ 1182255 w 1240752"/>
                      <a:gd name="connsiteY1" fmla="*/ 508000 h 526473"/>
                      <a:gd name="connsiteX2" fmla="*/ 1132994 w 1240752"/>
                      <a:gd name="connsiteY2" fmla="*/ 486448 h 526473"/>
                      <a:gd name="connsiteX3" fmla="*/ 1046788 w 1240752"/>
                      <a:gd name="connsiteY3" fmla="*/ 480291 h 526473"/>
                      <a:gd name="connsiteX4" fmla="*/ 991370 w 1240752"/>
                      <a:gd name="connsiteY4" fmla="*/ 480291 h 526473"/>
                      <a:gd name="connsiteX5" fmla="*/ 923636 w 1240752"/>
                      <a:gd name="connsiteY5" fmla="*/ 492606 h 526473"/>
                      <a:gd name="connsiteX6" fmla="*/ 880533 w 1240752"/>
                      <a:gd name="connsiteY6" fmla="*/ 501842 h 526473"/>
                      <a:gd name="connsiteX7" fmla="*/ 871297 w 1240752"/>
                      <a:gd name="connsiteY7" fmla="*/ 501842 h 526473"/>
                      <a:gd name="connsiteX8" fmla="*/ 865139 w 1240752"/>
                      <a:gd name="connsiteY8" fmla="*/ 483370 h 526473"/>
                      <a:gd name="connsiteX9" fmla="*/ 846667 w 1240752"/>
                      <a:gd name="connsiteY9" fmla="*/ 477212 h 526473"/>
                      <a:gd name="connsiteX10" fmla="*/ 815879 w 1240752"/>
                      <a:gd name="connsiteY10" fmla="*/ 486448 h 526473"/>
                      <a:gd name="connsiteX11" fmla="*/ 766618 w 1240752"/>
                      <a:gd name="connsiteY11" fmla="*/ 467976 h 526473"/>
                      <a:gd name="connsiteX12" fmla="*/ 748145 w 1240752"/>
                      <a:gd name="connsiteY12" fmla="*/ 458739 h 526473"/>
                      <a:gd name="connsiteX13" fmla="*/ 723515 w 1240752"/>
                      <a:gd name="connsiteY13" fmla="*/ 464897 h 526473"/>
                      <a:gd name="connsiteX14" fmla="*/ 680412 w 1240752"/>
                      <a:gd name="connsiteY14" fmla="*/ 461818 h 526473"/>
                      <a:gd name="connsiteX15" fmla="*/ 655782 w 1240752"/>
                      <a:gd name="connsiteY15" fmla="*/ 458739 h 526473"/>
                      <a:gd name="connsiteX16" fmla="*/ 640388 w 1240752"/>
                      <a:gd name="connsiteY16" fmla="*/ 471054 h 526473"/>
                      <a:gd name="connsiteX17" fmla="*/ 618836 w 1240752"/>
                      <a:gd name="connsiteY17" fmla="*/ 477212 h 526473"/>
                      <a:gd name="connsiteX18" fmla="*/ 588048 w 1240752"/>
                      <a:gd name="connsiteY18" fmla="*/ 455660 h 526473"/>
                      <a:gd name="connsiteX19" fmla="*/ 575733 w 1240752"/>
                      <a:gd name="connsiteY19" fmla="*/ 437188 h 526473"/>
                      <a:gd name="connsiteX20" fmla="*/ 566497 w 1240752"/>
                      <a:gd name="connsiteY20" fmla="*/ 437188 h 526473"/>
                      <a:gd name="connsiteX21" fmla="*/ 560339 w 1240752"/>
                      <a:gd name="connsiteY21" fmla="*/ 452582 h 526473"/>
                      <a:gd name="connsiteX22" fmla="*/ 535709 w 1240752"/>
                      <a:gd name="connsiteY22" fmla="*/ 471054 h 526473"/>
                      <a:gd name="connsiteX23" fmla="*/ 520315 w 1240752"/>
                      <a:gd name="connsiteY23" fmla="*/ 477212 h 526473"/>
                      <a:gd name="connsiteX24" fmla="*/ 520315 w 1240752"/>
                      <a:gd name="connsiteY24" fmla="*/ 461818 h 526473"/>
                      <a:gd name="connsiteX25" fmla="*/ 517236 w 1240752"/>
                      <a:gd name="connsiteY25" fmla="*/ 437188 h 526473"/>
                      <a:gd name="connsiteX26" fmla="*/ 492606 w 1240752"/>
                      <a:gd name="connsiteY26" fmla="*/ 421794 h 526473"/>
                      <a:gd name="connsiteX27" fmla="*/ 464897 w 1240752"/>
                      <a:gd name="connsiteY27" fmla="*/ 415636 h 526473"/>
                      <a:gd name="connsiteX28" fmla="*/ 415636 w 1240752"/>
                      <a:gd name="connsiteY28" fmla="*/ 403321 h 526473"/>
                      <a:gd name="connsiteX29" fmla="*/ 372533 w 1240752"/>
                      <a:gd name="connsiteY29" fmla="*/ 391006 h 526473"/>
                      <a:gd name="connsiteX30" fmla="*/ 335588 w 1240752"/>
                      <a:gd name="connsiteY30" fmla="*/ 372533 h 526473"/>
                      <a:gd name="connsiteX31" fmla="*/ 301721 w 1240752"/>
                      <a:gd name="connsiteY31" fmla="*/ 344824 h 526473"/>
                      <a:gd name="connsiteX32" fmla="*/ 270933 w 1240752"/>
                      <a:gd name="connsiteY32" fmla="*/ 329430 h 526473"/>
                      <a:gd name="connsiteX33" fmla="*/ 240145 w 1240752"/>
                      <a:gd name="connsiteY33" fmla="*/ 329430 h 526473"/>
                      <a:gd name="connsiteX34" fmla="*/ 215515 w 1240752"/>
                      <a:gd name="connsiteY34" fmla="*/ 326351 h 526473"/>
                      <a:gd name="connsiteX35" fmla="*/ 187806 w 1240752"/>
                      <a:gd name="connsiteY35" fmla="*/ 304800 h 526473"/>
                      <a:gd name="connsiteX36" fmla="*/ 163176 w 1240752"/>
                      <a:gd name="connsiteY36" fmla="*/ 295564 h 526473"/>
                      <a:gd name="connsiteX37" fmla="*/ 135467 w 1240752"/>
                      <a:gd name="connsiteY37" fmla="*/ 292485 h 526473"/>
                      <a:gd name="connsiteX38" fmla="*/ 110836 w 1240752"/>
                      <a:gd name="connsiteY38" fmla="*/ 301721 h 526473"/>
                      <a:gd name="connsiteX39" fmla="*/ 101600 w 1240752"/>
                      <a:gd name="connsiteY39" fmla="*/ 301721 h 526473"/>
                      <a:gd name="connsiteX40" fmla="*/ 95442 w 1240752"/>
                      <a:gd name="connsiteY40" fmla="*/ 283248 h 526473"/>
                      <a:gd name="connsiteX41" fmla="*/ 76970 w 1240752"/>
                      <a:gd name="connsiteY41" fmla="*/ 227830 h 526473"/>
                      <a:gd name="connsiteX42" fmla="*/ 76970 w 1240752"/>
                      <a:gd name="connsiteY42" fmla="*/ 209357 h 526473"/>
                      <a:gd name="connsiteX43" fmla="*/ 64655 w 1240752"/>
                      <a:gd name="connsiteY43" fmla="*/ 166254 h 526473"/>
                      <a:gd name="connsiteX44" fmla="*/ 40024 w 1240752"/>
                      <a:gd name="connsiteY44" fmla="*/ 104679 h 526473"/>
                      <a:gd name="connsiteX45" fmla="*/ 15394 w 1240752"/>
                      <a:gd name="connsiteY45" fmla="*/ 43103 h 526473"/>
                      <a:gd name="connsiteX46" fmla="*/ 0 w 1240752"/>
                      <a:gd name="connsiteY46" fmla="*/ 0 h 526473"/>
                      <a:gd name="connsiteX0" fmla="*/ 1182255 w 1182255"/>
                      <a:gd name="connsiteY0" fmla="*/ 508000 h 508000"/>
                      <a:gd name="connsiteX1" fmla="*/ 1132994 w 1182255"/>
                      <a:gd name="connsiteY1" fmla="*/ 486448 h 508000"/>
                      <a:gd name="connsiteX2" fmla="*/ 1046788 w 1182255"/>
                      <a:gd name="connsiteY2" fmla="*/ 480291 h 508000"/>
                      <a:gd name="connsiteX3" fmla="*/ 991370 w 1182255"/>
                      <a:gd name="connsiteY3" fmla="*/ 480291 h 508000"/>
                      <a:gd name="connsiteX4" fmla="*/ 923636 w 1182255"/>
                      <a:gd name="connsiteY4" fmla="*/ 492606 h 508000"/>
                      <a:gd name="connsiteX5" fmla="*/ 880533 w 1182255"/>
                      <a:gd name="connsiteY5" fmla="*/ 501842 h 508000"/>
                      <a:gd name="connsiteX6" fmla="*/ 871297 w 1182255"/>
                      <a:gd name="connsiteY6" fmla="*/ 501842 h 508000"/>
                      <a:gd name="connsiteX7" fmla="*/ 865139 w 1182255"/>
                      <a:gd name="connsiteY7" fmla="*/ 483370 h 508000"/>
                      <a:gd name="connsiteX8" fmla="*/ 846667 w 1182255"/>
                      <a:gd name="connsiteY8" fmla="*/ 477212 h 508000"/>
                      <a:gd name="connsiteX9" fmla="*/ 815879 w 1182255"/>
                      <a:gd name="connsiteY9" fmla="*/ 486448 h 508000"/>
                      <a:gd name="connsiteX10" fmla="*/ 766618 w 1182255"/>
                      <a:gd name="connsiteY10" fmla="*/ 467976 h 508000"/>
                      <a:gd name="connsiteX11" fmla="*/ 748145 w 1182255"/>
                      <a:gd name="connsiteY11" fmla="*/ 458739 h 508000"/>
                      <a:gd name="connsiteX12" fmla="*/ 723515 w 1182255"/>
                      <a:gd name="connsiteY12" fmla="*/ 464897 h 508000"/>
                      <a:gd name="connsiteX13" fmla="*/ 680412 w 1182255"/>
                      <a:gd name="connsiteY13" fmla="*/ 461818 h 508000"/>
                      <a:gd name="connsiteX14" fmla="*/ 655782 w 1182255"/>
                      <a:gd name="connsiteY14" fmla="*/ 458739 h 508000"/>
                      <a:gd name="connsiteX15" fmla="*/ 640388 w 1182255"/>
                      <a:gd name="connsiteY15" fmla="*/ 471054 h 508000"/>
                      <a:gd name="connsiteX16" fmla="*/ 618836 w 1182255"/>
                      <a:gd name="connsiteY16" fmla="*/ 477212 h 508000"/>
                      <a:gd name="connsiteX17" fmla="*/ 588048 w 1182255"/>
                      <a:gd name="connsiteY17" fmla="*/ 455660 h 508000"/>
                      <a:gd name="connsiteX18" fmla="*/ 575733 w 1182255"/>
                      <a:gd name="connsiteY18" fmla="*/ 437188 h 508000"/>
                      <a:gd name="connsiteX19" fmla="*/ 566497 w 1182255"/>
                      <a:gd name="connsiteY19" fmla="*/ 437188 h 508000"/>
                      <a:gd name="connsiteX20" fmla="*/ 560339 w 1182255"/>
                      <a:gd name="connsiteY20" fmla="*/ 452582 h 508000"/>
                      <a:gd name="connsiteX21" fmla="*/ 535709 w 1182255"/>
                      <a:gd name="connsiteY21" fmla="*/ 471054 h 508000"/>
                      <a:gd name="connsiteX22" fmla="*/ 520315 w 1182255"/>
                      <a:gd name="connsiteY22" fmla="*/ 477212 h 508000"/>
                      <a:gd name="connsiteX23" fmla="*/ 520315 w 1182255"/>
                      <a:gd name="connsiteY23" fmla="*/ 461818 h 508000"/>
                      <a:gd name="connsiteX24" fmla="*/ 517236 w 1182255"/>
                      <a:gd name="connsiteY24" fmla="*/ 437188 h 508000"/>
                      <a:gd name="connsiteX25" fmla="*/ 492606 w 1182255"/>
                      <a:gd name="connsiteY25" fmla="*/ 421794 h 508000"/>
                      <a:gd name="connsiteX26" fmla="*/ 464897 w 1182255"/>
                      <a:gd name="connsiteY26" fmla="*/ 415636 h 508000"/>
                      <a:gd name="connsiteX27" fmla="*/ 415636 w 1182255"/>
                      <a:gd name="connsiteY27" fmla="*/ 403321 h 508000"/>
                      <a:gd name="connsiteX28" fmla="*/ 372533 w 1182255"/>
                      <a:gd name="connsiteY28" fmla="*/ 391006 h 508000"/>
                      <a:gd name="connsiteX29" fmla="*/ 335588 w 1182255"/>
                      <a:gd name="connsiteY29" fmla="*/ 372533 h 508000"/>
                      <a:gd name="connsiteX30" fmla="*/ 301721 w 1182255"/>
                      <a:gd name="connsiteY30" fmla="*/ 344824 h 508000"/>
                      <a:gd name="connsiteX31" fmla="*/ 270933 w 1182255"/>
                      <a:gd name="connsiteY31" fmla="*/ 329430 h 508000"/>
                      <a:gd name="connsiteX32" fmla="*/ 240145 w 1182255"/>
                      <a:gd name="connsiteY32" fmla="*/ 329430 h 508000"/>
                      <a:gd name="connsiteX33" fmla="*/ 215515 w 1182255"/>
                      <a:gd name="connsiteY33" fmla="*/ 326351 h 508000"/>
                      <a:gd name="connsiteX34" fmla="*/ 187806 w 1182255"/>
                      <a:gd name="connsiteY34" fmla="*/ 304800 h 508000"/>
                      <a:gd name="connsiteX35" fmla="*/ 163176 w 1182255"/>
                      <a:gd name="connsiteY35" fmla="*/ 295564 h 508000"/>
                      <a:gd name="connsiteX36" fmla="*/ 135467 w 1182255"/>
                      <a:gd name="connsiteY36" fmla="*/ 292485 h 508000"/>
                      <a:gd name="connsiteX37" fmla="*/ 110836 w 1182255"/>
                      <a:gd name="connsiteY37" fmla="*/ 301721 h 508000"/>
                      <a:gd name="connsiteX38" fmla="*/ 101600 w 1182255"/>
                      <a:gd name="connsiteY38" fmla="*/ 301721 h 508000"/>
                      <a:gd name="connsiteX39" fmla="*/ 95442 w 1182255"/>
                      <a:gd name="connsiteY39" fmla="*/ 283248 h 508000"/>
                      <a:gd name="connsiteX40" fmla="*/ 76970 w 1182255"/>
                      <a:gd name="connsiteY40" fmla="*/ 227830 h 508000"/>
                      <a:gd name="connsiteX41" fmla="*/ 76970 w 1182255"/>
                      <a:gd name="connsiteY41" fmla="*/ 209357 h 508000"/>
                      <a:gd name="connsiteX42" fmla="*/ 64655 w 1182255"/>
                      <a:gd name="connsiteY42" fmla="*/ 166254 h 508000"/>
                      <a:gd name="connsiteX43" fmla="*/ 40024 w 1182255"/>
                      <a:gd name="connsiteY43" fmla="*/ 104679 h 508000"/>
                      <a:gd name="connsiteX44" fmla="*/ 15394 w 1182255"/>
                      <a:gd name="connsiteY44" fmla="*/ 43103 h 508000"/>
                      <a:gd name="connsiteX45" fmla="*/ 0 w 1182255"/>
                      <a:gd name="connsiteY45" fmla="*/ 0 h 508000"/>
                      <a:gd name="connsiteX0" fmla="*/ 1132994 w 1132994"/>
                      <a:gd name="connsiteY0" fmla="*/ 486448 h 503619"/>
                      <a:gd name="connsiteX1" fmla="*/ 1046788 w 1132994"/>
                      <a:gd name="connsiteY1" fmla="*/ 480291 h 503619"/>
                      <a:gd name="connsiteX2" fmla="*/ 991370 w 1132994"/>
                      <a:gd name="connsiteY2" fmla="*/ 480291 h 503619"/>
                      <a:gd name="connsiteX3" fmla="*/ 923636 w 1132994"/>
                      <a:gd name="connsiteY3" fmla="*/ 492606 h 503619"/>
                      <a:gd name="connsiteX4" fmla="*/ 880533 w 1132994"/>
                      <a:gd name="connsiteY4" fmla="*/ 501842 h 503619"/>
                      <a:gd name="connsiteX5" fmla="*/ 871297 w 1132994"/>
                      <a:gd name="connsiteY5" fmla="*/ 501842 h 503619"/>
                      <a:gd name="connsiteX6" fmla="*/ 865139 w 1132994"/>
                      <a:gd name="connsiteY6" fmla="*/ 483370 h 503619"/>
                      <a:gd name="connsiteX7" fmla="*/ 846667 w 1132994"/>
                      <a:gd name="connsiteY7" fmla="*/ 477212 h 503619"/>
                      <a:gd name="connsiteX8" fmla="*/ 815879 w 1132994"/>
                      <a:gd name="connsiteY8" fmla="*/ 486448 h 503619"/>
                      <a:gd name="connsiteX9" fmla="*/ 766618 w 1132994"/>
                      <a:gd name="connsiteY9" fmla="*/ 467976 h 503619"/>
                      <a:gd name="connsiteX10" fmla="*/ 748145 w 1132994"/>
                      <a:gd name="connsiteY10" fmla="*/ 458739 h 503619"/>
                      <a:gd name="connsiteX11" fmla="*/ 723515 w 1132994"/>
                      <a:gd name="connsiteY11" fmla="*/ 464897 h 503619"/>
                      <a:gd name="connsiteX12" fmla="*/ 680412 w 1132994"/>
                      <a:gd name="connsiteY12" fmla="*/ 461818 h 503619"/>
                      <a:gd name="connsiteX13" fmla="*/ 655782 w 1132994"/>
                      <a:gd name="connsiteY13" fmla="*/ 458739 h 503619"/>
                      <a:gd name="connsiteX14" fmla="*/ 640388 w 1132994"/>
                      <a:gd name="connsiteY14" fmla="*/ 471054 h 503619"/>
                      <a:gd name="connsiteX15" fmla="*/ 618836 w 1132994"/>
                      <a:gd name="connsiteY15" fmla="*/ 477212 h 503619"/>
                      <a:gd name="connsiteX16" fmla="*/ 588048 w 1132994"/>
                      <a:gd name="connsiteY16" fmla="*/ 455660 h 503619"/>
                      <a:gd name="connsiteX17" fmla="*/ 575733 w 1132994"/>
                      <a:gd name="connsiteY17" fmla="*/ 437188 h 503619"/>
                      <a:gd name="connsiteX18" fmla="*/ 566497 w 1132994"/>
                      <a:gd name="connsiteY18" fmla="*/ 437188 h 503619"/>
                      <a:gd name="connsiteX19" fmla="*/ 560339 w 1132994"/>
                      <a:gd name="connsiteY19" fmla="*/ 452582 h 503619"/>
                      <a:gd name="connsiteX20" fmla="*/ 535709 w 1132994"/>
                      <a:gd name="connsiteY20" fmla="*/ 471054 h 503619"/>
                      <a:gd name="connsiteX21" fmla="*/ 520315 w 1132994"/>
                      <a:gd name="connsiteY21" fmla="*/ 477212 h 503619"/>
                      <a:gd name="connsiteX22" fmla="*/ 520315 w 1132994"/>
                      <a:gd name="connsiteY22" fmla="*/ 461818 h 503619"/>
                      <a:gd name="connsiteX23" fmla="*/ 517236 w 1132994"/>
                      <a:gd name="connsiteY23" fmla="*/ 437188 h 503619"/>
                      <a:gd name="connsiteX24" fmla="*/ 492606 w 1132994"/>
                      <a:gd name="connsiteY24" fmla="*/ 421794 h 503619"/>
                      <a:gd name="connsiteX25" fmla="*/ 464897 w 1132994"/>
                      <a:gd name="connsiteY25" fmla="*/ 415636 h 503619"/>
                      <a:gd name="connsiteX26" fmla="*/ 415636 w 1132994"/>
                      <a:gd name="connsiteY26" fmla="*/ 403321 h 503619"/>
                      <a:gd name="connsiteX27" fmla="*/ 372533 w 1132994"/>
                      <a:gd name="connsiteY27" fmla="*/ 391006 h 503619"/>
                      <a:gd name="connsiteX28" fmla="*/ 335588 w 1132994"/>
                      <a:gd name="connsiteY28" fmla="*/ 372533 h 503619"/>
                      <a:gd name="connsiteX29" fmla="*/ 301721 w 1132994"/>
                      <a:gd name="connsiteY29" fmla="*/ 344824 h 503619"/>
                      <a:gd name="connsiteX30" fmla="*/ 270933 w 1132994"/>
                      <a:gd name="connsiteY30" fmla="*/ 329430 h 503619"/>
                      <a:gd name="connsiteX31" fmla="*/ 240145 w 1132994"/>
                      <a:gd name="connsiteY31" fmla="*/ 329430 h 503619"/>
                      <a:gd name="connsiteX32" fmla="*/ 215515 w 1132994"/>
                      <a:gd name="connsiteY32" fmla="*/ 326351 h 503619"/>
                      <a:gd name="connsiteX33" fmla="*/ 187806 w 1132994"/>
                      <a:gd name="connsiteY33" fmla="*/ 304800 h 503619"/>
                      <a:gd name="connsiteX34" fmla="*/ 163176 w 1132994"/>
                      <a:gd name="connsiteY34" fmla="*/ 295564 h 503619"/>
                      <a:gd name="connsiteX35" fmla="*/ 135467 w 1132994"/>
                      <a:gd name="connsiteY35" fmla="*/ 292485 h 503619"/>
                      <a:gd name="connsiteX36" fmla="*/ 110836 w 1132994"/>
                      <a:gd name="connsiteY36" fmla="*/ 301721 h 503619"/>
                      <a:gd name="connsiteX37" fmla="*/ 101600 w 1132994"/>
                      <a:gd name="connsiteY37" fmla="*/ 301721 h 503619"/>
                      <a:gd name="connsiteX38" fmla="*/ 95442 w 1132994"/>
                      <a:gd name="connsiteY38" fmla="*/ 283248 h 503619"/>
                      <a:gd name="connsiteX39" fmla="*/ 76970 w 1132994"/>
                      <a:gd name="connsiteY39" fmla="*/ 227830 h 503619"/>
                      <a:gd name="connsiteX40" fmla="*/ 76970 w 1132994"/>
                      <a:gd name="connsiteY40" fmla="*/ 209357 h 503619"/>
                      <a:gd name="connsiteX41" fmla="*/ 64655 w 1132994"/>
                      <a:gd name="connsiteY41" fmla="*/ 166254 h 503619"/>
                      <a:gd name="connsiteX42" fmla="*/ 40024 w 1132994"/>
                      <a:gd name="connsiteY42" fmla="*/ 104679 h 503619"/>
                      <a:gd name="connsiteX43" fmla="*/ 15394 w 1132994"/>
                      <a:gd name="connsiteY43" fmla="*/ 43103 h 503619"/>
                      <a:gd name="connsiteX44" fmla="*/ 0 w 1132994"/>
                      <a:gd name="connsiteY44" fmla="*/ 0 h 503619"/>
                      <a:gd name="connsiteX0" fmla="*/ 1046788 w 1046788"/>
                      <a:gd name="connsiteY0" fmla="*/ 480291 h 503619"/>
                      <a:gd name="connsiteX1" fmla="*/ 991370 w 1046788"/>
                      <a:gd name="connsiteY1" fmla="*/ 480291 h 503619"/>
                      <a:gd name="connsiteX2" fmla="*/ 923636 w 1046788"/>
                      <a:gd name="connsiteY2" fmla="*/ 492606 h 503619"/>
                      <a:gd name="connsiteX3" fmla="*/ 880533 w 1046788"/>
                      <a:gd name="connsiteY3" fmla="*/ 501842 h 503619"/>
                      <a:gd name="connsiteX4" fmla="*/ 871297 w 1046788"/>
                      <a:gd name="connsiteY4" fmla="*/ 501842 h 503619"/>
                      <a:gd name="connsiteX5" fmla="*/ 865139 w 1046788"/>
                      <a:gd name="connsiteY5" fmla="*/ 483370 h 503619"/>
                      <a:gd name="connsiteX6" fmla="*/ 846667 w 1046788"/>
                      <a:gd name="connsiteY6" fmla="*/ 477212 h 503619"/>
                      <a:gd name="connsiteX7" fmla="*/ 815879 w 1046788"/>
                      <a:gd name="connsiteY7" fmla="*/ 486448 h 503619"/>
                      <a:gd name="connsiteX8" fmla="*/ 766618 w 1046788"/>
                      <a:gd name="connsiteY8" fmla="*/ 467976 h 503619"/>
                      <a:gd name="connsiteX9" fmla="*/ 748145 w 1046788"/>
                      <a:gd name="connsiteY9" fmla="*/ 458739 h 503619"/>
                      <a:gd name="connsiteX10" fmla="*/ 723515 w 1046788"/>
                      <a:gd name="connsiteY10" fmla="*/ 464897 h 503619"/>
                      <a:gd name="connsiteX11" fmla="*/ 680412 w 1046788"/>
                      <a:gd name="connsiteY11" fmla="*/ 461818 h 503619"/>
                      <a:gd name="connsiteX12" fmla="*/ 655782 w 1046788"/>
                      <a:gd name="connsiteY12" fmla="*/ 458739 h 503619"/>
                      <a:gd name="connsiteX13" fmla="*/ 640388 w 1046788"/>
                      <a:gd name="connsiteY13" fmla="*/ 471054 h 503619"/>
                      <a:gd name="connsiteX14" fmla="*/ 618836 w 1046788"/>
                      <a:gd name="connsiteY14" fmla="*/ 477212 h 503619"/>
                      <a:gd name="connsiteX15" fmla="*/ 588048 w 1046788"/>
                      <a:gd name="connsiteY15" fmla="*/ 455660 h 503619"/>
                      <a:gd name="connsiteX16" fmla="*/ 575733 w 1046788"/>
                      <a:gd name="connsiteY16" fmla="*/ 437188 h 503619"/>
                      <a:gd name="connsiteX17" fmla="*/ 566497 w 1046788"/>
                      <a:gd name="connsiteY17" fmla="*/ 437188 h 503619"/>
                      <a:gd name="connsiteX18" fmla="*/ 560339 w 1046788"/>
                      <a:gd name="connsiteY18" fmla="*/ 452582 h 503619"/>
                      <a:gd name="connsiteX19" fmla="*/ 535709 w 1046788"/>
                      <a:gd name="connsiteY19" fmla="*/ 471054 h 503619"/>
                      <a:gd name="connsiteX20" fmla="*/ 520315 w 1046788"/>
                      <a:gd name="connsiteY20" fmla="*/ 477212 h 503619"/>
                      <a:gd name="connsiteX21" fmla="*/ 520315 w 1046788"/>
                      <a:gd name="connsiteY21" fmla="*/ 461818 h 503619"/>
                      <a:gd name="connsiteX22" fmla="*/ 517236 w 1046788"/>
                      <a:gd name="connsiteY22" fmla="*/ 437188 h 503619"/>
                      <a:gd name="connsiteX23" fmla="*/ 492606 w 1046788"/>
                      <a:gd name="connsiteY23" fmla="*/ 421794 h 503619"/>
                      <a:gd name="connsiteX24" fmla="*/ 464897 w 1046788"/>
                      <a:gd name="connsiteY24" fmla="*/ 415636 h 503619"/>
                      <a:gd name="connsiteX25" fmla="*/ 415636 w 1046788"/>
                      <a:gd name="connsiteY25" fmla="*/ 403321 h 503619"/>
                      <a:gd name="connsiteX26" fmla="*/ 372533 w 1046788"/>
                      <a:gd name="connsiteY26" fmla="*/ 391006 h 503619"/>
                      <a:gd name="connsiteX27" fmla="*/ 335588 w 1046788"/>
                      <a:gd name="connsiteY27" fmla="*/ 372533 h 503619"/>
                      <a:gd name="connsiteX28" fmla="*/ 301721 w 1046788"/>
                      <a:gd name="connsiteY28" fmla="*/ 344824 h 503619"/>
                      <a:gd name="connsiteX29" fmla="*/ 270933 w 1046788"/>
                      <a:gd name="connsiteY29" fmla="*/ 329430 h 503619"/>
                      <a:gd name="connsiteX30" fmla="*/ 240145 w 1046788"/>
                      <a:gd name="connsiteY30" fmla="*/ 329430 h 503619"/>
                      <a:gd name="connsiteX31" fmla="*/ 215515 w 1046788"/>
                      <a:gd name="connsiteY31" fmla="*/ 326351 h 503619"/>
                      <a:gd name="connsiteX32" fmla="*/ 187806 w 1046788"/>
                      <a:gd name="connsiteY32" fmla="*/ 304800 h 503619"/>
                      <a:gd name="connsiteX33" fmla="*/ 163176 w 1046788"/>
                      <a:gd name="connsiteY33" fmla="*/ 295564 h 503619"/>
                      <a:gd name="connsiteX34" fmla="*/ 135467 w 1046788"/>
                      <a:gd name="connsiteY34" fmla="*/ 292485 h 503619"/>
                      <a:gd name="connsiteX35" fmla="*/ 110836 w 1046788"/>
                      <a:gd name="connsiteY35" fmla="*/ 301721 h 503619"/>
                      <a:gd name="connsiteX36" fmla="*/ 101600 w 1046788"/>
                      <a:gd name="connsiteY36" fmla="*/ 301721 h 503619"/>
                      <a:gd name="connsiteX37" fmla="*/ 95442 w 1046788"/>
                      <a:gd name="connsiteY37" fmla="*/ 283248 h 503619"/>
                      <a:gd name="connsiteX38" fmla="*/ 76970 w 1046788"/>
                      <a:gd name="connsiteY38" fmla="*/ 227830 h 503619"/>
                      <a:gd name="connsiteX39" fmla="*/ 76970 w 1046788"/>
                      <a:gd name="connsiteY39" fmla="*/ 209357 h 503619"/>
                      <a:gd name="connsiteX40" fmla="*/ 64655 w 1046788"/>
                      <a:gd name="connsiteY40" fmla="*/ 166254 h 503619"/>
                      <a:gd name="connsiteX41" fmla="*/ 40024 w 1046788"/>
                      <a:gd name="connsiteY41" fmla="*/ 104679 h 503619"/>
                      <a:gd name="connsiteX42" fmla="*/ 15394 w 1046788"/>
                      <a:gd name="connsiteY42" fmla="*/ 43103 h 503619"/>
                      <a:gd name="connsiteX43" fmla="*/ 0 w 1046788"/>
                      <a:gd name="connsiteY43" fmla="*/ 0 h 503619"/>
                      <a:gd name="connsiteX0" fmla="*/ 991370 w 991370"/>
                      <a:gd name="connsiteY0" fmla="*/ 480291 h 503619"/>
                      <a:gd name="connsiteX1" fmla="*/ 923636 w 991370"/>
                      <a:gd name="connsiteY1" fmla="*/ 492606 h 503619"/>
                      <a:gd name="connsiteX2" fmla="*/ 880533 w 991370"/>
                      <a:gd name="connsiteY2" fmla="*/ 501842 h 503619"/>
                      <a:gd name="connsiteX3" fmla="*/ 871297 w 991370"/>
                      <a:gd name="connsiteY3" fmla="*/ 501842 h 503619"/>
                      <a:gd name="connsiteX4" fmla="*/ 865139 w 991370"/>
                      <a:gd name="connsiteY4" fmla="*/ 483370 h 503619"/>
                      <a:gd name="connsiteX5" fmla="*/ 846667 w 991370"/>
                      <a:gd name="connsiteY5" fmla="*/ 477212 h 503619"/>
                      <a:gd name="connsiteX6" fmla="*/ 815879 w 991370"/>
                      <a:gd name="connsiteY6" fmla="*/ 486448 h 503619"/>
                      <a:gd name="connsiteX7" fmla="*/ 766618 w 991370"/>
                      <a:gd name="connsiteY7" fmla="*/ 467976 h 503619"/>
                      <a:gd name="connsiteX8" fmla="*/ 748145 w 991370"/>
                      <a:gd name="connsiteY8" fmla="*/ 458739 h 503619"/>
                      <a:gd name="connsiteX9" fmla="*/ 723515 w 991370"/>
                      <a:gd name="connsiteY9" fmla="*/ 464897 h 503619"/>
                      <a:gd name="connsiteX10" fmla="*/ 680412 w 991370"/>
                      <a:gd name="connsiteY10" fmla="*/ 461818 h 503619"/>
                      <a:gd name="connsiteX11" fmla="*/ 655782 w 991370"/>
                      <a:gd name="connsiteY11" fmla="*/ 458739 h 503619"/>
                      <a:gd name="connsiteX12" fmla="*/ 640388 w 991370"/>
                      <a:gd name="connsiteY12" fmla="*/ 471054 h 503619"/>
                      <a:gd name="connsiteX13" fmla="*/ 618836 w 991370"/>
                      <a:gd name="connsiteY13" fmla="*/ 477212 h 503619"/>
                      <a:gd name="connsiteX14" fmla="*/ 588048 w 991370"/>
                      <a:gd name="connsiteY14" fmla="*/ 455660 h 503619"/>
                      <a:gd name="connsiteX15" fmla="*/ 575733 w 991370"/>
                      <a:gd name="connsiteY15" fmla="*/ 437188 h 503619"/>
                      <a:gd name="connsiteX16" fmla="*/ 566497 w 991370"/>
                      <a:gd name="connsiteY16" fmla="*/ 437188 h 503619"/>
                      <a:gd name="connsiteX17" fmla="*/ 560339 w 991370"/>
                      <a:gd name="connsiteY17" fmla="*/ 452582 h 503619"/>
                      <a:gd name="connsiteX18" fmla="*/ 535709 w 991370"/>
                      <a:gd name="connsiteY18" fmla="*/ 471054 h 503619"/>
                      <a:gd name="connsiteX19" fmla="*/ 520315 w 991370"/>
                      <a:gd name="connsiteY19" fmla="*/ 477212 h 503619"/>
                      <a:gd name="connsiteX20" fmla="*/ 520315 w 991370"/>
                      <a:gd name="connsiteY20" fmla="*/ 461818 h 503619"/>
                      <a:gd name="connsiteX21" fmla="*/ 517236 w 991370"/>
                      <a:gd name="connsiteY21" fmla="*/ 437188 h 503619"/>
                      <a:gd name="connsiteX22" fmla="*/ 492606 w 991370"/>
                      <a:gd name="connsiteY22" fmla="*/ 421794 h 503619"/>
                      <a:gd name="connsiteX23" fmla="*/ 464897 w 991370"/>
                      <a:gd name="connsiteY23" fmla="*/ 415636 h 503619"/>
                      <a:gd name="connsiteX24" fmla="*/ 415636 w 991370"/>
                      <a:gd name="connsiteY24" fmla="*/ 403321 h 503619"/>
                      <a:gd name="connsiteX25" fmla="*/ 372533 w 991370"/>
                      <a:gd name="connsiteY25" fmla="*/ 391006 h 503619"/>
                      <a:gd name="connsiteX26" fmla="*/ 335588 w 991370"/>
                      <a:gd name="connsiteY26" fmla="*/ 372533 h 503619"/>
                      <a:gd name="connsiteX27" fmla="*/ 301721 w 991370"/>
                      <a:gd name="connsiteY27" fmla="*/ 344824 h 503619"/>
                      <a:gd name="connsiteX28" fmla="*/ 270933 w 991370"/>
                      <a:gd name="connsiteY28" fmla="*/ 329430 h 503619"/>
                      <a:gd name="connsiteX29" fmla="*/ 240145 w 991370"/>
                      <a:gd name="connsiteY29" fmla="*/ 329430 h 503619"/>
                      <a:gd name="connsiteX30" fmla="*/ 215515 w 991370"/>
                      <a:gd name="connsiteY30" fmla="*/ 326351 h 503619"/>
                      <a:gd name="connsiteX31" fmla="*/ 187806 w 991370"/>
                      <a:gd name="connsiteY31" fmla="*/ 304800 h 503619"/>
                      <a:gd name="connsiteX32" fmla="*/ 163176 w 991370"/>
                      <a:gd name="connsiteY32" fmla="*/ 295564 h 503619"/>
                      <a:gd name="connsiteX33" fmla="*/ 135467 w 991370"/>
                      <a:gd name="connsiteY33" fmla="*/ 292485 h 503619"/>
                      <a:gd name="connsiteX34" fmla="*/ 110836 w 991370"/>
                      <a:gd name="connsiteY34" fmla="*/ 301721 h 503619"/>
                      <a:gd name="connsiteX35" fmla="*/ 101600 w 991370"/>
                      <a:gd name="connsiteY35" fmla="*/ 301721 h 503619"/>
                      <a:gd name="connsiteX36" fmla="*/ 95442 w 991370"/>
                      <a:gd name="connsiteY36" fmla="*/ 283248 h 503619"/>
                      <a:gd name="connsiteX37" fmla="*/ 76970 w 991370"/>
                      <a:gd name="connsiteY37" fmla="*/ 227830 h 503619"/>
                      <a:gd name="connsiteX38" fmla="*/ 76970 w 991370"/>
                      <a:gd name="connsiteY38" fmla="*/ 209357 h 503619"/>
                      <a:gd name="connsiteX39" fmla="*/ 64655 w 991370"/>
                      <a:gd name="connsiteY39" fmla="*/ 166254 h 503619"/>
                      <a:gd name="connsiteX40" fmla="*/ 40024 w 991370"/>
                      <a:gd name="connsiteY40" fmla="*/ 104679 h 503619"/>
                      <a:gd name="connsiteX41" fmla="*/ 15394 w 991370"/>
                      <a:gd name="connsiteY41" fmla="*/ 43103 h 503619"/>
                      <a:gd name="connsiteX42" fmla="*/ 0 w 991370"/>
                      <a:gd name="connsiteY42" fmla="*/ 0 h 503619"/>
                      <a:gd name="connsiteX0" fmla="*/ 956297 w 956297"/>
                      <a:gd name="connsiteY0" fmla="*/ 487806 h 503619"/>
                      <a:gd name="connsiteX1" fmla="*/ 923636 w 956297"/>
                      <a:gd name="connsiteY1" fmla="*/ 492606 h 503619"/>
                      <a:gd name="connsiteX2" fmla="*/ 880533 w 956297"/>
                      <a:gd name="connsiteY2" fmla="*/ 501842 h 503619"/>
                      <a:gd name="connsiteX3" fmla="*/ 871297 w 956297"/>
                      <a:gd name="connsiteY3" fmla="*/ 501842 h 503619"/>
                      <a:gd name="connsiteX4" fmla="*/ 865139 w 956297"/>
                      <a:gd name="connsiteY4" fmla="*/ 483370 h 503619"/>
                      <a:gd name="connsiteX5" fmla="*/ 846667 w 956297"/>
                      <a:gd name="connsiteY5" fmla="*/ 477212 h 503619"/>
                      <a:gd name="connsiteX6" fmla="*/ 815879 w 956297"/>
                      <a:gd name="connsiteY6" fmla="*/ 486448 h 503619"/>
                      <a:gd name="connsiteX7" fmla="*/ 766618 w 956297"/>
                      <a:gd name="connsiteY7" fmla="*/ 467976 h 503619"/>
                      <a:gd name="connsiteX8" fmla="*/ 748145 w 956297"/>
                      <a:gd name="connsiteY8" fmla="*/ 458739 h 503619"/>
                      <a:gd name="connsiteX9" fmla="*/ 723515 w 956297"/>
                      <a:gd name="connsiteY9" fmla="*/ 464897 h 503619"/>
                      <a:gd name="connsiteX10" fmla="*/ 680412 w 956297"/>
                      <a:gd name="connsiteY10" fmla="*/ 461818 h 503619"/>
                      <a:gd name="connsiteX11" fmla="*/ 655782 w 956297"/>
                      <a:gd name="connsiteY11" fmla="*/ 458739 h 503619"/>
                      <a:gd name="connsiteX12" fmla="*/ 640388 w 956297"/>
                      <a:gd name="connsiteY12" fmla="*/ 471054 h 503619"/>
                      <a:gd name="connsiteX13" fmla="*/ 618836 w 956297"/>
                      <a:gd name="connsiteY13" fmla="*/ 477212 h 503619"/>
                      <a:gd name="connsiteX14" fmla="*/ 588048 w 956297"/>
                      <a:gd name="connsiteY14" fmla="*/ 455660 h 503619"/>
                      <a:gd name="connsiteX15" fmla="*/ 575733 w 956297"/>
                      <a:gd name="connsiteY15" fmla="*/ 437188 h 503619"/>
                      <a:gd name="connsiteX16" fmla="*/ 566497 w 956297"/>
                      <a:gd name="connsiteY16" fmla="*/ 437188 h 503619"/>
                      <a:gd name="connsiteX17" fmla="*/ 560339 w 956297"/>
                      <a:gd name="connsiteY17" fmla="*/ 452582 h 503619"/>
                      <a:gd name="connsiteX18" fmla="*/ 535709 w 956297"/>
                      <a:gd name="connsiteY18" fmla="*/ 471054 h 503619"/>
                      <a:gd name="connsiteX19" fmla="*/ 520315 w 956297"/>
                      <a:gd name="connsiteY19" fmla="*/ 477212 h 503619"/>
                      <a:gd name="connsiteX20" fmla="*/ 520315 w 956297"/>
                      <a:gd name="connsiteY20" fmla="*/ 461818 h 503619"/>
                      <a:gd name="connsiteX21" fmla="*/ 517236 w 956297"/>
                      <a:gd name="connsiteY21" fmla="*/ 437188 h 503619"/>
                      <a:gd name="connsiteX22" fmla="*/ 492606 w 956297"/>
                      <a:gd name="connsiteY22" fmla="*/ 421794 h 503619"/>
                      <a:gd name="connsiteX23" fmla="*/ 464897 w 956297"/>
                      <a:gd name="connsiteY23" fmla="*/ 415636 h 503619"/>
                      <a:gd name="connsiteX24" fmla="*/ 415636 w 956297"/>
                      <a:gd name="connsiteY24" fmla="*/ 403321 h 503619"/>
                      <a:gd name="connsiteX25" fmla="*/ 372533 w 956297"/>
                      <a:gd name="connsiteY25" fmla="*/ 391006 h 503619"/>
                      <a:gd name="connsiteX26" fmla="*/ 335588 w 956297"/>
                      <a:gd name="connsiteY26" fmla="*/ 372533 h 503619"/>
                      <a:gd name="connsiteX27" fmla="*/ 301721 w 956297"/>
                      <a:gd name="connsiteY27" fmla="*/ 344824 h 503619"/>
                      <a:gd name="connsiteX28" fmla="*/ 270933 w 956297"/>
                      <a:gd name="connsiteY28" fmla="*/ 329430 h 503619"/>
                      <a:gd name="connsiteX29" fmla="*/ 240145 w 956297"/>
                      <a:gd name="connsiteY29" fmla="*/ 329430 h 503619"/>
                      <a:gd name="connsiteX30" fmla="*/ 215515 w 956297"/>
                      <a:gd name="connsiteY30" fmla="*/ 326351 h 503619"/>
                      <a:gd name="connsiteX31" fmla="*/ 187806 w 956297"/>
                      <a:gd name="connsiteY31" fmla="*/ 304800 h 503619"/>
                      <a:gd name="connsiteX32" fmla="*/ 163176 w 956297"/>
                      <a:gd name="connsiteY32" fmla="*/ 295564 h 503619"/>
                      <a:gd name="connsiteX33" fmla="*/ 135467 w 956297"/>
                      <a:gd name="connsiteY33" fmla="*/ 292485 h 503619"/>
                      <a:gd name="connsiteX34" fmla="*/ 110836 w 956297"/>
                      <a:gd name="connsiteY34" fmla="*/ 301721 h 503619"/>
                      <a:gd name="connsiteX35" fmla="*/ 101600 w 956297"/>
                      <a:gd name="connsiteY35" fmla="*/ 301721 h 503619"/>
                      <a:gd name="connsiteX36" fmla="*/ 95442 w 956297"/>
                      <a:gd name="connsiteY36" fmla="*/ 283248 h 503619"/>
                      <a:gd name="connsiteX37" fmla="*/ 76970 w 956297"/>
                      <a:gd name="connsiteY37" fmla="*/ 227830 h 503619"/>
                      <a:gd name="connsiteX38" fmla="*/ 76970 w 956297"/>
                      <a:gd name="connsiteY38" fmla="*/ 209357 h 503619"/>
                      <a:gd name="connsiteX39" fmla="*/ 64655 w 956297"/>
                      <a:gd name="connsiteY39" fmla="*/ 166254 h 503619"/>
                      <a:gd name="connsiteX40" fmla="*/ 40024 w 956297"/>
                      <a:gd name="connsiteY40" fmla="*/ 104679 h 503619"/>
                      <a:gd name="connsiteX41" fmla="*/ 15394 w 956297"/>
                      <a:gd name="connsiteY41" fmla="*/ 43103 h 503619"/>
                      <a:gd name="connsiteX42" fmla="*/ 0 w 956297"/>
                      <a:gd name="connsiteY42" fmla="*/ 0 h 5036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</a:cxnLst>
                    <a:rect l="l" t="t" r="r" b="b"/>
                    <a:pathLst>
                      <a:path w="956297" h="503619">
                        <a:moveTo>
                          <a:pt x="956297" y="487806"/>
                        </a:moveTo>
                        <a:cubicBezTo>
                          <a:pt x="935772" y="489858"/>
                          <a:pt x="936263" y="490267"/>
                          <a:pt x="923636" y="492606"/>
                        </a:cubicBezTo>
                        <a:cubicBezTo>
                          <a:pt x="911009" y="494945"/>
                          <a:pt x="880533" y="501842"/>
                          <a:pt x="880533" y="501842"/>
                        </a:cubicBezTo>
                        <a:cubicBezTo>
                          <a:pt x="871810" y="503381"/>
                          <a:pt x="873863" y="504921"/>
                          <a:pt x="871297" y="501842"/>
                        </a:cubicBezTo>
                        <a:cubicBezTo>
                          <a:pt x="868731" y="498763"/>
                          <a:pt x="869244" y="487475"/>
                          <a:pt x="865139" y="483370"/>
                        </a:cubicBezTo>
                        <a:cubicBezTo>
                          <a:pt x="861034" y="479265"/>
                          <a:pt x="854877" y="476699"/>
                          <a:pt x="846667" y="477212"/>
                        </a:cubicBezTo>
                        <a:cubicBezTo>
                          <a:pt x="838457" y="477725"/>
                          <a:pt x="829220" y="487987"/>
                          <a:pt x="815879" y="486448"/>
                        </a:cubicBezTo>
                        <a:cubicBezTo>
                          <a:pt x="802538" y="484909"/>
                          <a:pt x="777907" y="472594"/>
                          <a:pt x="766618" y="467976"/>
                        </a:cubicBezTo>
                        <a:cubicBezTo>
                          <a:pt x="755329" y="463358"/>
                          <a:pt x="755329" y="459252"/>
                          <a:pt x="748145" y="458739"/>
                        </a:cubicBezTo>
                        <a:cubicBezTo>
                          <a:pt x="740961" y="458226"/>
                          <a:pt x="734804" y="464384"/>
                          <a:pt x="723515" y="464897"/>
                        </a:cubicBezTo>
                        <a:cubicBezTo>
                          <a:pt x="712226" y="465410"/>
                          <a:pt x="691701" y="462844"/>
                          <a:pt x="680412" y="461818"/>
                        </a:cubicBezTo>
                        <a:cubicBezTo>
                          <a:pt x="669123" y="460792"/>
                          <a:pt x="662453" y="457200"/>
                          <a:pt x="655782" y="458739"/>
                        </a:cubicBezTo>
                        <a:cubicBezTo>
                          <a:pt x="649111" y="460278"/>
                          <a:pt x="646546" y="467975"/>
                          <a:pt x="640388" y="471054"/>
                        </a:cubicBezTo>
                        <a:cubicBezTo>
                          <a:pt x="634230" y="474133"/>
                          <a:pt x="627559" y="479778"/>
                          <a:pt x="618836" y="477212"/>
                        </a:cubicBezTo>
                        <a:cubicBezTo>
                          <a:pt x="610113" y="474646"/>
                          <a:pt x="588048" y="455660"/>
                          <a:pt x="588048" y="455660"/>
                        </a:cubicBezTo>
                        <a:cubicBezTo>
                          <a:pt x="580864" y="448989"/>
                          <a:pt x="575733" y="437188"/>
                          <a:pt x="575733" y="437188"/>
                        </a:cubicBezTo>
                        <a:cubicBezTo>
                          <a:pt x="572141" y="434109"/>
                          <a:pt x="569063" y="434622"/>
                          <a:pt x="566497" y="437188"/>
                        </a:cubicBezTo>
                        <a:cubicBezTo>
                          <a:pt x="563931" y="439754"/>
                          <a:pt x="565470" y="446938"/>
                          <a:pt x="560339" y="452582"/>
                        </a:cubicBezTo>
                        <a:cubicBezTo>
                          <a:pt x="555208" y="458226"/>
                          <a:pt x="542380" y="466949"/>
                          <a:pt x="535709" y="471054"/>
                        </a:cubicBezTo>
                        <a:cubicBezTo>
                          <a:pt x="529038" y="475159"/>
                          <a:pt x="520315" y="477212"/>
                          <a:pt x="520315" y="477212"/>
                        </a:cubicBezTo>
                        <a:cubicBezTo>
                          <a:pt x="517749" y="475673"/>
                          <a:pt x="520828" y="468489"/>
                          <a:pt x="520315" y="461818"/>
                        </a:cubicBezTo>
                        <a:cubicBezTo>
                          <a:pt x="519802" y="455147"/>
                          <a:pt x="517236" y="437188"/>
                          <a:pt x="517236" y="437188"/>
                        </a:cubicBezTo>
                        <a:cubicBezTo>
                          <a:pt x="512618" y="430517"/>
                          <a:pt x="501329" y="425386"/>
                          <a:pt x="492606" y="421794"/>
                        </a:cubicBezTo>
                        <a:cubicBezTo>
                          <a:pt x="483883" y="418202"/>
                          <a:pt x="464897" y="415636"/>
                          <a:pt x="464897" y="415636"/>
                        </a:cubicBezTo>
                        <a:lnTo>
                          <a:pt x="415636" y="403321"/>
                        </a:lnTo>
                        <a:cubicBezTo>
                          <a:pt x="400242" y="399216"/>
                          <a:pt x="385874" y="396137"/>
                          <a:pt x="372533" y="391006"/>
                        </a:cubicBezTo>
                        <a:cubicBezTo>
                          <a:pt x="359192" y="385875"/>
                          <a:pt x="347390" y="380230"/>
                          <a:pt x="335588" y="372533"/>
                        </a:cubicBezTo>
                        <a:cubicBezTo>
                          <a:pt x="323786" y="364836"/>
                          <a:pt x="312497" y="352008"/>
                          <a:pt x="301721" y="344824"/>
                        </a:cubicBezTo>
                        <a:cubicBezTo>
                          <a:pt x="290945" y="337640"/>
                          <a:pt x="281196" y="331996"/>
                          <a:pt x="270933" y="329430"/>
                        </a:cubicBezTo>
                        <a:cubicBezTo>
                          <a:pt x="260670" y="326864"/>
                          <a:pt x="249381" y="329943"/>
                          <a:pt x="240145" y="329430"/>
                        </a:cubicBezTo>
                        <a:cubicBezTo>
                          <a:pt x="230909" y="328917"/>
                          <a:pt x="224238" y="330456"/>
                          <a:pt x="215515" y="326351"/>
                        </a:cubicBezTo>
                        <a:cubicBezTo>
                          <a:pt x="206792" y="322246"/>
                          <a:pt x="196529" y="309931"/>
                          <a:pt x="187806" y="304800"/>
                        </a:cubicBezTo>
                        <a:cubicBezTo>
                          <a:pt x="179083" y="299669"/>
                          <a:pt x="171899" y="297617"/>
                          <a:pt x="163176" y="295564"/>
                        </a:cubicBezTo>
                        <a:cubicBezTo>
                          <a:pt x="154453" y="293511"/>
                          <a:pt x="144190" y="291459"/>
                          <a:pt x="135467" y="292485"/>
                        </a:cubicBezTo>
                        <a:cubicBezTo>
                          <a:pt x="126744" y="293511"/>
                          <a:pt x="110836" y="301721"/>
                          <a:pt x="110836" y="301721"/>
                        </a:cubicBezTo>
                        <a:cubicBezTo>
                          <a:pt x="105191" y="303260"/>
                          <a:pt x="104166" y="304800"/>
                          <a:pt x="101600" y="301721"/>
                        </a:cubicBezTo>
                        <a:cubicBezTo>
                          <a:pt x="99034" y="298642"/>
                          <a:pt x="95442" y="283248"/>
                          <a:pt x="95442" y="283248"/>
                        </a:cubicBezTo>
                        <a:cubicBezTo>
                          <a:pt x="91337" y="270933"/>
                          <a:pt x="80049" y="240145"/>
                          <a:pt x="76970" y="227830"/>
                        </a:cubicBezTo>
                        <a:cubicBezTo>
                          <a:pt x="73891" y="215515"/>
                          <a:pt x="79022" y="219620"/>
                          <a:pt x="76970" y="209357"/>
                        </a:cubicBezTo>
                        <a:cubicBezTo>
                          <a:pt x="74918" y="199094"/>
                          <a:pt x="70813" y="183700"/>
                          <a:pt x="64655" y="166254"/>
                        </a:cubicBezTo>
                        <a:cubicBezTo>
                          <a:pt x="58497" y="148808"/>
                          <a:pt x="40024" y="104679"/>
                          <a:pt x="40024" y="104679"/>
                        </a:cubicBezTo>
                        <a:cubicBezTo>
                          <a:pt x="31814" y="84154"/>
                          <a:pt x="22065" y="60549"/>
                          <a:pt x="15394" y="43103"/>
                        </a:cubicBezTo>
                        <a:cubicBezTo>
                          <a:pt x="8723" y="25657"/>
                          <a:pt x="5644" y="13854"/>
                          <a:pt x="0" y="0"/>
                        </a:cubicBezTo>
                      </a:path>
                    </a:pathLst>
                  </a:custGeom>
                  <a:noFill/>
                  <a:ln w="57150">
                    <a:solidFill>
                      <a:srgbClr val="00B05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0" name="Полилиния 259"/>
                  <p:cNvSpPr/>
                  <p:nvPr/>
                </p:nvSpPr>
                <p:spPr>
                  <a:xfrm>
                    <a:off x="2555081" y="2712244"/>
                    <a:ext cx="273844" cy="61912"/>
                  </a:xfrm>
                  <a:custGeom>
                    <a:avLst/>
                    <a:gdLst>
                      <a:gd name="connsiteX0" fmla="*/ 273844 w 273844"/>
                      <a:gd name="connsiteY0" fmla="*/ 61912 h 61912"/>
                      <a:gd name="connsiteX1" fmla="*/ 180975 w 273844"/>
                      <a:gd name="connsiteY1" fmla="*/ 40481 h 61912"/>
                      <a:gd name="connsiteX2" fmla="*/ 142875 w 273844"/>
                      <a:gd name="connsiteY2" fmla="*/ 40481 h 61912"/>
                      <a:gd name="connsiteX3" fmla="*/ 109538 w 273844"/>
                      <a:gd name="connsiteY3" fmla="*/ 28575 h 61912"/>
                      <a:gd name="connsiteX4" fmla="*/ 80963 w 273844"/>
                      <a:gd name="connsiteY4" fmla="*/ 16669 h 61912"/>
                      <a:gd name="connsiteX5" fmla="*/ 47625 w 273844"/>
                      <a:gd name="connsiteY5" fmla="*/ 11906 h 61912"/>
                      <a:gd name="connsiteX6" fmla="*/ 0 w 273844"/>
                      <a:gd name="connsiteY6" fmla="*/ 0 h 619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73844" h="61912">
                        <a:moveTo>
                          <a:pt x="273844" y="61912"/>
                        </a:moveTo>
                        <a:cubicBezTo>
                          <a:pt x="238323" y="52982"/>
                          <a:pt x="202803" y="44053"/>
                          <a:pt x="180975" y="40481"/>
                        </a:cubicBezTo>
                        <a:cubicBezTo>
                          <a:pt x="159147" y="36909"/>
                          <a:pt x="154781" y="42465"/>
                          <a:pt x="142875" y="40481"/>
                        </a:cubicBezTo>
                        <a:cubicBezTo>
                          <a:pt x="130969" y="38497"/>
                          <a:pt x="119857" y="32544"/>
                          <a:pt x="109538" y="28575"/>
                        </a:cubicBezTo>
                        <a:cubicBezTo>
                          <a:pt x="99219" y="24606"/>
                          <a:pt x="91282" y="19447"/>
                          <a:pt x="80963" y="16669"/>
                        </a:cubicBezTo>
                        <a:cubicBezTo>
                          <a:pt x="70644" y="13891"/>
                          <a:pt x="61119" y="14684"/>
                          <a:pt x="47625" y="11906"/>
                        </a:cubicBezTo>
                        <a:cubicBezTo>
                          <a:pt x="34131" y="9128"/>
                          <a:pt x="17065" y="4564"/>
                          <a:pt x="0" y="0"/>
                        </a:cubicBezTo>
                      </a:path>
                    </a:pathLst>
                  </a:custGeom>
                  <a:ln w="76200">
                    <a:solidFill>
                      <a:schemeClr val="accent6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1" name="Полилиния 260"/>
                  <p:cNvSpPr/>
                  <p:nvPr/>
                </p:nvSpPr>
                <p:spPr>
                  <a:xfrm>
                    <a:off x="2562313" y="2707818"/>
                    <a:ext cx="616281" cy="323171"/>
                  </a:xfrm>
                  <a:custGeom>
                    <a:avLst/>
                    <a:gdLst>
                      <a:gd name="connsiteX0" fmla="*/ 586218 w 586218"/>
                      <a:gd name="connsiteY0" fmla="*/ 182880 h 182880"/>
                      <a:gd name="connsiteX1" fmla="*/ 513567 w 586218"/>
                      <a:gd name="connsiteY1" fmla="*/ 142797 h 182880"/>
                      <a:gd name="connsiteX2" fmla="*/ 443421 w 586218"/>
                      <a:gd name="connsiteY2" fmla="*/ 120250 h 182880"/>
                      <a:gd name="connsiteX3" fmla="*/ 398328 w 586218"/>
                      <a:gd name="connsiteY3" fmla="*/ 112734 h 182880"/>
                      <a:gd name="connsiteX4" fmla="*/ 348224 w 586218"/>
                      <a:gd name="connsiteY4" fmla="*/ 105219 h 182880"/>
                      <a:gd name="connsiteX5" fmla="*/ 295614 w 586218"/>
                      <a:gd name="connsiteY5" fmla="*/ 97703 h 182880"/>
                      <a:gd name="connsiteX6" fmla="*/ 283088 w 586218"/>
                      <a:gd name="connsiteY6" fmla="*/ 87682 h 182880"/>
                      <a:gd name="connsiteX7" fmla="*/ 260541 w 586218"/>
                      <a:gd name="connsiteY7" fmla="*/ 62630 h 182880"/>
                      <a:gd name="connsiteX8" fmla="*/ 220458 w 586218"/>
                      <a:gd name="connsiteY8" fmla="*/ 57620 h 182880"/>
                      <a:gd name="connsiteX9" fmla="*/ 150312 w 586218"/>
                      <a:gd name="connsiteY9" fmla="*/ 47599 h 182880"/>
                      <a:gd name="connsiteX10" fmla="*/ 75156 w 586218"/>
                      <a:gd name="connsiteY10" fmla="*/ 20042 h 182880"/>
                      <a:gd name="connsiteX11" fmla="*/ 35073 w 586218"/>
                      <a:gd name="connsiteY11" fmla="*/ 15031 h 182880"/>
                      <a:gd name="connsiteX12" fmla="*/ 0 w 586218"/>
                      <a:gd name="connsiteY12" fmla="*/ 0 h 182880"/>
                      <a:gd name="connsiteX0" fmla="*/ 586218 w 589717"/>
                      <a:gd name="connsiteY0" fmla="*/ 182880 h 182880"/>
                      <a:gd name="connsiteX1" fmla="*/ 583714 w 589717"/>
                      <a:gd name="connsiteY1" fmla="*/ 177870 h 182880"/>
                      <a:gd name="connsiteX2" fmla="*/ 513567 w 589717"/>
                      <a:gd name="connsiteY2" fmla="*/ 142797 h 182880"/>
                      <a:gd name="connsiteX3" fmla="*/ 443421 w 589717"/>
                      <a:gd name="connsiteY3" fmla="*/ 120250 h 182880"/>
                      <a:gd name="connsiteX4" fmla="*/ 398328 w 589717"/>
                      <a:gd name="connsiteY4" fmla="*/ 112734 h 182880"/>
                      <a:gd name="connsiteX5" fmla="*/ 348224 w 589717"/>
                      <a:gd name="connsiteY5" fmla="*/ 105219 h 182880"/>
                      <a:gd name="connsiteX6" fmla="*/ 295614 w 589717"/>
                      <a:gd name="connsiteY6" fmla="*/ 97703 h 182880"/>
                      <a:gd name="connsiteX7" fmla="*/ 283088 w 589717"/>
                      <a:gd name="connsiteY7" fmla="*/ 87682 h 182880"/>
                      <a:gd name="connsiteX8" fmla="*/ 260541 w 589717"/>
                      <a:gd name="connsiteY8" fmla="*/ 62630 h 182880"/>
                      <a:gd name="connsiteX9" fmla="*/ 220458 w 589717"/>
                      <a:gd name="connsiteY9" fmla="*/ 57620 h 182880"/>
                      <a:gd name="connsiteX10" fmla="*/ 150312 w 589717"/>
                      <a:gd name="connsiteY10" fmla="*/ 47599 h 182880"/>
                      <a:gd name="connsiteX11" fmla="*/ 75156 w 589717"/>
                      <a:gd name="connsiteY11" fmla="*/ 20042 h 182880"/>
                      <a:gd name="connsiteX12" fmla="*/ 35073 w 589717"/>
                      <a:gd name="connsiteY12" fmla="*/ 15031 h 182880"/>
                      <a:gd name="connsiteX13" fmla="*/ 0 w 589717"/>
                      <a:gd name="connsiteY13" fmla="*/ 0 h 182880"/>
                      <a:gd name="connsiteX0" fmla="*/ 586218 w 620852"/>
                      <a:gd name="connsiteY0" fmla="*/ 182880 h 268402"/>
                      <a:gd name="connsiteX1" fmla="*/ 618787 w 620852"/>
                      <a:gd name="connsiteY1" fmla="*/ 268058 h 268402"/>
                      <a:gd name="connsiteX2" fmla="*/ 513567 w 620852"/>
                      <a:gd name="connsiteY2" fmla="*/ 142797 h 268402"/>
                      <a:gd name="connsiteX3" fmla="*/ 443421 w 620852"/>
                      <a:gd name="connsiteY3" fmla="*/ 120250 h 268402"/>
                      <a:gd name="connsiteX4" fmla="*/ 398328 w 620852"/>
                      <a:gd name="connsiteY4" fmla="*/ 112734 h 268402"/>
                      <a:gd name="connsiteX5" fmla="*/ 348224 w 620852"/>
                      <a:gd name="connsiteY5" fmla="*/ 105219 h 268402"/>
                      <a:gd name="connsiteX6" fmla="*/ 295614 w 620852"/>
                      <a:gd name="connsiteY6" fmla="*/ 97703 h 268402"/>
                      <a:gd name="connsiteX7" fmla="*/ 283088 w 620852"/>
                      <a:gd name="connsiteY7" fmla="*/ 87682 h 268402"/>
                      <a:gd name="connsiteX8" fmla="*/ 260541 w 620852"/>
                      <a:gd name="connsiteY8" fmla="*/ 62630 h 268402"/>
                      <a:gd name="connsiteX9" fmla="*/ 220458 w 620852"/>
                      <a:gd name="connsiteY9" fmla="*/ 57620 h 268402"/>
                      <a:gd name="connsiteX10" fmla="*/ 150312 w 620852"/>
                      <a:gd name="connsiteY10" fmla="*/ 47599 h 268402"/>
                      <a:gd name="connsiteX11" fmla="*/ 75156 w 620852"/>
                      <a:gd name="connsiteY11" fmla="*/ 20042 h 268402"/>
                      <a:gd name="connsiteX12" fmla="*/ 35073 w 620852"/>
                      <a:gd name="connsiteY12" fmla="*/ 15031 h 268402"/>
                      <a:gd name="connsiteX13" fmla="*/ 0 w 620852"/>
                      <a:gd name="connsiteY13" fmla="*/ 0 h 268402"/>
                      <a:gd name="connsiteX0" fmla="*/ 819203 w 819203"/>
                      <a:gd name="connsiteY0" fmla="*/ 280583 h 280583"/>
                      <a:gd name="connsiteX1" fmla="*/ 618787 w 819203"/>
                      <a:gd name="connsiteY1" fmla="*/ 268058 h 280583"/>
                      <a:gd name="connsiteX2" fmla="*/ 513567 w 819203"/>
                      <a:gd name="connsiteY2" fmla="*/ 142797 h 280583"/>
                      <a:gd name="connsiteX3" fmla="*/ 443421 w 819203"/>
                      <a:gd name="connsiteY3" fmla="*/ 120250 h 280583"/>
                      <a:gd name="connsiteX4" fmla="*/ 398328 w 819203"/>
                      <a:gd name="connsiteY4" fmla="*/ 112734 h 280583"/>
                      <a:gd name="connsiteX5" fmla="*/ 348224 w 819203"/>
                      <a:gd name="connsiteY5" fmla="*/ 105219 h 280583"/>
                      <a:gd name="connsiteX6" fmla="*/ 295614 w 819203"/>
                      <a:gd name="connsiteY6" fmla="*/ 97703 h 280583"/>
                      <a:gd name="connsiteX7" fmla="*/ 283088 w 819203"/>
                      <a:gd name="connsiteY7" fmla="*/ 87682 h 280583"/>
                      <a:gd name="connsiteX8" fmla="*/ 260541 w 819203"/>
                      <a:gd name="connsiteY8" fmla="*/ 62630 h 280583"/>
                      <a:gd name="connsiteX9" fmla="*/ 220458 w 819203"/>
                      <a:gd name="connsiteY9" fmla="*/ 57620 h 280583"/>
                      <a:gd name="connsiteX10" fmla="*/ 150312 w 819203"/>
                      <a:gd name="connsiteY10" fmla="*/ 47599 h 280583"/>
                      <a:gd name="connsiteX11" fmla="*/ 75156 w 819203"/>
                      <a:gd name="connsiteY11" fmla="*/ 20042 h 280583"/>
                      <a:gd name="connsiteX12" fmla="*/ 35073 w 819203"/>
                      <a:gd name="connsiteY12" fmla="*/ 15031 h 280583"/>
                      <a:gd name="connsiteX13" fmla="*/ 0 w 819203"/>
                      <a:gd name="connsiteY13" fmla="*/ 0 h 280583"/>
                      <a:gd name="connsiteX0" fmla="*/ 819203 w 819203"/>
                      <a:gd name="connsiteY0" fmla="*/ 280583 h 280583"/>
                      <a:gd name="connsiteX1" fmla="*/ 573693 w 819203"/>
                      <a:gd name="connsiteY1" fmla="*/ 162839 h 280583"/>
                      <a:gd name="connsiteX2" fmla="*/ 513567 w 819203"/>
                      <a:gd name="connsiteY2" fmla="*/ 142797 h 280583"/>
                      <a:gd name="connsiteX3" fmla="*/ 443421 w 819203"/>
                      <a:gd name="connsiteY3" fmla="*/ 120250 h 280583"/>
                      <a:gd name="connsiteX4" fmla="*/ 398328 w 819203"/>
                      <a:gd name="connsiteY4" fmla="*/ 112734 h 280583"/>
                      <a:gd name="connsiteX5" fmla="*/ 348224 w 819203"/>
                      <a:gd name="connsiteY5" fmla="*/ 105219 h 280583"/>
                      <a:gd name="connsiteX6" fmla="*/ 295614 w 819203"/>
                      <a:gd name="connsiteY6" fmla="*/ 97703 h 280583"/>
                      <a:gd name="connsiteX7" fmla="*/ 283088 w 819203"/>
                      <a:gd name="connsiteY7" fmla="*/ 87682 h 280583"/>
                      <a:gd name="connsiteX8" fmla="*/ 260541 w 819203"/>
                      <a:gd name="connsiteY8" fmla="*/ 62630 h 280583"/>
                      <a:gd name="connsiteX9" fmla="*/ 220458 w 819203"/>
                      <a:gd name="connsiteY9" fmla="*/ 57620 h 280583"/>
                      <a:gd name="connsiteX10" fmla="*/ 150312 w 819203"/>
                      <a:gd name="connsiteY10" fmla="*/ 47599 h 280583"/>
                      <a:gd name="connsiteX11" fmla="*/ 75156 w 819203"/>
                      <a:gd name="connsiteY11" fmla="*/ 20042 h 280583"/>
                      <a:gd name="connsiteX12" fmla="*/ 35073 w 819203"/>
                      <a:gd name="connsiteY12" fmla="*/ 15031 h 280583"/>
                      <a:gd name="connsiteX13" fmla="*/ 0 w 819203"/>
                      <a:gd name="connsiteY13" fmla="*/ 0 h 280583"/>
                      <a:gd name="connsiteX0" fmla="*/ 596239 w 596239"/>
                      <a:gd name="connsiteY0" fmla="*/ 215447 h 215447"/>
                      <a:gd name="connsiteX1" fmla="*/ 573693 w 596239"/>
                      <a:gd name="connsiteY1" fmla="*/ 162839 h 215447"/>
                      <a:gd name="connsiteX2" fmla="*/ 513567 w 596239"/>
                      <a:gd name="connsiteY2" fmla="*/ 142797 h 215447"/>
                      <a:gd name="connsiteX3" fmla="*/ 443421 w 596239"/>
                      <a:gd name="connsiteY3" fmla="*/ 120250 h 215447"/>
                      <a:gd name="connsiteX4" fmla="*/ 398328 w 596239"/>
                      <a:gd name="connsiteY4" fmla="*/ 112734 h 215447"/>
                      <a:gd name="connsiteX5" fmla="*/ 348224 w 596239"/>
                      <a:gd name="connsiteY5" fmla="*/ 105219 h 215447"/>
                      <a:gd name="connsiteX6" fmla="*/ 295614 w 596239"/>
                      <a:gd name="connsiteY6" fmla="*/ 97703 h 215447"/>
                      <a:gd name="connsiteX7" fmla="*/ 283088 w 596239"/>
                      <a:gd name="connsiteY7" fmla="*/ 87682 h 215447"/>
                      <a:gd name="connsiteX8" fmla="*/ 260541 w 596239"/>
                      <a:gd name="connsiteY8" fmla="*/ 62630 h 215447"/>
                      <a:gd name="connsiteX9" fmla="*/ 220458 w 596239"/>
                      <a:gd name="connsiteY9" fmla="*/ 57620 h 215447"/>
                      <a:gd name="connsiteX10" fmla="*/ 150312 w 596239"/>
                      <a:gd name="connsiteY10" fmla="*/ 47599 h 215447"/>
                      <a:gd name="connsiteX11" fmla="*/ 75156 w 596239"/>
                      <a:gd name="connsiteY11" fmla="*/ 20042 h 215447"/>
                      <a:gd name="connsiteX12" fmla="*/ 35073 w 596239"/>
                      <a:gd name="connsiteY12" fmla="*/ 15031 h 215447"/>
                      <a:gd name="connsiteX13" fmla="*/ 0 w 596239"/>
                      <a:gd name="connsiteY13" fmla="*/ 0 h 215447"/>
                      <a:gd name="connsiteX0" fmla="*/ 596239 w 596239"/>
                      <a:gd name="connsiteY0" fmla="*/ 215447 h 215447"/>
                      <a:gd name="connsiteX1" fmla="*/ 571188 w 596239"/>
                      <a:gd name="connsiteY1" fmla="*/ 172860 h 215447"/>
                      <a:gd name="connsiteX2" fmla="*/ 513567 w 596239"/>
                      <a:gd name="connsiteY2" fmla="*/ 142797 h 215447"/>
                      <a:gd name="connsiteX3" fmla="*/ 443421 w 596239"/>
                      <a:gd name="connsiteY3" fmla="*/ 120250 h 215447"/>
                      <a:gd name="connsiteX4" fmla="*/ 398328 w 596239"/>
                      <a:gd name="connsiteY4" fmla="*/ 112734 h 215447"/>
                      <a:gd name="connsiteX5" fmla="*/ 348224 w 596239"/>
                      <a:gd name="connsiteY5" fmla="*/ 105219 h 215447"/>
                      <a:gd name="connsiteX6" fmla="*/ 295614 w 596239"/>
                      <a:gd name="connsiteY6" fmla="*/ 97703 h 215447"/>
                      <a:gd name="connsiteX7" fmla="*/ 283088 w 596239"/>
                      <a:gd name="connsiteY7" fmla="*/ 87682 h 215447"/>
                      <a:gd name="connsiteX8" fmla="*/ 260541 w 596239"/>
                      <a:gd name="connsiteY8" fmla="*/ 62630 h 215447"/>
                      <a:gd name="connsiteX9" fmla="*/ 220458 w 596239"/>
                      <a:gd name="connsiteY9" fmla="*/ 57620 h 215447"/>
                      <a:gd name="connsiteX10" fmla="*/ 150312 w 596239"/>
                      <a:gd name="connsiteY10" fmla="*/ 47599 h 215447"/>
                      <a:gd name="connsiteX11" fmla="*/ 75156 w 596239"/>
                      <a:gd name="connsiteY11" fmla="*/ 20042 h 215447"/>
                      <a:gd name="connsiteX12" fmla="*/ 35073 w 596239"/>
                      <a:gd name="connsiteY12" fmla="*/ 15031 h 215447"/>
                      <a:gd name="connsiteX13" fmla="*/ 0 w 596239"/>
                      <a:gd name="connsiteY13" fmla="*/ 0 h 215447"/>
                      <a:gd name="connsiteX0" fmla="*/ 596239 w 596239"/>
                      <a:gd name="connsiteY0" fmla="*/ 215447 h 216777"/>
                      <a:gd name="connsiteX1" fmla="*/ 588723 w 596239"/>
                      <a:gd name="connsiteY1" fmla="*/ 212942 h 216777"/>
                      <a:gd name="connsiteX2" fmla="*/ 571188 w 596239"/>
                      <a:gd name="connsiteY2" fmla="*/ 172860 h 216777"/>
                      <a:gd name="connsiteX3" fmla="*/ 513567 w 596239"/>
                      <a:gd name="connsiteY3" fmla="*/ 142797 h 216777"/>
                      <a:gd name="connsiteX4" fmla="*/ 443421 w 596239"/>
                      <a:gd name="connsiteY4" fmla="*/ 120250 h 216777"/>
                      <a:gd name="connsiteX5" fmla="*/ 398328 w 596239"/>
                      <a:gd name="connsiteY5" fmla="*/ 112734 h 216777"/>
                      <a:gd name="connsiteX6" fmla="*/ 348224 w 596239"/>
                      <a:gd name="connsiteY6" fmla="*/ 105219 h 216777"/>
                      <a:gd name="connsiteX7" fmla="*/ 295614 w 596239"/>
                      <a:gd name="connsiteY7" fmla="*/ 97703 h 216777"/>
                      <a:gd name="connsiteX8" fmla="*/ 283088 w 596239"/>
                      <a:gd name="connsiteY8" fmla="*/ 87682 h 216777"/>
                      <a:gd name="connsiteX9" fmla="*/ 260541 w 596239"/>
                      <a:gd name="connsiteY9" fmla="*/ 62630 h 216777"/>
                      <a:gd name="connsiteX10" fmla="*/ 220458 w 596239"/>
                      <a:gd name="connsiteY10" fmla="*/ 57620 h 216777"/>
                      <a:gd name="connsiteX11" fmla="*/ 150312 w 596239"/>
                      <a:gd name="connsiteY11" fmla="*/ 47599 h 216777"/>
                      <a:gd name="connsiteX12" fmla="*/ 75156 w 596239"/>
                      <a:gd name="connsiteY12" fmla="*/ 20042 h 216777"/>
                      <a:gd name="connsiteX13" fmla="*/ 35073 w 596239"/>
                      <a:gd name="connsiteY13" fmla="*/ 15031 h 216777"/>
                      <a:gd name="connsiteX14" fmla="*/ 0 w 596239"/>
                      <a:gd name="connsiteY14" fmla="*/ 0 h 216777"/>
                      <a:gd name="connsiteX0" fmla="*/ 596239 w 631614"/>
                      <a:gd name="connsiteY0" fmla="*/ 215447 h 241511"/>
                      <a:gd name="connsiteX1" fmla="*/ 631312 w 631614"/>
                      <a:gd name="connsiteY1" fmla="*/ 240499 h 241511"/>
                      <a:gd name="connsiteX2" fmla="*/ 571188 w 631614"/>
                      <a:gd name="connsiteY2" fmla="*/ 172860 h 241511"/>
                      <a:gd name="connsiteX3" fmla="*/ 513567 w 631614"/>
                      <a:gd name="connsiteY3" fmla="*/ 142797 h 241511"/>
                      <a:gd name="connsiteX4" fmla="*/ 443421 w 631614"/>
                      <a:gd name="connsiteY4" fmla="*/ 120250 h 241511"/>
                      <a:gd name="connsiteX5" fmla="*/ 398328 w 631614"/>
                      <a:gd name="connsiteY5" fmla="*/ 112734 h 241511"/>
                      <a:gd name="connsiteX6" fmla="*/ 348224 w 631614"/>
                      <a:gd name="connsiteY6" fmla="*/ 105219 h 241511"/>
                      <a:gd name="connsiteX7" fmla="*/ 295614 w 631614"/>
                      <a:gd name="connsiteY7" fmla="*/ 97703 h 241511"/>
                      <a:gd name="connsiteX8" fmla="*/ 283088 w 631614"/>
                      <a:gd name="connsiteY8" fmla="*/ 87682 h 241511"/>
                      <a:gd name="connsiteX9" fmla="*/ 260541 w 631614"/>
                      <a:gd name="connsiteY9" fmla="*/ 62630 h 241511"/>
                      <a:gd name="connsiteX10" fmla="*/ 220458 w 631614"/>
                      <a:gd name="connsiteY10" fmla="*/ 57620 h 241511"/>
                      <a:gd name="connsiteX11" fmla="*/ 150312 w 631614"/>
                      <a:gd name="connsiteY11" fmla="*/ 47599 h 241511"/>
                      <a:gd name="connsiteX12" fmla="*/ 75156 w 631614"/>
                      <a:gd name="connsiteY12" fmla="*/ 20042 h 241511"/>
                      <a:gd name="connsiteX13" fmla="*/ 35073 w 631614"/>
                      <a:gd name="connsiteY13" fmla="*/ 15031 h 241511"/>
                      <a:gd name="connsiteX14" fmla="*/ 0 w 631614"/>
                      <a:gd name="connsiteY14" fmla="*/ 0 h 241511"/>
                      <a:gd name="connsiteX0" fmla="*/ 623796 w 632144"/>
                      <a:gd name="connsiteY0" fmla="*/ 325676 h 325676"/>
                      <a:gd name="connsiteX1" fmla="*/ 631312 w 632144"/>
                      <a:gd name="connsiteY1" fmla="*/ 240499 h 325676"/>
                      <a:gd name="connsiteX2" fmla="*/ 571188 w 632144"/>
                      <a:gd name="connsiteY2" fmla="*/ 172860 h 325676"/>
                      <a:gd name="connsiteX3" fmla="*/ 513567 w 632144"/>
                      <a:gd name="connsiteY3" fmla="*/ 142797 h 325676"/>
                      <a:gd name="connsiteX4" fmla="*/ 443421 w 632144"/>
                      <a:gd name="connsiteY4" fmla="*/ 120250 h 325676"/>
                      <a:gd name="connsiteX5" fmla="*/ 398328 w 632144"/>
                      <a:gd name="connsiteY5" fmla="*/ 112734 h 325676"/>
                      <a:gd name="connsiteX6" fmla="*/ 348224 w 632144"/>
                      <a:gd name="connsiteY6" fmla="*/ 105219 h 325676"/>
                      <a:gd name="connsiteX7" fmla="*/ 295614 w 632144"/>
                      <a:gd name="connsiteY7" fmla="*/ 97703 h 325676"/>
                      <a:gd name="connsiteX8" fmla="*/ 283088 w 632144"/>
                      <a:gd name="connsiteY8" fmla="*/ 87682 h 325676"/>
                      <a:gd name="connsiteX9" fmla="*/ 260541 w 632144"/>
                      <a:gd name="connsiteY9" fmla="*/ 62630 h 325676"/>
                      <a:gd name="connsiteX10" fmla="*/ 220458 w 632144"/>
                      <a:gd name="connsiteY10" fmla="*/ 57620 h 325676"/>
                      <a:gd name="connsiteX11" fmla="*/ 150312 w 632144"/>
                      <a:gd name="connsiteY11" fmla="*/ 47599 h 325676"/>
                      <a:gd name="connsiteX12" fmla="*/ 75156 w 632144"/>
                      <a:gd name="connsiteY12" fmla="*/ 20042 h 325676"/>
                      <a:gd name="connsiteX13" fmla="*/ 35073 w 632144"/>
                      <a:gd name="connsiteY13" fmla="*/ 15031 h 325676"/>
                      <a:gd name="connsiteX14" fmla="*/ 0 w 632144"/>
                      <a:gd name="connsiteY14" fmla="*/ 0 h 325676"/>
                      <a:gd name="connsiteX0" fmla="*/ 623796 w 623796"/>
                      <a:gd name="connsiteY0" fmla="*/ 325676 h 325676"/>
                      <a:gd name="connsiteX1" fmla="*/ 586219 w 623796"/>
                      <a:gd name="connsiteY1" fmla="*/ 212942 h 325676"/>
                      <a:gd name="connsiteX2" fmla="*/ 571188 w 623796"/>
                      <a:gd name="connsiteY2" fmla="*/ 172860 h 325676"/>
                      <a:gd name="connsiteX3" fmla="*/ 513567 w 623796"/>
                      <a:gd name="connsiteY3" fmla="*/ 142797 h 325676"/>
                      <a:gd name="connsiteX4" fmla="*/ 443421 w 623796"/>
                      <a:gd name="connsiteY4" fmla="*/ 120250 h 325676"/>
                      <a:gd name="connsiteX5" fmla="*/ 398328 w 623796"/>
                      <a:gd name="connsiteY5" fmla="*/ 112734 h 325676"/>
                      <a:gd name="connsiteX6" fmla="*/ 348224 w 623796"/>
                      <a:gd name="connsiteY6" fmla="*/ 105219 h 325676"/>
                      <a:gd name="connsiteX7" fmla="*/ 295614 w 623796"/>
                      <a:gd name="connsiteY7" fmla="*/ 97703 h 325676"/>
                      <a:gd name="connsiteX8" fmla="*/ 283088 w 623796"/>
                      <a:gd name="connsiteY8" fmla="*/ 87682 h 325676"/>
                      <a:gd name="connsiteX9" fmla="*/ 260541 w 623796"/>
                      <a:gd name="connsiteY9" fmla="*/ 62630 h 325676"/>
                      <a:gd name="connsiteX10" fmla="*/ 220458 w 623796"/>
                      <a:gd name="connsiteY10" fmla="*/ 57620 h 325676"/>
                      <a:gd name="connsiteX11" fmla="*/ 150312 w 623796"/>
                      <a:gd name="connsiteY11" fmla="*/ 47599 h 325676"/>
                      <a:gd name="connsiteX12" fmla="*/ 75156 w 623796"/>
                      <a:gd name="connsiteY12" fmla="*/ 20042 h 325676"/>
                      <a:gd name="connsiteX13" fmla="*/ 35073 w 623796"/>
                      <a:gd name="connsiteY13" fmla="*/ 15031 h 325676"/>
                      <a:gd name="connsiteX14" fmla="*/ 0 w 623796"/>
                      <a:gd name="connsiteY14" fmla="*/ 0 h 325676"/>
                      <a:gd name="connsiteX0" fmla="*/ 623796 w 623796"/>
                      <a:gd name="connsiteY0" fmla="*/ 325676 h 325676"/>
                      <a:gd name="connsiteX1" fmla="*/ 596240 w 623796"/>
                      <a:gd name="connsiteY1" fmla="*/ 212942 h 325676"/>
                      <a:gd name="connsiteX2" fmla="*/ 571188 w 623796"/>
                      <a:gd name="connsiteY2" fmla="*/ 172860 h 325676"/>
                      <a:gd name="connsiteX3" fmla="*/ 513567 w 623796"/>
                      <a:gd name="connsiteY3" fmla="*/ 142797 h 325676"/>
                      <a:gd name="connsiteX4" fmla="*/ 443421 w 623796"/>
                      <a:gd name="connsiteY4" fmla="*/ 120250 h 325676"/>
                      <a:gd name="connsiteX5" fmla="*/ 398328 w 623796"/>
                      <a:gd name="connsiteY5" fmla="*/ 112734 h 325676"/>
                      <a:gd name="connsiteX6" fmla="*/ 348224 w 623796"/>
                      <a:gd name="connsiteY6" fmla="*/ 105219 h 325676"/>
                      <a:gd name="connsiteX7" fmla="*/ 295614 w 623796"/>
                      <a:gd name="connsiteY7" fmla="*/ 97703 h 325676"/>
                      <a:gd name="connsiteX8" fmla="*/ 283088 w 623796"/>
                      <a:gd name="connsiteY8" fmla="*/ 87682 h 325676"/>
                      <a:gd name="connsiteX9" fmla="*/ 260541 w 623796"/>
                      <a:gd name="connsiteY9" fmla="*/ 62630 h 325676"/>
                      <a:gd name="connsiteX10" fmla="*/ 220458 w 623796"/>
                      <a:gd name="connsiteY10" fmla="*/ 57620 h 325676"/>
                      <a:gd name="connsiteX11" fmla="*/ 150312 w 623796"/>
                      <a:gd name="connsiteY11" fmla="*/ 47599 h 325676"/>
                      <a:gd name="connsiteX12" fmla="*/ 75156 w 623796"/>
                      <a:gd name="connsiteY12" fmla="*/ 20042 h 325676"/>
                      <a:gd name="connsiteX13" fmla="*/ 35073 w 623796"/>
                      <a:gd name="connsiteY13" fmla="*/ 15031 h 325676"/>
                      <a:gd name="connsiteX14" fmla="*/ 0 w 623796"/>
                      <a:gd name="connsiteY14" fmla="*/ 0 h 325676"/>
                      <a:gd name="connsiteX0" fmla="*/ 588723 w 597072"/>
                      <a:gd name="connsiteY0" fmla="*/ 255531 h 255531"/>
                      <a:gd name="connsiteX1" fmla="*/ 596240 w 597072"/>
                      <a:gd name="connsiteY1" fmla="*/ 212942 h 255531"/>
                      <a:gd name="connsiteX2" fmla="*/ 571188 w 597072"/>
                      <a:gd name="connsiteY2" fmla="*/ 172860 h 255531"/>
                      <a:gd name="connsiteX3" fmla="*/ 513567 w 597072"/>
                      <a:gd name="connsiteY3" fmla="*/ 142797 h 255531"/>
                      <a:gd name="connsiteX4" fmla="*/ 443421 w 597072"/>
                      <a:gd name="connsiteY4" fmla="*/ 120250 h 255531"/>
                      <a:gd name="connsiteX5" fmla="*/ 398328 w 597072"/>
                      <a:gd name="connsiteY5" fmla="*/ 112734 h 255531"/>
                      <a:gd name="connsiteX6" fmla="*/ 348224 w 597072"/>
                      <a:gd name="connsiteY6" fmla="*/ 105219 h 255531"/>
                      <a:gd name="connsiteX7" fmla="*/ 295614 w 597072"/>
                      <a:gd name="connsiteY7" fmla="*/ 97703 h 255531"/>
                      <a:gd name="connsiteX8" fmla="*/ 283088 w 597072"/>
                      <a:gd name="connsiteY8" fmla="*/ 87682 h 255531"/>
                      <a:gd name="connsiteX9" fmla="*/ 260541 w 597072"/>
                      <a:gd name="connsiteY9" fmla="*/ 62630 h 255531"/>
                      <a:gd name="connsiteX10" fmla="*/ 220458 w 597072"/>
                      <a:gd name="connsiteY10" fmla="*/ 57620 h 255531"/>
                      <a:gd name="connsiteX11" fmla="*/ 150312 w 597072"/>
                      <a:gd name="connsiteY11" fmla="*/ 47599 h 255531"/>
                      <a:gd name="connsiteX12" fmla="*/ 75156 w 597072"/>
                      <a:gd name="connsiteY12" fmla="*/ 20042 h 255531"/>
                      <a:gd name="connsiteX13" fmla="*/ 35073 w 597072"/>
                      <a:gd name="connsiteY13" fmla="*/ 15031 h 255531"/>
                      <a:gd name="connsiteX14" fmla="*/ 0 w 597072"/>
                      <a:gd name="connsiteY14" fmla="*/ 0 h 255531"/>
                      <a:gd name="connsiteX0" fmla="*/ 588723 w 604318"/>
                      <a:gd name="connsiteY0" fmla="*/ 255531 h 255531"/>
                      <a:gd name="connsiteX1" fmla="*/ 603756 w 604318"/>
                      <a:gd name="connsiteY1" fmla="*/ 202921 h 255531"/>
                      <a:gd name="connsiteX2" fmla="*/ 571188 w 604318"/>
                      <a:gd name="connsiteY2" fmla="*/ 172860 h 255531"/>
                      <a:gd name="connsiteX3" fmla="*/ 513567 w 604318"/>
                      <a:gd name="connsiteY3" fmla="*/ 142797 h 255531"/>
                      <a:gd name="connsiteX4" fmla="*/ 443421 w 604318"/>
                      <a:gd name="connsiteY4" fmla="*/ 120250 h 255531"/>
                      <a:gd name="connsiteX5" fmla="*/ 398328 w 604318"/>
                      <a:gd name="connsiteY5" fmla="*/ 112734 h 255531"/>
                      <a:gd name="connsiteX6" fmla="*/ 348224 w 604318"/>
                      <a:gd name="connsiteY6" fmla="*/ 105219 h 255531"/>
                      <a:gd name="connsiteX7" fmla="*/ 295614 w 604318"/>
                      <a:gd name="connsiteY7" fmla="*/ 97703 h 255531"/>
                      <a:gd name="connsiteX8" fmla="*/ 283088 w 604318"/>
                      <a:gd name="connsiteY8" fmla="*/ 87682 h 255531"/>
                      <a:gd name="connsiteX9" fmla="*/ 260541 w 604318"/>
                      <a:gd name="connsiteY9" fmla="*/ 62630 h 255531"/>
                      <a:gd name="connsiteX10" fmla="*/ 220458 w 604318"/>
                      <a:gd name="connsiteY10" fmla="*/ 57620 h 255531"/>
                      <a:gd name="connsiteX11" fmla="*/ 150312 w 604318"/>
                      <a:gd name="connsiteY11" fmla="*/ 47599 h 255531"/>
                      <a:gd name="connsiteX12" fmla="*/ 75156 w 604318"/>
                      <a:gd name="connsiteY12" fmla="*/ 20042 h 255531"/>
                      <a:gd name="connsiteX13" fmla="*/ 35073 w 604318"/>
                      <a:gd name="connsiteY13" fmla="*/ 15031 h 255531"/>
                      <a:gd name="connsiteX14" fmla="*/ 0 w 604318"/>
                      <a:gd name="connsiteY14" fmla="*/ 0 h 255531"/>
                      <a:gd name="connsiteX0" fmla="*/ 571187 w 604076"/>
                      <a:gd name="connsiteY0" fmla="*/ 243005 h 243005"/>
                      <a:gd name="connsiteX1" fmla="*/ 603756 w 604076"/>
                      <a:gd name="connsiteY1" fmla="*/ 202921 h 243005"/>
                      <a:gd name="connsiteX2" fmla="*/ 571188 w 604076"/>
                      <a:gd name="connsiteY2" fmla="*/ 172860 h 243005"/>
                      <a:gd name="connsiteX3" fmla="*/ 513567 w 604076"/>
                      <a:gd name="connsiteY3" fmla="*/ 142797 h 243005"/>
                      <a:gd name="connsiteX4" fmla="*/ 443421 w 604076"/>
                      <a:gd name="connsiteY4" fmla="*/ 120250 h 243005"/>
                      <a:gd name="connsiteX5" fmla="*/ 398328 w 604076"/>
                      <a:gd name="connsiteY5" fmla="*/ 112734 h 243005"/>
                      <a:gd name="connsiteX6" fmla="*/ 348224 w 604076"/>
                      <a:gd name="connsiteY6" fmla="*/ 105219 h 243005"/>
                      <a:gd name="connsiteX7" fmla="*/ 295614 w 604076"/>
                      <a:gd name="connsiteY7" fmla="*/ 97703 h 243005"/>
                      <a:gd name="connsiteX8" fmla="*/ 283088 w 604076"/>
                      <a:gd name="connsiteY8" fmla="*/ 87682 h 243005"/>
                      <a:gd name="connsiteX9" fmla="*/ 260541 w 604076"/>
                      <a:gd name="connsiteY9" fmla="*/ 62630 h 243005"/>
                      <a:gd name="connsiteX10" fmla="*/ 220458 w 604076"/>
                      <a:gd name="connsiteY10" fmla="*/ 57620 h 243005"/>
                      <a:gd name="connsiteX11" fmla="*/ 150312 w 604076"/>
                      <a:gd name="connsiteY11" fmla="*/ 47599 h 243005"/>
                      <a:gd name="connsiteX12" fmla="*/ 75156 w 604076"/>
                      <a:gd name="connsiteY12" fmla="*/ 20042 h 243005"/>
                      <a:gd name="connsiteX13" fmla="*/ 35073 w 604076"/>
                      <a:gd name="connsiteY13" fmla="*/ 15031 h 243005"/>
                      <a:gd name="connsiteX14" fmla="*/ 0 w 604076"/>
                      <a:gd name="connsiteY14" fmla="*/ 0 h 243005"/>
                      <a:gd name="connsiteX0" fmla="*/ 571187 w 603756"/>
                      <a:gd name="connsiteY0" fmla="*/ 243005 h 244159"/>
                      <a:gd name="connsiteX1" fmla="*/ 571186 w 603756"/>
                      <a:gd name="connsiteY1" fmla="*/ 240500 h 244159"/>
                      <a:gd name="connsiteX2" fmla="*/ 603756 w 603756"/>
                      <a:gd name="connsiteY2" fmla="*/ 202921 h 244159"/>
                      <a:gd name="connsiteX3" fmla="*/ 571188 w 603756"/>
                      <a:gd name="connsiteY3" fmla="*/ 172860 h 244159"/>
                      <a:gd name="connsiteX4" fmla="*/ 513567 w 603756"/>
                      <a:gd name="connsiteY4" fmla="*/ 142797 h 244159"/>
                      <a:gd name="connsiteX5" fmla="*/ 443421 w 603756"/>
                      <a:gd name="connsiteY5" fmla="*/ 120250 h 244159"/>
                      <a:gd name="connsiteX6" fmla="*/ 398328 w 603756"/>
                      <a:gd name="connsiteY6" fmla="*/ 112734 h 244159"/>
                      <a:gd name="connsiteX7" fmla="*/ 348224 w 603756"/>
                      <a:gd name="connsiteY7" fmla="*/ 105219 h 244159"/>
                      <a:gd name="connsiteX8" fmla="*/ 295614 w 603756"/>
                      <a:gd name="connsiteY8" fmla="*/ 97703 h 244159"/>
                      <a:gd name="connsiteX9" fmla="*/ 283088 w 603756"/>
                      <a:gd name="connsiteY9" fmla="*/ 87682 h 244159"/>
                      <a:gd name="connsiteX10" fmla="*/ 260541 w 603756"/>
                      <a:gd name="connsiteY10" fmla="*/ 62630 h 244159"/>
                      <a:gd name="connsiteX11" fmla="*/ 220458 w 603756"/>
                      <a:gd name="connsiteY11" fmla="*/ 57620 h 244159"/>
                      <a:gd name="connsiteX12" fmla="*/ 150312 w 603756"/>
                      <a:gd name="connsiteY12" fmla="*/ 47599 h 244159"/>
                      <a:gd name="connsiteX13" fmla="*/ 75156 w 603756"/>
                      <a:gd name="connsiteY13" fmla="*/ 20042 h 244159"/>
                      <a:gd name="connsiteX14" fmla="*/ 35073 w 603756"/>
                      <a:gd name="connsiteY14" fmla="*/ 15031 h 244159"/>
                      <a:gd name="connsiteX15" fmla="*/ 0 w 603756"/>
                      <a:gd name="connsiteY15" fmla="*/ 0 h 244159"/>
                      <a:gd name="connsiteX0" fmla="*/ 571187 w 629452"/>
                      <a:gd name="connsiteY0" fmla="*/ 243005 h 306086"/>
                      <a:gd name="connsiteX1" fmla="*/ 628805 w 629452"/>
                      <a:gd name="connsiteY1" fmla="*/ 305635 h 306086"/>
                      <a:gd name="connsiteX2" fmla="*/ 603756 w 629452"/>
                      <a:gd name="connsiteY2" fmla="*/ 202921 h 306086"/>
                      <a:gd name="connsiteX3" fmla="*/ 571188 w 629452"/>
                      <a:gd name="connsiteY3" fmla="*/ 172860 h 306086"/>
                      <a:gd name="connsiteX4" fmla="*/ 513567 w 629452"/>
                      <a:gd name="connsiteY4" fmla="*/ 142797 h 306086"/>
                      <a:gd name="connsiteX5" fmla="*/ 443421 w 629452"/>
                      <a:gd name="connsiteY5" fmla="*/ 120250 h 306086"/>
                      <a:gd name="connsiteX6" fmla="*/ 398328 w 629452"/>
                      <a:gd name="connsiteY6" fmla="*/ 112734 h 306086"/>
                      <a:gd name="connsiteX7" fmla="*/ 348224 w 629452"/>
                      <a:gd name="connsiteY7" fmla="*/ 105219 h 306086"/>
                      <a:gd name="connsiteX8" fmla="*/ 295614 w 629452"/>
                      <a:gd name="connsiteY8" fmla="*/ 97703 h 306086"/>
                      <a:gd name="connsiteX9" fmla="*/ 283088 w 629452"/>
                      <a:gd name="connsiteY9" fmla="*/ 87682 h 306086"/>
                      <a:gd name="connsiteX10" fmla="*/ 260541 w 629452"/>
                      <a:gd name="connsiteY10" fmla="*/ 62630 h 306086"/>
                      <a:gd name="connsiteX11" fmla="*/ 220458 w 629452"/>
                      <a:gd name="connsiteY11" fmla="*/ 57620 h 306086"/>
                      <a:gd name="connsiteX12" fmla="*/ 150312 w 629452"/>
                      <a:gd name="connsiteY12" fmla="*/ 47599 h 306086"/>
                      <a:gd name="connsiteX13" fmla="*/ 75156 w 629452"/>
                      <a:gd name="connsiteY13" fmla="*/ 20042 h 306086"/>
                      <a:gd name="connsiteX14" fmla="*/ 35073 w 629452"/>
                      <a:gd name="connsiteY14" fmla="*/ 15031 h 306086"/>
                      <a:gd name="connsiteX15" fmla="*/ 0 w 629452"/>
                      <a:gd name="connsiteY15" fmla="*/ 0 h 306086"/>
                      <a:gd name="connsiteX0" fmla="*/ 576197 w 629452"/>
                      <a:gd name="connsiteY0" fmla="*/ 388307 h 388307"/>
                      <a:gd name="connsiteX1" fmla="*/ 628805 w 629452"/>
                      <a:gd name="connsiteY1" fmla="*/ 305635 h 388307"/>
                      <a:gd name="connsiteX2" fmla="*/ 603756 w 629452"/>
                      <a:gd name="connsiteY2" fmla="*/ 202921 h 388307"/>
                      <a:gd name="connsiteX3" fmla="*/ 571188 w 629452"/>
                      <a:gd name="connsiteY3" fmla="*/ 172860 h 388307"/>
                      <a:gd name="connsiteX4" fmla="*/ 513567 w 629452"/>
                      <a:gd name="connsiteY4" fmla="*/ 142797 h 388307"/>
                      <a:gd name="connsiteX5" fmla="*/ 443421 w 629452"/>
                      <a:gd name="connsiteY5" fmla="*/ 120250 h 388307"/>
                      <a:gd name="connsiteX6" fmla="*/ 398328 w 629452"/>
                      <a:gd name="connsiteY6" fmla="*/ 112734 h 388307"/>
                      <a:gd name="connsiteX7" fmla="*/ 348224 w 629452"/>
                      <a:gd name="connsiteY7" fmla="*/ 105219 h 388307"/>
                      <a:gd name="connsiteX8" fmla="*/ 295614 w 629452"/>
                      <a:gd name="connsiteY8" fmla="*/ 97703 h 388307"/>
                      <a:gd name="connsiteX9" fmla="*/ 283088 w 629452"/>
                      <a:gd name="connsiteY9" fmla="*/ 87682 h 388307"/>
                      <a:gd name="connsiteX10" fmla="*/ 260541 w 629452"/>
                      <a:gd name="connsiteY10" fmla="*/ 62630 h 388307"/>
                      <a:gd name="connsiteX11" fmla="*/ 220458 w 629452"/>
                      <a:gd name="connsiteY11" fmla="*/ 57620 h 388307"/>
                      <a:gd name="connsiteX12" fmla="*/ 150312 w 629452"/>
                      <a:gd name="connsiteY12" fmla="*/ 47599 h 388307"/>
                      <a:gd name="connsiteX13" fmla="*/ 75156 w 629452"/>
                      <a:gd name="connsiteY13" fmla="*/ 20042 h 388307"/>
                      <a:gd name="connsiteX14" fmla="*/ 35073 w 629452"/>
                      <a:gd name="connsiteY14" fmla="*/ 15031 h 388307"/>
                      <a:gd name="connsiteX15" fmla="*/ 0 w 629452"/>
                      <a:gd name="connsiteY15" fmla="*/ 0 h 388307"/>
                      <a:gd name="connsiteX0" fmla="*/ 576197 w 603756"/>
                      <a:gd name="connsiteY0" fmla="*/ 388307 h 388307"/>
                      <a:gd name="connsiteX1" fmla="*/ 583711 w 603756"/>
                      <a:gd name="connsiteY1" fmla="*/ 237994 h 388307"/>
                      <a:gd name="connsiteX2" fmla="*/ 603756 w 603756"/>
                      <a:gd name="connsiteY2" fmla="*/ 202921 h 388307"/>
                      <a:gd name="connsiteX3" fmla="*/ 571188 w 603756"/>
                      <a:gd name="connsiteY3" fmla="*/ 172860 h 388307"/>
                      <a:gd name="connsiteX4" fmla="*/ 513567 w 603756"/>
                      <a:gd name="connsiteY4" fmla="*/ 142797 h 388307"/>
                      <a:gd name="connsiteX5" fmla="*/ 443421 w 603756"/>
                      <a:gd name="connsiteY5" fmla="*/ 120250 h 388307"/>
                      <a:gd name="connsiteX6" fmla="*/ 398328 w 603756"/>
                      <a:gd name="connsiteY6" fmla="*/ 112734 h 388307"/>
                      <a:gd name="connsiteX7" fmla="*/ 348224 w 603756"/>
                      <a:gd name="connsiteY7" fmla="*/ 105219 h 388307"/>
                      <a:gd name="connsiteX8" fmla="*/ 295614 w 603756"/>
                      <a:gd name="connsiteY8" fmla="*/ 97703 h 388307"/>
                      <a:gd name="connsiteX9" fmla="*/ 283088 w 603756"/>
                      <a:gd name="connsiteY9" fmla="*/ 87682 h 388307"/>
                      <a:gd name="connsiteX10" fmla="*/ 260541 w 603756"/>
                      <a:gd name="connsiteY10" fmla="*/ 62630 h 388307"/>
                      <a:gd name="connsiteX11" fmla="*/ 220458 w 603756"/>
                      <a:gd name="connsiteY11" fmla="*/ 57620 h 388307"/>
                      <a:gd name="connsiteX12" fmla="*/ 150312 w 603756"/>
                      <a:gd name="connsiteY12" fmla="*/ 47599 h 388307"/>
                      <a:gd name="connsiteX13" fmla="*/ 75156 w 603756"/>
                      <a:gd name="connsiteY13" fmla="*/ 20042 h 388307"/>
                      <a:gd name="connsiteX14" fmla="*/ 35073 w 603756"/>
                      <a:gd name="connsiteY14" fmla="*/ 15031 h 388307"/>
                      <a:gd name="connsiteX15" fmla="*/ 0 w 603756"/>
                      <a:gd name="connsiteY15" fmla="*/ 0 h 388307"/>
                      <a:gd name="connsiteX0" fmla="*/ 616281 w 616281"/>
                      <a:gd name="connsiteY0" fmla="*/ 323171 h 323171"/>
                      <a:gd name="connsiteX1" fmla="*/ 583711 w 616281"/>
                      <a:gd name="connsiteY1" fmla="*/ 237994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3731 w 616281"/>
                      <a:gd name="connsiteY1" fmla="*/ 240499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81205 w 616281"/>
                      <a:gd name="connsiteY1" fmla="*/ 230478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1226 w 616281"/>
                      <a:gd name="connsiteY1" fmla="*/ 232983 h 323171"/>
                      <a:gd name="connsiteX2" fmla="*/ 603756 w 616281"/>
                      <a:gd name="connsiteY2" fmla="*/ 202921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  <a:gd name="connsiteX0" fmla="*/ 616281 w 616281"/>
                      <a:gd name="connsiteY0" fmla="*/ 323171 h 323171"/>
                      <a:gd name="connsiteX1" fmla="*/ 591226 w 616281"/>
                      <a:gd name="connsiteY1" fmla="*/ 232983 h 323171"/>
                      <a:gd name="connsiteX2" fmla="*/ 593735 w 616281"/>
                      <a:gd name="connsiteY2" fmla="*/ 197910 h 323171"/>
                      <a:gd name="connsiteX3" fmla="*/ 571188 w 616281"/>
                      <a:gd name="connsiteY3" fmla="*/ 172860 h 323171"/>
                      <a:gd name="connsiteX4" fmla="*/ 513567 w 616281"/>
                      <a:gd name="connsiteY4" fmla="*/ 142797 h 323171"/>
                      <a:gd name="connsiteX5" fmla="*/ 443421 w 616281"/>
                      <a:gd name="connsiteY5" fmla="*/ 120250 h 323171"/>
                      <a:gd name="connsiteX6" fmla="*/ 398328 w 616281"/>
                      <a:gd name="connsiteY6" fmla="*/ 112734 h 323171"/>
                      <a:gd name="connsiteX7" fmla="*/ 348224 w 616281"/>
                      <a:gd name="connsiteY7" fmla="*/ 105219 h 323171"/>
                      <a:gd name="connsiteX8" fmla="*/ 295614 w 616281"/>
                      <a:gd name="connsiteY8" fmla="*/ 97703 h 323171"/>
                      <a:gd name="connsiteX9" fmla="*/ 283088 w 616281"/>
                      <a:gd name="connsiteY9" fmla="*/ 87682 h 323171"/>
                      <a:gd name="connsiteX10" fmla="*/ 260541 w 616281"/>
                      <a:gd name="connsiteY10" fmla="*/ 62630 h 323171"/>
                      <a:gd name="connsiteX11" fmla="*/ 220458 w 616281"/>
                      <a:gd name="connsiteY11" fmla="*/ 57620 h 323171"/>
                      <a:gd name="connsiteX12" fmla="*/ 150312 w 616281"/>
                      <a:gd name="connsiteY12" fmla="*/ 47599 h 323171"/>
                      <a:gd name="connsiteX13" fmla="*/ 75156 w 616281"/>
                      <a:gd name="connsiteY13" fmla="*/ 20042 h 323171"/>
                      <a:gd name="connsiteX14" fmla="*/ 35073 w 616281"/>
                      <a:gd name="connsiteY14" fmla="*/ 15031 h 323171"/>
                      <a:gd name="connsiteX15" fmla="*/ 0 w 616281"/>
                      <a:gd name="connsiteY15" fmla="*/ 0 h 32317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616281" h="323171">
                        <a:moveTo>
                          <a:pt x="616281" y="323171"/>
                        </a:moveTo>
                        <a:cubicBezTo>
                          <a:pt x="616281" y="322754"/>
                          <a:pt x="585798" y="239664"/>
                          <a:pt x="591226" y="232983"/>
                        </a:cubicBezTo>
                        <a:cubicBezTo>
                          <a:pt x="596654" y="226302"/>
                          <a:pt x="593735" y="209183"/>
                          <a:pt x="593735" y="197910"/>
                        </a:cubicBezTo>
                        <a:cubicBezTo>
                          <a:pt x="593735" y="186637"/>
                          <a:pt x="583714" y="184551"/>
                          <a:pt x="571188" y="172860"/>
                        </a:cubicBezTo>
                        <a:cubicBezTo>
                          <a:pt x="558662" y="161169"/>
                          <a:pt x="534861" y="151565"/>
                          <a:pt x="513567" y="142797"/>
                        </a:cubicBezTo>
                        <a:cubicBezTo>
                          <a:pt x="492273" y="134029"/>
                          <a:pt x="462627" y="125260"/>
                          <a:pt x="443421" y="120250"/>
                        </a:cubicBezTo>
                        <a:cubicBezTo>
                          <a:pt x="424215" y="115240"/>
                          <a:pt x="398328" y="112734"/>
                          <a:pt x="398328" y="112734"/>
                        </a:cubicBezTo>
                        <a:lnTo>
                          <a:pt x="348224" y="105219"/>
                        </a:lnTo>
                        <a:cubicBezTo>
                          <a:pt x="331105" y="102714"/>
                          <a:pt x="306470" y="100626"/>
                          <a:pt x="295614" y="97703"/>
                        </a:cubicBezTo>
                        <a:cubicBezTo>
                          <a:pt x="284758" y="94780"/>
                          <a:pt x="288933" y="93527"/>
                          <a:pt x="283088" y="87682"/>
                        </a:cubicBezTo>
                        <a:cubicBezTo>
                          <a:pt x="277243" y="81837"/>
                          <a:pt x="270979" y="67640"/>
                          <a:pt x="260541" y="62630"/>
                        </a:cubicBezTo>
                        <a:cubicBezTo>
                          <a:pt x="250103" y="57620"/>
                          <a:pt x="220458" y="57620"/>
                          <a:pt x="220458" y="57620"/>
                        </a:cubicBezTo>
                        <a:cubicBezTo>
                          <a:pt x="202087" y="55115"/>
                          <a:pt x="174529" y="53862"/>
                          <a:pt x="150312" y="47599"/>
                        </a:cubicBezTo>
                        <a:cubicBezTo>
                          <a:pt x="126095" y="41336"/>
                          <a:pt x="94362" y="25470"/>
                          <a:pt x="75156" y="20042"/>
                        </a:cubicBezTo>
                        <a:cubicBezTo>
                          <a:pt x="55949" y="14614"/>
                          <a:pt x="47599" y="18371"/>
                          <a:pt x="35073" y="15031"/>
                        </a:cubicBezTo>
                        <a:cubicBezTo>
                          <a:pt x="22547" y="11691"/>
                          <a:pt x="11273" y="5845"/>
                          <a:pt x="0" y="0"/>
                        </a:cubicBez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2" name="Блок-схема: узел 261"/>
                  <p:cNvSpPr/>
                  <p:nvPr/>
                </p:nvSpPr>
                <p:spPr>
                  <a:xfrm>
                    <a:off x="2493608" y="2657598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3" name="Блок-схема: узел 262"/>
                  <p:cNvSpPr/>
                  <p:nvPr/>
                </p:nvSpPr>
                <p:spPr>
                  <a:xfrm>
                    <a:off x="3255197" y="3223905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4" name="Блок-схема: узел 263"/>
                  <p:cNvSpPr/>
                  <p:nvPr/>
                </p:nvSpPr>
                <p:spPr>
                  <a:xfrm>
                    <a:off x="3142263" y="2979067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5" name="Блок-схема: узел 264"/>
                  <p:cNvSpPr/>
                  <p:nvPr/>
                </p:nvSpPr>
                <p:spPr>
                  <a:xfrm>
                    <a:off x="1327787" y="2132911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6" name="Блок-схема: узел 265"/>
                  <p:cNvSpPr/>
                  <p:nvPr/>
                </p:nvSpPr>
                <p:spPr>
                  <a:xfrm>
                    <a:off x="1787980" y="4247354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7" name="Блок-схема: узел 266"/>
                  <p:cNvSpPr/>
                  <p:nvPr/>
                </p:nvSpPr>
                <p:spPr>
                  <a:xfrm>
                    <a:off x="7412200" y="2513075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8" name="Блок-схема: узел 267"/>
                  <p:cNvSpPr/>
                  <p:nvPr/>
                </p:nvSpPr>
                <p:spPr>
                  <a:xfrm>
                    <a:off x="7941083" y="2544312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69" name="Блок-схема: узел 268"/>
                  <p:cNvSpPr/>
                  <p:nvPr/>
                </p:nvSpPr>
                <p:spPr>
                  <a:xfrm>
                    <a:off x="5192721" y="5789513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279111" y="5771223"/>
                    <a:ext cx="468000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Сарыагаш</a:t>
                    </a:r>
                  </a:p>
                </p:txBody>
              </p:sp>
              <p:sp>
                <p:nvSpPr>
                  <p:cNvPr id="271" name="Блок-схема: узел 270"/>
                  <p:cNvSpPr/>
                  <p:nvPr/>
                </p:nvSpPr>
                <p:spPr>
                  <a:xfrm>
                    <a:off x="4896548" y="5163909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2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4452168" y="5152614"/>
                    <a:ext cx="432000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Түркіста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73" name="Блок-схема: узел 272"/>
                  <p:cNvSpPr/>
                  <p:nvPr/>
                </p:nvSpPr>
                <p:spPr>
                  <a:xfrm>
                    <a:off x="5229611" y="5495385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  <a:ln>
                    <a:solidFill>
                      <a:srgbClr val="FF00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4" name="Полилиния 273"/>
                  <p:cNvSpPr/>
                  <p:nvPr/>
                </p:nvSpPr>
                <p:spPr>
                  <a:xfrm>
                    <a:off x="3590925" y="1583531"/>
                    <a:ext cx="385763" cy="304800"/>
                  </a:xfrm>
                  <a:custGeom>
                    <a:avLst/>
                    <a:gdLst>
                      <a:gd name="connsiteX0" fmla="*/ 385763 w 385763"/>
                      <a:gd name="connsiteY0" fmla="*/ 304800 h 304800"/>
                      <a:gd name="connsiteX1" fmla="*/ 350044 w 385763"/>
                      <a:gd name="connsiteY1" fmla="*/ 221457 h 304800"/>
                      <a:gd name="connsiteX2" fmla="*/ 283369 w 385763"/>
                      <a:gd name="connsiteY2" fmla="*/ 159544 h 304800"/>
                      <a:gd name="connsiteX3" fmla="*/ 207169 w 385763"/>
                      <a:gd name="connsiteY3" fmla="*/ 121444 h 304800"/>
                      <a:gd name="connsiteX4" fmla="*/ 154781 w 385763"/>
                      <a:gd name="connsiteY4" fmla="*/ 90488 h 304800"/>
                      <a:gd name="connsiteX5" fmla="*/ 78581 w 385763"/>
                      <a:gd name="connsiteY5" fmla="*/ 85725 h 304800"/>
                      <a:gd name="connsiteX6" fmla="*/ 50006 w 385763"/>
                      <a:gd name="connsiteY6" fmla="*/ 59532 h 304800"/>
                      <a:gd name="connsiteX7" fmla="*/ 28575 w 385763"/>
                      <a:gd name="connsiteY7" fmla="*/ 33338 h 304800"/>
                      <a:gd name="connsiteX8" fmla="*/ 0 w 385763"/>
                      <a:gd name="connsiteY8" fmla="*/ 0 h 304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385763" h="304800">
                        <a:moveTo>
                          <a:pt x="385763" y="304800"/>
                        </a:moveTo>
                        <a:cubicBezTo>
                          <a:pt x="376436" y="275233"/>
                          <a:pt x="367110" y="245666"/>
                          <a:pt x="350044" y="221457"/>
                        </a:cubicBezTo>
                        <a:cubicBezTo>
                          <a:pt x="332978" y="197248"/>
                          <a:pt x="307181" y="176213"/>
                          <a:pt x="283369" y="159544"/>
                        </a:cubicBezTo>
                        <a:cubicBezTo>
                          <a:pt x="259556" y="142875"/>
                          <a:pt x="228600" y="132953"/>
                          <a:pt x="207169" y="121444"/>
                        </a:cubicBezTo>
                        <a:cubicBezTo>
                          <a:pt x="185738" y="109935"/>
                          <a:pt x="176212" y="96441"/>
                          <a:pt x="154781" y="90488"/>
                        </a:cubicBezTo>
                        <a:cubicBezTo>
                          <a:pt x="133350" y="84535"/>
                          <a:pt x="96043" y="90884"/>
                          <a:pt x="78581" y="85725"/>
                        </a:cubicBezTo>
                        <a:cubicBezTo>
                          <a:pt x="61118" y="80566"/>
                          <a:pt x="58340" y="68263"/>
                          <a:pt x="50006" y="59532"/>
                        </a:cubicBezTo>
                        <a:cubicBezTo>
                          <a:pt x="41672" y="50801"/>
                          <a:pt x="36909" y="43260"/>
                          <a:pt x="28575" y="33338"/>
                        </a:cubicBezTo>
                        <a:cubicBezTo>
                          <a:pt x="20241" y="23416"/>
                          <a:pt x="10120" y="11708"/>
                          <a:pt x="0" y="0"/>
                        </a:cubicBezTo>
                      </a:path>
                    </a:pathLst>
                  </a:custGeom>
                  <a:ln w="57150">
                    <a:solidFill>
                      <a:srgbClr val="00B05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75" name="Полилиния 274"/>
                  <p:cNvSpPr/>
                  <p:nvPr/>
                </p:nvSpPr>
                <p:spPr>
                  <a:xfrm>
                    <a:off x="3575311" y="1565560"/>
                    <a:ext cx="1982739" cy="979055"/>
                  </a:xfrm>
                  <a:custGeom>
                    <a:avLst/>
                    <a:gdLst>
                      <a:gd name="connsiteX0" fmla="*/ 1982739 w 1982739"/>
                      <a:gd name="connsiteY0" fmla="*/ 979055 h 979055"/>
                      <a:gd name="connsiteX1" fmla="*/ 1924242 w 1982739"/>
                      <a:gd name="connsiteY1" fmla="*/ 963661 h 979055"/>
                      <a:gd name="connsiteX2" fmla="*/ 1890375 w 1982739"/>
                      <a:gd name="connsiteY2" fmla="*/ 948267 h 979055"/>
                      <a:gd name="connsiteX3" fmla="*/ 1874982 w 1982739"/>
                      <a:gd name="connsiteY3" fmla="*/ 935952 h 979055"/>
                      <a:gd name="connsiteX4" fmla="*/ 1828800 w 1982739"/>
                      <a:gd name="connsiteY4" fmla="*/ 935952 h 979055"/>
                      <a:gd name="connsiteX5" fmla="*/ 1813406 w 1982739"/>
                      <a:gd name="connsiteY5" fmla="*/ 926715 h 979055"/>
                      <a:gd name="connsiteX6" fmla="*/ 1770303 w 1982739"/>
                      <a:gd name="connsiteY6" fmla="*/ 935952 h 979055"/>
                      <a:gd name="connsiteX7" fmla="*/ 1727200 w 1982739"/>
                      <a:gd name="connsiteY7" fmla="*/ 935952 h 979055"/>
                      <a:gd name="connsiteX8" fmla="*/ 1693333 w 1982739"/>
                      <a:gd name="connsiteY8" fmla="*/ 935952 h 979055"/>
                      <a:gd name="connsiteX9" fmla="*/ 1659466 w 1982739"/>
                      <a:gd name="connsiteY9" fmla="*/ 917479 h 979055"/>
                      <a:gd name="connsiteX10" fmla="*/ 1637915 w 1982739"/>
                      <a:gd name="connsiteY10" fmla="*/ 902085 h 979055"/>
                      <a:gd name="connsiteX11" fmla="*/ 1634836 w 1982739"/>
                      <a:gd name="connsiteY11" fmla="*/ 886691 h 979055"/>
                      <a:gd name="connsiteX12" fmla="*/ 1634836 w 1982739"/>
                      <a:gd name="connsiteY12" fmla="*/ 871297 h 979055"/>
                      <a:gd name="connsiteX13" fmla="*/ 1640994 w 1982739"/>
                      <a:gd name="connsiteY13" fmla="*/ 855903 h 979055"/>
                      <a:gd name="connsiteX14" fmla="*/ 1647151 w 1982739"/>
                      <a:gd name="connsiteY14" fmla="*/ 837431 h 979055"/>
                      <a:gd name="connsiteX15" fmla="*/ 1628679 w 1982739"/>
                      <a:gd name="connsiteY15" fmla="*/ 822037 h 979055"/>
                      <a:gd name="connsiteX16" fmla="*/ 1570182 w 1982739"/>
                      <a:gd name="connsiteY16" fmla="*/ 803564 h 979055"/>
                      <a:gd name="connsiteX17" fmla="*/ 1520921 w 1982739"/>
                      <a:gd name="connsiteY17" fmla="*/ 782012 h 979055"/>
                      <a:gd name="connsiteX18" fmla="*/ 1434715 w 1982739"/>
                      <a:gd name="connsiteY18" fmla="*/ 775855 h 979055"/>
                      <a:gd name="connsiteX19" fmla="*/ 1379297 w 1982739"/>
                      <a:gd name="connsiteY19" fmla="*/ 775855 h 979055"/>
                      <a:gd name="connsiteX20" fmla="*/ 1311563 w 1982739"/>
                      <a:gd name="connsiteY20" fmla="*/ 788170 h 979055"/>
                      <a:gd name="connsiteX21" fmla="*/ 1268460 w 1982739"/>
                      <a:gd name="connsiteY21" fmla="*/ 797406 h 979055"/>
                      <a:gd name="connsiteX22" fmla="*/ 1259224 w 1982739"/>
                      <a:gd name="connsiteY22" fmla="*/ 797406 h 979055"/>
                      <a:gd name="connsiteX23" fmla="*/ 1253066 w 1982739"/>
                      <a:gd name="connsiteY23" fmla="*/ 778934 h 979055"/>
                      <a:gd name="connsiteX24" fmla="*/ 1234594 w 1982739"/>
                      <a:gd name="connsiteY24" fmla="*/ 772776 h 979055"/>
                      <a:gd name="connsiteX25" fmla="*/ 1203806 w 1982739"/>
                      <a:gd name="connsiteY25" fmla="*/ 782012 h 979055"/>
                      <a:gd name="connsiteX26" fmla="*/ 1154545 w 1982739"/>
                      <a:gd name="connsiteY26" fmla="*/ 763540 h 979055"/>
                      <a:gd name="connsiteX27" fmla="*/ 1136072 w 1982739"/>
                      <a:gd name="connsiteY27" fmla="*/ 754303 h 979055"/>
                      <a:gd name="connsiteX28" fmla="*/ 1111442 w 1982739"/>
                      <a:gd name="connsiteY28" fmla="*/ 760461 h 979055"/>
                      <a:gd name="connsiteX29" fmla="*/ 1068339 w 1982739"/>
                      <a:gd name="connsiteY29" fmla="*/ 757382 h 979055"/>
                      <a:gd name="connsiteX30" fmla="*/ 1043709 w 1982739"/>
                      <a:gd name="connsiteY30" fmla="*/ 754303 h 979055"/>
                      <a:gd name="connsiteX31" fmla="*/ 1028315 w 1982739"/>
                      <a:gd name="connsiteY31" fmla="*/ 766618 h 979055"/>
                      <a:gd name="connsiteX32" fmla="*/ 1006763 w 1982739"/>
                      <a:gd name="connsiteY32" fmla="*/ 772776 h 979055"/>
                      <a:gd name="connsiteX33" fmla="*/ 975975 w 1982739"/>
                      <a:gd name="connsiteY33" fmla="*/ 751224 h 979055"/>
                      <a:gd name="connsiteX34" fmla="*/ 963660 w 1982739"/>
                      <a:gd name="connsiteY34" fmla="*/ 732752 h 979055"/>
                      <a:gd name="connsiteX35" fmla="*/ 954424 w 1982739"/>
                      <a:gd name="connsiteY35" fmla="*/ 732752 h 979055"/>
                      <a:gd name="connsiteX36" fmla="*/ 948266 w 1982739"/>
                      <a:gd name="connsiteY36" fmla="*/ 748146 h 979055"/>
                      <a:gd name="connsiteX37" fmla="*/ 923636 w 1982739"/>
                      <a:gd name="connsiteY37" fmla="*/ 766618 h 979055"/>
                      <a:gd name="connsiteX38" fmla="*/ 908242 w 1982739"/>
                      <a:gd name="connsiteY38" fmla="*/ 772776 h 979055"/>
                      <a:gd name="connsiteX39" fmla="*/ 908242 w 1982739"/>
                      <a:gd name="connsiteY39" fmla="*/ 757382 h 979055"/>
                      <a:gd name="connsiteX40" fmla="*/ 905163 w 1982739"/>
                      <a:gd name="connsiteY40" fmla="*/ 732752 h 979055"/>
                      <a:gd name="connsiteX41" fmla="*/ 880533 w 1982739"/>
                      <a:gd name="connsiteY41" fmla="*/ 717358 h 979055"/>
                      <a:gd name="connsiteX42" fmla="*/ 852824 w 1982739"/>
                      <a:gd name="connsiteY42" fmla="*/ 711200 h 979055"/>
                      <a:gd name="connsiteX43" fmla="*/ 803563 w 1982739"/>
                      <a:gd name="connsiteY43" fmla="*/ 698885 h 979055"/>
                      <a:gd name="connsiteX44" fmla="*/ 760460 w 1982739"/>
                      <a:gd name="connsiteY44" fmla="*/ 686570 h 979055"/>
                      <a:gd name="connsiteX45" fmla="*/ 723515 w 1982739"/>
                      <a:gd name="connsiteY45" fmla="*/ 668097 h 979055"/>
                      <a:gd name="connsiteX46" fmla="*/ 689648 w 1982739"/>
                      <a:gd name="connsiteY46" fmla="*/ 640388 h 979055"/>
                      <a:gd name="connsiteX47" fmla="*/ 658860 w 1982739"/>
                      <a:gd name="connsiteY47" fmla="*/ 624994 h 979055"/>
                      <a:gd name="connsiteX48" fmla="*/ 628072 w 1982739"/>
                      <a:gd name="connsiteY48" fmla="*/ 624994 h 979055"/>
                      <a:gd name="connsiteX49" fmla="*/ 603442 w 1982739"/>
                      <a:gd name="connsiteY49" fmla="*/ 621915 h 979055"/>
                      <a:gd name="connsiteX50" fmla="*/ 575733 w 1982739"/>
                      <a:gd name="connsiteY50" fmla="*/ 600364 h 979055"/>
                      <a:gd name="connsiteX51" fmla="*/ 551103 w 1982739"/>
                      <a:gd name="connsiteY51" fmla="*/ 591128 h 979055"/>
                      <a:gd name="connsiteX52" fmla="*/ 523394 w 1982739"/>
                      <a:gd name="connsiteY52" fmla="*/ 588049 h 979055"/>
                      <a:gd name="connsiteX53" fmla="*/ 498763 w 1982739"/>
                      <a:gd name="connsiteY53" fmla="*/ 597285 h 979055"/>
                      <a:gd name="connsiteX54" fmla="*/ 489527 w 1982739"/>
                      <a:gd name="connsiteY54" fmla="*/ 597285 h 979055"/>
                      <a:gd name="connsiteX55" fmla="*/ 483369 w 1982739"/>
                      <a:gd name="connsiteY55" fmla="*/ 578812 h 979055"/>
                      <a:gd name="connsiteX56" fmla="*/ 464897 w 1982739"/>
                      <a:gd name="connsiteY56" fmla="*/ 523394 h 979055"/>
                      <a:gd name="connsiteX57" fmla="*/ 464897 w 1982739"/>
                      <a:gd name="connsiteY57" fmla="*/ 504921 h 979055"/>
                      <a:gd name="connsiteX58" fmla="*/ 452582 w 1982739"/>
                      <a:gd name="connsiteY58" fmla="*/ 461818 h 979055"/>
                      <a:gd name="connsiteX59" fmla="*/ 427951 w 1982739"/>
                      <a:gd name="connsiteY59" fmla="*/ 400243 h 979055"/>
                      <a:gd name="connsiteX60" fmla="*/ 403321 w 1982739"/>
                      <a:gd name="connsiteY60" fmla="*/ 338667 h 979055"/>
                      <a:gd name="connsiteX61" fmla="*/ 387927 w 1982739"/>
                      <a:gd name="connsiteY61" fmla="*/ 295564 h 979055"/>
                      <a:gd name="connsiteX62" fmla="*/ 369454 w 1982739"/>
                      <a:gd name="connsiteY62" fmla="*/ 255540 h 979055"/>
                      <a:gd name="connsiteX63" fmla="*/ 344824 w 1982739"/>
                      <a:gd name="connsiteY63" fmla="*/ 215515 h 979055"/>
                      <a:gd name="connsiteX64" fmla="*/ 295563 w 1982739"/>
                      <a:gd name="connsiteY64" fmla="*/ 184728 h 979055"/>
                      <a:gd name="connsiteX65" fmla="*/ 261697 w 1982739"/>
                      <a:gd name="connsiteY65" fmla="*/ 160097 h 979055"/>
                      <a:gd name="connsiteX66" fmla="*/ 218594 w 1982739"/>
                      <a:gd name="connsiteY66" fmla="*/ 132388 h 979055"/>
                      <a:gd name="connsiteX67" fmla="*/ 175491 w 1982739"/>
                      <a:gd name="connsiteY67" fmla="*/ 107758 h 979055"/>
                      <a:gd name="connsiteX68" fmla="*/ 144703 w 1982739"/>
                      <a:gd name="connsiteY68" fmla="*/ 104679 h 979055"/>
                      <a:gd name="connsiteX69" fmla="*/ 104679 w 1982739"/>
                      <a:gd name="connsiteY69" fmla="*/ 104679 h 979055"/>
                      <a:gd name="connsiteX70" fmla="*/ 83127 w 1982739"/>
                      <a:gd name="connsiteY70" fmla="*/ 92364 h 979055"/>
                      <a:gd name="connsiteX71" fmla="*/ 58497 w 1982739"/>
                      <a:gd name="connsiteY71" fmla="*/ 61576 h 979055"/>
                      <a:gd name="connsiteX72" fmla="*/ 40024 w 1982739"/>
                      <a:gd name="connsiteY72" fmla="*/ 40024 h 979055"/>
                      <a:gd name="connsiteX73" fmla="*/ 9236 w 1982739"/>
                      <a:gd name="connsiteY73" fmla="*/ 9237 h 979055"/>
                      <a:gd name="connsiteX74" fmla="*/ 0 w 1982739"/>
                      <a:gd name="connsiteY74" fmla="*/ 0 h 9790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</a:cxnLst>
                    <a:rect l="l" t="t" r="r" b="b"/>
                    <a:pathLst>
                      <a:path w="1982739" h="979055">
                        <a:moveTo>
                          <a:pt x="1982739" y="979055"/>
                        </a:moveTo>
                        <a:cubicBezTo>
                          <a:pt x="1961187" y="973923"/>
                          <a:pt x="1939636" y="968792"/>
                          <a:pt x="1924242" y="963661"/>
                        </a:cubicBezTo>
                        <a:cubicBezTo>
                          <a:pt x="1908848" y="958530"/>
                          <a:pt x="1898585" y="952885"/>
                          <a:pt x="1890375" y="948267"/>
                        </a:cubicBezTo>
                        <a:cubicBezTo>
                          <a:pt x="1882165" y="943649"/>
                          <a:pt x="1885244" y="938004"/>
                          <a:pt x="1874982" y="935952"/>
                        </a:cubicBezTo>
                        <a:cubicBezTo>
                          <a:pt x="1864720" y="933900"/>
                          <a:pt x="1839063" y="937491"/>
                          <a:pt x="1828800" y="935952"/>
                        </a:cubicBezTo>
                        <a:cubicBezTo>
                          <a:pt x="1818537" y="934413"/>
                          <a:pt x="1823155" y="926715"/>
                          <a:pt x="1813406" y="926715"/>
                        </a:cubicBezTo>
                        <a:cubicBezTo>
                          <a:pt x="1803657" y="926715"/>
                          <a:pt x="1784671" y="934412"/>
                          <a:pt x="1770303" y="935952"/>
                        </a:cubicBezTo>
                        <a:cubicBezTo>
                          <a:pt x="1755935" y="937491"/>
                          <a:pt x="1727200" y="935952"/>
                          <a:pt x="1727200" y="935952"/>
                        </a:cubicBezTo>
                        <a:cubicBezTo>
                          <a:pt x="1714372" y="935952"/>
                          <a:pt x="1704622" y="939031"/>
                          <a:pt x="1693333" y="935952"/>
                        </a:cubicBezTo>
                        <a:cubicBezTo>
                          <a:pt x="1682044" y="932873"/>
                          <a:pt x="1668702" y="923123"/>
                          <a:pt x="1659466" y="917479"/>
                        </a:cubicBezTo>
                        <a:cubicBezTo>
                          <a:pt x="1650230" y="911834"/>
                          <a:pt x="1637915" y="902085"/>
                          <a:pt x="1637915" y="902085"/>
                        </a:cubicBezTo>
                        <a:cubicBezTo>
                          <a:pt x="1633810" y="896954"/>
                          <a:pt x="1635349" y="891822"/>
                          <a:pt x="1634836" y="886691"/>
                        </a:cubicBezTo>
                        <a:cubicBezTo>
                          <a:pt x="1634323" y="881560"/>
                          <a:pt x="1633810" y="876428"/>
                          <a:pt x="1634836" y="871297"/>
                        </a:cubicBezTo>
                        <a:cubicBezTo>
                          <a:pt x="1635862" y="866166"/>
                          <a:pt x="1638942" y="861547"/>
                          <a:pt x="1640994" y="855903"/>
                        </a:cubicBezTo>
                        <a:cubicBezTo>
                          <a:pt x="1643046" y="850259"/>
                          <a:pt x="1649203" y="843075"/>
                          <a:pt x="1647151" y="837431"/>
                        </a:cubicBezTo>
                        <a:cubicBezTo>
                          <a:pt x="1645099" y="831787"/>
                          <a:pt x="1641507" y="827681"/>
                          <a:pt x="1628679" y="822037"/>
                        </a:cubicBezTo>
                        <a:cubicBezTo>
                          <a:pt x="1615851" y="816393"/>
                          <a:pt x="1588142" y="810235"/>
                          <a:pt x="1570182" y="803564"/>
                        </a:cubicBezTo>
                        <a:cubicBezTo>
                          <a:pt x="1552222" y="796893"/>
                          <a:pt x="1543499" y="786630"/>
                          <a:pt x="1520921" y="782012"/>
                        </a:cubicBezTo>
                        <a:cubicBezTo>
                          <a:pt x="1498343" y="777394"/>
                          <a:pt x="1458319" y="776881"/>
                          <a:pt x="1434715" y="775855"/>
                        </a:cubicBezTo>
                        <a:cubicBezTo>
                          <a:pt x="1411111" y="774829"/>
                          <a:pt x="1399822" y="773803"/>
                          <a:pt x="1379297" y="775855"/>
                        </a:cubicBezTo>
                        <a:cubicBezTo>
                          <a:pt x="1358772" y="777907"/>
                          <a:pt x="1330036" y="784578"/>
                          <a:pt x="1311563" y="788170"/>
                        </a:cubicBezTo>
                        <a:cubicBezTo>
                          <a:pt x="1293090" y="791762"/>
                          <a:pt x="1268460" y="797406"/>
                          <a:pt x="1268460" y="797406"/>
                        </a:cubicBezTo>
                        <a:cubicBezTo>
                          <a:pt x="1259737" y="798945"/>
                          <a:pt x="1261790" y="800485"/>
                          <a:pt x="1259224" y="797406"/>
                        </a:cubicBezTo>
                        <a:cubicBezTo>
                          <a:pt x="1256658" y="794327"/>
                          <a:pt x="1257171" y="783039"/>
                          <a:pt x="1253066" y="778934"/>
                        </a:cubicBezTo>
                        <a:cubicBezTo>
                          <a:pt x="1248961" y="774829"/>
                          <a:pt x="1242804" y="772263"/>
                          <a:pt x="1234594" y="772776"/>
                        </a:cubicBezTo>
                        <a:cubicBezTo>
                          <a:pt x="1226384" y="773289"/>
                          <a:pt x="1217147" y="783551"/>
                          <a:pt x="1203806" y="782012"/>
                        </a:cubicBezTo>
                        <a:cubicBezTo>
                          <a:pt x="1190465" y="780473"/>
                          <a:pt x="1165834" y="768158"/>
                          <a:pt x="1154545" y="763540"/>
                        </a:cubicBezTo>
                        <a:cubicBezTo>
                          <a:pt x="1143256" y="758922"/>
                          <a:pt x="1143256" y="754816"/>
                          <a:pt x="1136072" y="754303"/>
                        </a:cubicBezTo>
                        <a:cubicBezTo>
                          <a:pt x="1128888" y="753790"/>
                          <a:pt x="1122731" y="759948"/>
                          <a:pt x="1111442" y="760461"/>
                        </a:cubicBezTo>
                        <a:cubicBezTo>
                          <a:pt x="1100153" y="760974"/>
                          <a:pt x="1079628" y="758408"/>
                          <a:pt x="1068339" y="757382"/>
                        </a:cubicBezTo>
                        <a:cubicBezTo>
                          <a:pt x="1057050" y="756356"/>
                          <a:pt x="1050380" y="752764"/>
                          <a:pt x="1043709" y="754303"/>
                        </a:cubicBezTo>
                        <a:cubicBezTo>
                          <a:pt x="1037038" y="755842"/>
                          <a:pt x="1034473" y="763539"/>
                          <a:pt x="1028315" y="766618"/>
                        </a:cubicBezTo>
                        <a:cubicBezTo>
                          <a:pt x="1022157" y="769697"/>
                          <a:pt x="1015486" y="775342"/>
                          <a:pt x="1006763" y="772776"/>
                        </a:cubicBezTo>
                        <a:cubicBezTo>
                          <a:pt x="998040" y="770210"/>
                          <a:pt x="975975" y="751224"/>
                          <a:pt x="975975" y="751224"/>
                        </a:cubicBezTo>
                        <a:cubicBezTo>
                          <a:pt x="968791" y="744553"/>
                          <a:pt x="963660" y="732752"/>
                          <a:pt x="963660" y="732752"/>
                        </a:cubicBezTo>
                        <a:cubicBezTo>
                          <a:pt x="960068" y="729673"/>
                          <a:pt x="956990" y="730186"/>
                          <a:pt x="954424" y="732752"/>
                        </a:cubicBezTo>
                        <a:cubicBezTo>
                          <a:pt x="951858" y="735318"/>
                          <a:pt x="953397" y="742502"/>
                          <a:pt x="948266" y="748146"/>
                        </a:cubicBezTo>
                        <a:cubicBezTo>
                          <a:pt x="943135" y="753790"/>
                          <a:pt x="930307" y="762513"/>
                          <a:pt x="923636" y="766618"/>
                        </a:cubicBezTo>
                        <a:cubicBezTo>
                          <a:pt x="916965" y="770723"/>
                          <a:pt x="908242" y="772776"/>
                          <a:pt x="908242" y="772776"/>
                        </a:cubicBezTo>
                        <a:cubicBezTo>
                          <a:pt x="905676" y="771237"/>
                          <a:pt x="908755" y="764053"/>
                          <a:pt x="908242" y="757382"/>
                        </a:cubicBezTo>
                        <a:cubicBezTo>
                          <a:pt x="907729" y="750711"/>
                          <a:pt x="905163" y="732752"/>
                          <a:pt x="905163" y="732752"/>
                        </a:cubicBezTo>
                        <a:cubicBezTo>
                          <a:pt x="900545" y="726081"/>
                          <a:pt x="889256" y="720950"/>
                          <a:pt x="880533" y="717358"/>
                        </a:cubicBezTo>
                        <a:cubicBezTo>
                          <a:pt x="871810" y="713766"/>
                          <a:pt x="852824" y="711200"/>
                          <a:pt x="852824" y="711200"/>
                        </a:cubicBezTo>
                        <a:lnTo>
                          <a:pt x="803563" y="698885"/>
                        </a:lnTo>
                        <a:cubicBezTo>
                          <a:pt x="788169" y="694780"/>
                          <a:pt x="773801" y="691701"/>
                          <a:pt x="760460" y="686570"/>
                        </a:cubicBezTo>
                        <a:cubicBezTo>
                          <a:pt x="747119" y="681439"/>
                          <a:pt x="735317" y="675794"/>
                          <a:pt x="723515" y="668097"/>
                        </a:cubicBezTo>
                        <a:cubicBezTo>
                          <a:pt x="711713" y="660400"/>
                          <a:pt x="700424" y="647572"/>
                          <a:pt x="689648" y="640388"/>
                        </a:cubicBezTo>
                        <a:cubicBezTo>
                          <a:pt x="678872" y="633204"/>
                          <a:pt x="669123" y="627560"/>
                          <a:pt x="658860" y="624994"/>
                        </a:cubicBezTo>
                        <a:cubicBezTo>
                          <a:pt x="648597" y="622428"/>
                          <a:pt x="637308" y="625507"/>
                          <a:pt x="628072" y="624994"/>
                        </a:cubicBezTo>
                        <a:cubicBezTo>
                          <a:pt x="618836" y="624481"/>
                          <a:pt x="612165" y="626020"/>
                          <a:pt x="603442" y="621915"/>
                        </a:cubicBezTo>
                        <a:cubicBezTo>
                          <a:pt x="594719" y="617810"/>
                          <a:pt x="584456" y="605495"/>
                          <a:pt x="575733" y="600364"/>
                        </a:cubicBezTo>
                        <a:cubicBezTo>
                          <a:pt x="567010" y="595233"/>
                          <a:pt x="559826" y="593181"/>
                          <a:pt x="551103" y="591128"/>
                        </a:cubicBezTo>
                        <a:cubicBezTo>
                          <a:pt x="542380" y="589075"/>
                          <a:pt x="532117" y="587023"/>
                          <a:pt x="523394" y="588049"/>
                        </a:cubicBezTo>
                        <a:cubicBezTo>
                          <a:pt x="514671" y="589075"/>
                          <a:pt x="498763" y="597285"/>
                          <a:pt x="498763" y="597285"/>
                        </a:cubicBezTo>
                        <a:cubicBezTo>
                          <a:pt x="493118" y="598824"/>
                          <a:pt x="492093" y="600364"/>
                          <a:pt x="489527" y="597285"/>
                        </a:cubicBezTo>
                        <a:cubicBezTo>
                          <a:pt x="486961" y="594206"/>
                          <a:pt x="483369" y="578812"/>
                          <a:pt x="483369" y="578812"/>
                        </a:cubicBezTo>
                        <a:cubicBezTo>
                          <a:pt x="479264" y="566497"/>
                          <a:pt x="467976" y="535709"/>
                          <a:pt x="464897" y="523394"/>
                        </a:cubicBezTo>
                        <a:cubicBezTo>
                          <a:pt x="461818" y="511079"/>
                          <a:pt x="466949" y="515184"/>
                          <a:pt x="464897" y="504921"/>
                        </a:cubicBezTo>
                        <a:cubicBezTo>
                          <a:pt x="462845" y="494658"/>
                          <a:pt x="458740" y="479264"/>
                          <a:pt x="452582" y="461818"/>
                        </a:cubicBezTo>
                        <a:cubicBezTo>
                          <a:pt x="446424" y="444372"/>
                          <a:pt x="427951" y="400243"/>
                          <a:pt x="427951" y="400243"/>
                        </a:cubicBezTo>
                        <a:cubicBezTo>
                          <a:pt x="419741" y="379718"/>
                          <a:pt x="409992" y="356113"/>
                          <a:pt x="403321" y="338667"/>
                        </a:cubicBezTo>
                        <a:cubicBezTo>
                          <a:pt x="396650" y="321221"/>
                          <a:pt x="393571" y="309418"/>
                          <a:pt x="387927" y="295564"/>
                        </a:cubicBezTo>
                        <a:cubicBezTo>
                          <a:pt x="382282" y="281709"/>
                          <a:pt x="376638" y="268881"/>
                          <a:pt x="369454" y="255540"/>
                        </a:cubicBezTo>
                        <a:cubicBezTo>
                          <a:pt x="362270" y="242199"/>
                          <a:pt x="357139" y="227317"/>
                          <a:pt x="344824" y="215515"/>
                        </a:cubicBezTo>
                        <a:cubicBezTo>
                          <a:pt x="332509" y="203713"/>
                          <a:pt x="309417" y="193964"/>
                          <a:pt x="295563" y="184728"/>
                        </a:cubicBezTo>
                        <a:cubicBezTo>
                          <a:pt x="281708" y="175492"/>
                          <a:pt x="274525" y="168820"/>
                          <a:pt x="261697" y="160097"/>
                        </a:cubicBezTo>
                        <a:cubicBezTo>
                          <a:pt x="248869" y="151374"/>
                          <a:pt x="232962" y="141111"/>
                          <a:pt x="218594" y="132388"/>
                        </a:cubicBezTo>
                        <a:cubicBezTo>
                          <a:pt x="204226" y="123665"/>
                          <a:pt x="187806" y="112376"/>
                          <a:pt x="175491" y="107758"/>
                        </a:cubicBezTo>
                        <a:cubicBezTo>
                          <a:pt x="163176" y="103140"/>
                          <a:pt x="156505" y="105192"/>
                          <a:pt x="144703" y="104679"/>
                        </a:cubicBezTo>
                        <a:cubicBezTo>
                          <a:pt x="132901" y="104166"/>
                          <a:pt x="114942" y="106731"/>
                          <a:pt x="104679" y="104679"/>
                        </a:cubicBezTo>
                        <a:cubicBezTo>
                          <a:pt x="94416" y="102627"/>
                          <a:pt x="90824" y="99548"/>
                          <a:pt x="83127" y="92364"/>
                        </a:cubicBezTo>
                        <a:cubicBezTo>
                          <a:pt x="75430" y="85180"/>
                          <a:pt x="65681" y="70299"/>
                          <a:pt x="58497" y="61576"/>
                        </a:cubicBezTo>
                        <a:cubicBezTo>
                          <a:pt x="51313" y="52853"/>
                          <a:pt x="48234" y="48747"/>
                          <a:pt x="40024" y="40024"/>
                        </a:cubicBezTo>
                        <a:cubicBezTo>
                          <a:pt x="31814" y="31301"/>
                          <a:pt x="9236" y="9237"/>
                          <a:pt x="9236" y="9237"/>
                        </a:cubicBezTo>
                        <a:lnTo>
                          <a:pt x="0" y="0"/>
                        </a:lnTo>
                      </a:path>
                    </a:pathLst>
                  </a:custGeom>
                  <a:noFill/>
                  <a:ln w="9525">
                    <a:solidFill>
                      <a:schemeClr val="bg1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6" name="Блок-схема: узел 275"/>
                  <p:cNvSpPr/>
                  <p:nvPr/>
                </p:nvSpPr>
                <p:spPr>
                  <a:xfrm>
                    <a:off x="3927275" y="1846761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7" name="Блок-схема: узел 276"/>
                  <p:cNvSpPr/>
                  <p:nvPr/>
                </p:nvSpPr>
                <p:spPr>
                  <a:xfrm>
                    <a:off x="5525953" y="2494043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  <a:ln>
                    <a:solidFill>
                      <a:srgbClr val="0045DE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8" name="Блок-схема: узел 277"/>
                  <p:cNvSpPr/>
                  <p:nvPr/>
                </p:nvSpPr>
                <p:spPr>
                  <a:xfrm>
                    <a:off x="4870642" y="2308840"/>
                    <a:ext cx="74333" cy="70655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79" name="Блок-схема: узел 278"/>
                  <p:cNvSpPr/>
                  <p:nvPr/>
                </p:nvSpPr>
                <p:spPr>
                  <a:xfrm>
                    <a:off x="6601118" y="1985989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8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3496810" y="1759045"/>
                    <a:ext cx="425455" cy="109872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останай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81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650898" y="2478081"/>
                    <a:ext cx="828249" cy="153515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/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/>
                    <a:r>
                      <a:rPr lang="ru-RU" sz="10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АСТАНА</a:t>
                    </a:r>
                  </a:p>
                </p:txBody>
              </p:sp>
              <p:sp>
                <p:nvSpPr>
                  <p:cNvPr id="300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4197641" y="3723540"/>
                    <a:ext cx="523637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Жезқазган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32" name="Блок-схема: узел 231"/>
                  <p:cNvSpPr/>
                  <p:nvPr/>
                </p:nvSpPr>
                <p:spPr>
                  <a:xfrm>
                    <a:off x="4251950" y="4645143"/>
                    <a:ext cx="91399" cy="87283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  <p:sp>
                <p:nvSpPr>
                  <p:cNvPr id="25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1386820" y="2230578"/>
                    <a:ext cx="357026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Орал</a:t>
                    </a:r>
                  </a:p>
                </p:txBody>
              </p:sp>
              <p:sp>
                <p:nvSpPr>
                  <p:cNvPr id="237" name="AutoShape 19"/>
                  <p:cNvSpPr>
                    <a:spLocks noChangeArrowheads="1"/>
                  </p:cNvSpPr>
                  <p:nvPr/>
                </p:nvSpPr>
                <p:spPr bwMode="auto">
                  <a:xfrm>
                    <a:off x="5983309" y="3075520"/>
                    <a:ext cx="504001" cy="109873"/>
                  </a:xfrm>
                  <a:prstGeom prst="roundRect">
                    <a:avLst>
                      <a:gd name="adj" fmla="val 16667"/>
                    </a:avLst>
                  </a:prstGeom>
                  <a:solidFill>
                    <a:srgbClr val="FFFFFF">
                      <a:alpha val="87843"/>
                    </a:srgbClr>
                  </a:solidFill>
                  <a:ln w="3175">
                    <a:noFill/>
                  </a:ln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8000" tIns="36000" rIns="18000" bIns="36000" anchor="ctr"/>
                  <a:lstStyle/>
                  <a:p>
                    <a:pPr algn="ctr" defTabSz="1217400">
                      <a:defRPr/>
                    </a:pPr>
                    <a:r>
                      <a:rPr lang="ru-RU" sz="500" dirty="0" err="1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  <a:latin typeface="Franklin Gothic Medium Cond" pitchFamily="34" charset="0"/>
                        <a:cs typeface="Arial" pitchFamily="34" charset="0"/>
                      </a:rPr>
                      <a:t>Қараганды</a:t>
                    </a:r>
                    <a:endParaRPr lang="ru-RU" sz="500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Franklin Gothic Medium Cond" pitchFamily="34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243" name="Блок-схема: узел 242"/>
                  <p:cNvSpPr/>
                  <p:nvPr/>
                </p:nvSpPr>
                <p:spPr>
                  <a:xfrm>
                    <a:off x="5918201" y="2933890"/>
                    <a:ext cx="129857" cy="139754"/>
                  </a:xfrm>
                  <a:prstGeom prst="flowChartConnector">
                    <a:avLst/>
                  </a:prstGeom>
                  <a:solidFill>
                    <a:schemeClr val="accent4">
                      <a:lumMod val="60000"/>
                      <a:lumOff val="40000"/>
                    </a:schemeClr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7400"/>
                    <a:endParaRPr lang="ru-RU" sz="1200">
                      <a:solidFill>
                        <a:prstClr val="white"/>
                      </a:solidFill>
                    </a:endParaRPr>
                  </a:p>
                </p:txBody>
              </p:sp>
            </p:grpSp>
            <p:sp>
              <p:nvSpPr>
                <p:cNvPr id="23" name="Блок-схема: узел 22"/>
                <p:cNvSpPr/>
                <p:nvPr/>
              </p:nvSpPr>
              <p:spPr bwMode="auto">
                <a:xfrm>
                  <a:off x="6935183" y="1263701"/>
                  <a:ext cx="110450" cy="90784"/>
                </a:xfrm>
                <a:prstGeom prst="flowChartConnector">
                  <a:avLst/>
                </a:prstGeom>
                <a:solidFill>
                  <a:srgbClr val="FF0000"/>
                </a:solidFill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929055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ru-RU" sz="140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3" name="Полилиния 2"/>
              <p:cNvSpPr/>
              <p:nvPr/>
            </p:nvSpPr>
            <p:spPr>
              <a:xfrm>
                <a:off x="5957793" y="1907381"/>
                <a:ext cx="1071657" cy="1031082"/>
              </a:xfrm>
              <a:custGeom>
                <a:avLst/>
                <a:gdLst>
                  <a:gd name="connsiteX0" fmla="*/ 95 w 1071657"/>
                  <a:gd name="connsiteY0" fmla="*/ 1031082 h 1031082"/>
                  <a:gd name="connsiteX1" fmla="*/ 26288 w 1071657"/>
                  <a:gd name="connsiteY1" fmla="*/ 945357 h 1031082"/>
                  <a:gd name="connsiteX2" fmla="*/ 162020 w 1071657"/>
                  <a:gd name="connsiteY2" fmla="*/ 854869 h 1031082"/>
                  <a:gd name="connsiteX3" fmla="*/ 219170 w 1071657"/>
                  <a:gd name="connsiteY3" fmla="*/ 764382 h 1031082"/>
                  <a:gd name="connsiteX4" fmla="*/ 252507 w 1071657"/>
                  <a:gd name="connsiteY4" fmla="*/ 659607 h 1031082"/>
                  <a:gd name="connsiteX5" fmla="*/ 321563 w 1071657"/>
                  <a:gd name="connsiteY5" fmla="*/ 576263 h 1031082"/>
                  <a:gd name="connsiteX6" fmla="*/ 345376 w 1071657"/>
                  <a:gd name="connsiteY6" fmla="*/ 440532 h 1031082"/>
                  <a:gd name="connsiteX7" fmla="*/ 416813 w 1071657"/>
                  <a:gd name="connsiteY7" fmla="*/ 352425 h 1031082"/>
                  <a:gd name="connsiteX8" fmla="*/ 626363 w 1071657"/>
                  <a:gd name="connsiteY8" fmla="*/ 321469 h 1031082"/>
                  <a:gd name="connsiteX9" fmla="*/ 743045 w 1071657"/>
                  <a:gd name="connsiteY9" fmla="*/ 273844 h 1031082"/>
                  <a:gd name="connsiteX10" fmla="*/ 904970 w 1071657"/>
                  <a:gd name="connsiteY10" fmla="*/ 228600 h 1031082"/>
                  <a:gd name="connsiteX11" fmla="*/ 1002601 w 1071657"/>
                  <a:gd name="connsiteY11" fmla="*/ 219075 h 1031082"/>
                  <a:gd name="connsiteX12" fmla="*/ 1026413 w 1071657"/>
                  <a:gd name="connsiteY12" fmla="*/ 88107 h 1031082"/>
                  <a:gd name="connsiteX13" fmla="*/ 1071657 w 1071657"/>
                  <a:gd name="connsiteY13" fmla="*/ 0 h 1031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71657" h="1031082">
                    <a:moveTo>
                      <a:pt x="95" y="1031082"/>
                    </a:moveTo>
                    <a:cubicBezTo>
                      <a:pt x="-303" y="1002904"/>
                      <a:pt x="-700" y="974726"/>
                      <a:pt x="26288" y="945357"/>
                    </a:cubicBezTo>
                    <a:cubicBezTo>
                      <a:pt x="53276" y="915988"/>
                      <a:pt x="129873" y="885031"/>
                      <a:pt x="162020" y="854869"/>
                    </a:cubicBezTo>
                    <a:cubicBezTo>
                      <a:pt x="194167" y="824706"/>
                      <a:pt x="204089" y="796926"/>
                      <a:pt x="219170" y="764382"/>
                    </a:cubicBezTo>
                    <a:cubicBezTo>
                      <a:pt x="234251" y="731838"/>
                      <a:pt x="235442" y="690960"/>
                      <a:pt x="252507" y="659607"/>
                    </a:cubicBezTo>
                    <a:cubicBezTo>
                      <a:pt x="269572" y="628254"/>
                      <a:pt x="306085" y="612775"/>
                      <a:pt x="321563" y="576263"/>
                    </a:cubicBezTo>
                    <a:cubicBezTo>
                      <a:pt x="337041" y="539751"/>
                      <a:pt x="329501" y="477838"/>
                      <a:pt x="345376" y="440532"/>
                    </a:cubicBezTo>
                    <a:cubicBezTo>
                      <a:pt x="361251" y="403226"/>
                      <a:pt x="369982" y="372269"/>
                      <a:pt x="416813" y="352425"/>
                    </a:cubicBezTo>
                    <a:cubicBezTo>
                      <a:pt x="463644" y="332581"/>
                      <a:pt x="571991" y="334566"/>
                      <a:pt x="626363" y="321469"/>
                    </a:cubicBezTo>
                    <a:cubicBezTo>
                      <a:pt x="680735" y="308372"/>
                      <a:pt x="696611" y="289322"/>
                      <a:pt x="743045" y="273844"/>
                    </a:cubicBezTo>
                    <a:cubicBezTo>
                      <a:pt x="789479" y="258366"/>
                      <a:pt x="861711" y="237728"/>
                      <a:pt x="904970" y="228600"/>
                    </a:cubicBezTo>
                    <a:cubicBezTo>
                      <a:pt x="948229" y="219472"/>
                      <a:pt x="982361" y="242490"/>
                      <a:pt x="1002601" y="219075"/>
                    </a:cubicBezTo>
                    <a:cubicBezTo>
                      <a:pt x="1022841" y="195660"/>
                      <a:pt x="1014904" y="124619"/>
                      <a:pt x="1026413" y="88107"/>
                    </a:cubicBezTo>
                    <a:cubicBezTo>
                      <a:pt x="1037922" y="51595"/>
                      <a:pt x="1054789" y="25797"/>
                      <a:pt x="1071657" y="0"/>
                    </a:cubicBezTo>
                  </a:path>
                </a:pathLst>
              </a:custGeom>
              <a:ln w="53975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defTabSz="1217400"/>
                <a:endParaRPr lang="ru-RU" sz="1200">
                  <a:solidFill>
                    <a:prstClr val="black"/>
                  </a:solidFill>
                </a:endParaRPr>
              </a:p>
            </p:txBody>
          </p:sp>
          <p:sp>
            <p:nvSpPr>
              <p:cNvPr id="6" name="Полилиния 5"/>
              <p:cNvSpPr/>
              <p:nvPr/>
            </p:nvSpPr>
            <p:spPr>
              <a:xfrm>
                <a:off x="3896207" y="1354931"/>
                <a:ext cx="142393" cy="814388"/>
              </a:xfrm>
              <a:custGeom>
                <a:avLst/>
                <a:gdLst>
                  <a:gd name="connsiteX0" fmla="*/ 30474 w 142393"/>
                  <a:gd name="connsiteY0" fmla="*/ 814388 h 814388"/>
                  <a:gd name="connsiteX1" fmla="*/ 9043 w 142393"/>
                  <a:gd name="connsiteY1" fmla="*/ 719138 h 814388"/>
                  <a:gd name="connsiteX2" fmla="*/ 1899 w 142393"/>
                  <a:gd name="connsiteY2" fmla="*/ 531019 h 814388"/>
                  <a:gd name="connsiteX3" fmla="*/ 42381 w 142393"/>
                  <a:gd name="connsiteY3" fmla="*/ 240507 h 814388"/>
                  <a:gd name="connsiteX4" fmla="*/ 120962 w 142393"/>
                  <a:gd name="connsiteY4" fmla="*/ 111919 h 814388"/>
                  <a:gd name="connsiteX5" fmla="*/ 142393 w 142393"/>
                  <a:gd name="connsiteY5" fmla="*/ 0 h 81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393" h="814388">
                    <a:moveTo>
                      <a:pt x="30474" y="814388"/>
                    </a:moveTo>
                    <a:cubicBezTo>
                      <a:pt x="22139" y="790377"/>
                      <a:pt x="13805" y="766366"/>
                      <a:pt x="9043" y="719138"/>
                    </a:cubicBezTo>
                    <a:cubicBezTo>
                      <a:pt x="4281" y="671910"/>
                      <a:pt x="-3657" y="610791"/>
                      <a:pt x="1899" y="531019"/>
                    </a:cubicBezTo>
                    <a:cubicBezTo>
                      <a:pt x="7455" y="451247"/>
                      <a:pt x="22537" y="310357"/>
                      <a:pt x="42381" y="240507"/>
                    </a:cubicBezTo>
                    <a:cubicBezTo>
                      <a:pt x="62225" y="170657"/>
                      <a:pt x="104293" y="152003"/>
                      <a:pt x="120962" y="111919"/>
                    </a:cubicBezTo>
                    <a:cubicBezTo>
                      <a:pt x="137631" y="71835"/>
                      <a:pt x="140012" y="35917"/>
                      <a:pt x="142393" y="0"/>
                    </a:cubicBezTo>
                  </a:path>
                </a:pathLst>
              </a:custGeom>
              <a:ln w="635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5" name="Полилиния 304"/>
              <p:cNvSpPr/>
              <p:nvPr/>
            </p:nvSpPr>
            <p:spPr>
              <a:xfrm>
                <a:off x="3896979" y="1347614"/>
                <a:ext cx="142393" cy="814388"/>
              </a:xfrm>
              <a:custGeom>
                <a:avLst/>
                <a:gdLst>
                  <a:gd name="connsiteX0" fmla="*/ 30474 w 142393"/>
                  <a:gd name="connsiteY0" fmla="*/ 814388 h 814388"/>
                  <a:gd name="connsiteX1" fmla="*/ 9043 w 142393"/>
                  <a:gd name="connsiteY1" fmla="*/ 719138 h 814388"/>
                  <a:gd name="connsiteX2" fmla="*/ 1899 w 142393"/>
                  <a:gd name="connsiteY2" fmla="*/ 531019 h 814388"/>
                  <a:gd name="connsiteX3" fmla="*/ 42381 w 142393"/>
                  <a:gd name="connsiteY3" fmla="*/ 240507 h 814388"/>
                  <a:gd name="connsiteX4" fmla="*/ 120962 w 142393"/>
                  <a:gd name="connsiteY4" fmla="*/ 111919 h 814388"/>
                  <a:gd name="connsiteX5" fmla="*/ 142393 w 142393"/>
                  <a:gd name="connsiteY5" fmla="*/ 0 h 8143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42393" h="814388">
                    <a:moveTo>
                      <a:pt x="30474" y="814388"/>
                    </a:moveTo>
                    <a:cubicBezTo>
                      <a:pt x="22139" y="790377"/>
                      <a:pt x="13805" y="766366"/>
                      <a:pt x="9043" y="719138"/>
                    </a:cubicBezTo>
                    <a:cubicBezTo>
                      <a:pt x="4281" y="671910"/>
                      <a:pt x="-3657" y="610791"/>
                      <a:pt x="1899" y="531019"/>
                    </a:cubicBezTo>
                    <a:cubicBezTo>
                      <a:pt x="7455" y="451247"/>
                      <a:pt x="22537" y="310357"/>
                      <a:pt x="42381" y="240507"/>
                    </a:cubicBezTo>
                    <a:cubicBezTo>
                      <a:pt x="62225" y="170657"/>
                      <a:pt x="104293" y="152003"/>
                      <a:pt x="120962" y="111919"/>
                    </a:cubicBezTo>
                    <a:cubicBezTo>
                      <a:pt x="137631" y="71835"/>
                      <a:pt x="140012" y="35917"/>
                      <a:pt x="142393" y="0"/>
                    </a:cubicBezTo>
                  </a:path>
                </a:pathLst>
              </a:custGeom>
              <a:noFill/>
              <a:ln w="6350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400"/>
                <a:endParaRPr lang="ru-RU" sz="1200">
                  <a:solidFill>
                    <a:prstClr val="white"/>
                  </a:solidFill>
                </a:endParaRPr>
              </a:p>
            </p:txBody>
          </p:sp>
          <p:sp>
            <p:nvSpPr>
              <p:cNvPr id="7" name="Полилиния 6"/>
              <p:cNvSpPr/>
              <p:nvPr/>
            </p:nvSpPr>
            <p:spPr>
              <a:xfrm>
                <a:off x="8043863" y="1538183"/>
                <a:ext cx="288131" cy="38205"/>
              </a:xfrm>
              <a:custGeom>
                <a:avLst/>
                <a:gdLst>
                  <a:gd name="connsiteX0" fmla="*/ 0 w 288131"/>
                  <a:gd name="connsiteY0" fmla="*/ 21536 h 38205"/>
                  <a:gd name="connsiteX1" fmla="*/ 76200 w 288131"/>
                  <a:gd name="connsiteY1" fmla="*/ 105 h 38205"/>
                  <a:gd name="connsiteX2" fmla="*/ 166687 w 288131"/>
                  <a:gd name="connsiteY2" fmla="*/ 14392 h 38205"/>
                  <a:gd name="connsiteX3" fmla="*/ 288131 w 288131"/>
                  <a:gd name="connsiteY3" fmla="*/ 38205 h 38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131" h="38205">
                    <a:moveTo>
                      <a:pt x="0" y="21536"/>
                    </a:moveTo>
                    <a:cubicBezTo>
                      <a:pt x="24209" y="11416"/>
                      <a:pt x="48419" y="1296"/>
                      <a:pt x="76200" y="105"/>
                    </a:cubicBezTo>
                    <a:cubicBezTo>
                      <a:pt x="103981" y="-1086"/>
                      <a:pt x="131365" y="8042"/>
                      <a:pt x="166687" y="14392"/>
                    </a:cubicBezTo>
                    <a:cubicBezTo>
                      <a:pt x="202009" y="20742"/>
                      <a:pt x="245070" y="29473"/>
                      <a:pt x="288131" y="38205"/>
                    </a:cubicBezTo>
                  </a:path>
                </a:pathLst>
              </a:custGeom>
              <a:ln w="635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6" name="Полилиния 305"/>
              <p:cNvSpPr/>
              <p:nvPr/>
            </p:nvSpPr>
            <p:spPr>
              <a:xfrm>
                <a:off x="8047714" y="1540602"/>
                <a:ext cx="288131" cy="38205"/>
              </a:xfrm>
              <a:custGeom>
                <a:avLst/>
                <a:gdLst>
                  <a:gd name="connsiteX0" fmla="*/ 0 w 288131"/>
                  <a:gd name="connsiteY0" fmla="*/ 21536 h 38205"/>
                  <a:gd name="connsiteX1" fmla="*/ 76200 w 288131"/>
                  <a:gd name="connsiteY1" fmla="*/ 105 h 38205"/>
                  <a:gd name="connsiteX2" fmla="*/ 166687 w 288131"/>
                  <a:gd name="connsiteY2" fmla="*/ 14392 h 38205"/>
                  <a:gd name="connsiteX3" fmla="*/ 288131 w 288131"/>
                  <a:gd name="connsiteY3" fmla="*/ 38205 h 38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8131" h="38205">
                    <a:moveTo>
                      <a:pt x="0" y="21536"/>
                    </a:moveTo>
                    <a:cubicBezTo>
                      <a:pt x="24209" y="11416"/>
                      <a:pt x="48419" y="1296"/>
                      <a:pt x="76200" y="105"/>
                    </a:cubicBezTo>
                    <a:cubicBezTo>
                      <a:pt x="103981" y="-1086"/>
                      <a:pt x="131365" y="8042"/>
                      <a:pt x="166687" y="14392"/>
                    </a:cubicBezTo>
                    <a:cubicBezTo>
                      <a:pt x="202009" y="20742"/>
                      <a:pt x="245070" y="29473"/>
                      <a:pt x="288131" y="38205"/>
                    </a:cubicBezTo>
                  </a:path>
                </a:pathLst>
              </a:custGeom>
              <a:noFill/>
              <a:ln w="9525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400"/>
                <a:endParaRPr lang="ru-RU" sz="120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Полилиния 7"/>
              <p:cNvSpPr/>
              <p:nvPr/>
            </p:nvSpPr>
            <p:spPr>
              <a:xfrm>
                <a:off x="6296025" y="1916906"/>
                <a:ext cx="723900" cy="452438"/>
              </a:xfrm>
              <a:custGeom>
                <a:avLst/>
                <a:gdLst>
                  <a:gd name="connsiteX0" fmla="*/ 0 w 723900"/>
                  <a:gd name="connsiteY0" fmla="*/ 452438 h 452438"/>
                  <a:gd name="connsiteX1" fmla="*/ 28575 w 723900"/>
                  <a:gd name="connsiteY1" fmla="*/ 390525 h 452438"/>
                  <a:gd name="connsiteX2" fmla="*/ 50006 w 723900"/>
                  <a:gd name="connsiteY2" fmla="*/ 361950 h 452438"/>
                  <a:gd name="connsiteX3" fmla="*/ 69056 w 723900"/>
                  <a:gd name="connsiteY3" fmla="*/ 347663 h 452438"/>
                  <a:gd name="connsiteX4" fmla="*/ 116681 w 723900"/>
                  <a:gd name="connsiteY4" fmla="*/ 338138 h 452438"/>
                  <a:gd name="connsiteX5" fmla="*/ 176213 w 723900"/>
                  <a:gd name="connsiteY5" fmla="*/ 328613 h 452438"/>
                  <a:gd name="connsiteX6" fmla="*/ 230981 w 723900"/>
                  <a:gd name="connsiteY6" fmla="*/ 321469 h 452438"/>
                  <a:gd name="connsiteX7" fmla="*/ 276225 w 723900"/>
                  <a:gd name="connsiteY7" fmla="*/ 319088 h 452438"/>
                  <a:gd name="connsiteX8" fmla="*/ 319088 w 723900"/>
                  <a:gd name="connsiteY8" fmla="*/ 309563 h 452438"/>
                  <a:gd name="connsiteX9" fmla="*/ 366713 w 723900"/>
                  <a:gd name="connsiteY9" fmla="*/ 290513 h 452438"/>
                  <a:gd name="connsiteX10" fmla="*/ 421481 w 723900"/>
                  <a:gd name="connsiteY10" fmla="*/ 259557 h 452438"/>
                  <a:gd name="connsiteX11" fmla="*/ 497681 w 723900"/>
                  <a:gd name="connsiteY11" fmla="*/ 240507 h 452438"/>
                  <a:gd name="connsiteX12" fmla="*/ 557213 w 723900"/>
                  <a:gd name="connsiteY12" fmla="*/ 226219 h 452438"/>
                  <a:gd name="connsiteX13" fmla="*/ 595313 w 723900"/>
                  <a:gd name="connsiteY13" fmla="*/ 219075 h 452438"/>
                  <a:gd name="connsiteX14" fmla="*/ 647700 w 723900"/>
                  <a:gd name="connsiteY14" fmla="*/ 226219 h 452438"/>
                  <a:gd name="connsiteX15" fmla="*/ 669131 w 723900"/>
                  <a:gd name="connsiteY15" fmla="*/ 209550 h 452438"/>
                  <a:gd name="connsiteX16" fmla="*/ 685800 w 723900"/>
                  <a:gd name="connsiteY16" fmla="*/ 123825 h 452438"/>
                  <a:gd name="connsiteX17" fmla="*/ 683419 w 723900"/>
                  <a:gd name="connsiteY17" fmla="*/ 83344 h 452438"/>
                  <a:gd name="connsiteX18" fmla="*/ 723900 w 723900"/>
                  <a:gd name="connsiteY18" fmla="*/ 0 h 4524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23900" h="452438">
                    <a:moveTo>
                      <a:pt x="0" y="452438"/>
                    </a:moveTo>
                    <a:cubicBezTo>
                      <a:pt x="10120" y="429022"/>
                      <a:pt x="20241" y="405606"/>
                      <a:pt x="28575" y="390525"/>
                    </a:cubicBezTo>
                    <a:cubicBezTo>
                      <a:pt x="36909" y="375444"/>
                      <a:pt x="43259" y="369094"/>
                      <a:pt x="50006" y="361950"/>
                    </a:cubicBezTo>
                    <a:cubicBezTo>
                      <a:pt x="56753" y="354806"/>
                      <a:pt x="57944" y="351632"/>
                      <a:pt x="69056" y="347663"/>
                    </a:cubicBezTo>
                    <a:cubicBezTo>
                      <a:pt x="80168" y="343694"/>
                      <a:pt x="98822" y="341313"/>
                      <a:pt x="116681" y="338138"/>
                    </a:cubicBezTo>
                    <a:cubicBezTo>
                      <a:pt x="134540" y="334963"/>
                      <a:pt x="157163" y="331391"/>
                      <a:pt x="176213" y="328613"/>
                    </a:cubicBezTo>
                    <a:cubicBezTo>
                      <a:pt x="195263" y="325835"/>
                      <a:pt x="214312" y="323056"/>
                      <a:pt x="230981" y="321469"/>
                    </a:cubicBezTo>
                    <a:cubicBezTo>
                      <a:pt x="247650" y="319882"/>
                      <a:pt x="261541" y="321072"/>
                      <a:pt x="276225" y="319088"/>
                    </a:cubicBezTo>
                    <a:cubicBezTo>
                      <a:pt x="290909" y="317104"/>
                      <a:pt x="304007" y="314325"/>
                      <a:pt x="319088" y="309563"/>
                    </a:cubicBezTo>
                    <a:cubicBezTo>
                      <a:pt x="334169" y="304800"/>
                      <a:pt x="349647" y="298847"/>
                      <a:pt x="366713" y="290513"/>
                    </a:cubicBezTo>
                    <a:cubicBezTo>
                      <a:pt x="383779" y="282179"/>
                      <a:pt x="399653" y="267891"/>
                      <a:pt x="421481" y="259557"/>
                    </a:cubicBezTo>
                    <a:cubicBezTo>
                      <a:pt x="443309" y="251223"/>
                      <a:pt x="497681" y="240507"/>
                      <a:pt x="497681" y="240507"/>
                    </a:cubicBezTo>
                    <a:lnTo>
                      <a:pt x="557213" y="226219"/>
                    </a:lnTo>
                    <a:cubicBezTo>
                      <a:pt x="573485" y="222647"/>
                      <a:pt x="580232" y="219075"/>
                      <a:pt x="595313" y="219075"/>
                    </a:cubicBezTo>
                    <a:cubicBezTo>
                      <a:pt x="610394" y="219075"/>
                      <a:pt x="635397" y="227806"/>
                      <a:pt x="647700" y="226219"/>
                    </a:cubicBezTo>
                    <a:cubicBezTo>
                      <a:pt x="660003" y="224632"/>
                      <a:pt x="662781" y="226616"/>
                      <a:pt x="669131" y="209550"/>
                    </a:cubicBezTo>
                    <a:cubicBezTo>
                      <a:pt x="675481" y="192484"/>
                      <a:pt x="683419" y="144859"/>
                      <a:pt x="685800" y="123825"/>
                    </a:cubicBezTo>
                    <a:cubicBezTo>
                      <a:pt x="688181" y="102791"/>
                      <a:pt x="677069" y="103981"/>
                      <a:pt x="683419" y="83344"/>
                    </a:cubicBezTo>
                    <a:cubicBezTo>
                      <a:pt x="689769" y="62707"/>
                      <a:pt x="706834" y="31353"/>
                      <a:pt x="723900" y="0"/>
                    </a:cubicBezTo>
                  </a:path>
                </a:pathLst>
              </a:custGeom>
              <a:ln w="635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02" name="Полилиния 301"/>
              <p:cNvSpPr/>
              <p:nvPr/>
            </p:nvSpPr>
            <p:spPr>
              <a:xfrm>
                <a:off x="5954438" y="1908814"/>
                <a:ext cx="1071657" cy="1031082"/>
              </a:xfrm>
              <a:custGeom>
                <a:avLst/>
                <a:gdLst>
                  <a:gd name="connsiteX0" fmla="*/ 95 w 1071657"/>
                  <a:gd name="connsiteY0" fmla="*/ 1031082 h 1031082"/>
                  <a:gd name="connsiteX1" fmla="*/ 26288 w 1071657"/>
                  <a:gd name="connsiteY1" fmla="*/ 945357 h 1031082"/>
                  <a:gd name="connsiteX2" fmla="*/ 162020 w 1071657"/>
                  <a:gd name="connsiteY2" fmla="*/ 854869 h 1031082"/>
                  <a:gd name="connsiteX3" fmla="*/ 219170 w 1071657"/>
                  <a:gd name="connsiteY3" fmla="*/ 764382 h 1031082"/>
                  <a:gd name="connsiteX4" fmla="*/ 252507 w 1071657"/>
                  <a:gd name="connsiteY4" fmla="*/ 659607 h 1031082"/>
                  <a:gd name="connsiteX5" fmla="*/ 321563 w 1071657"/>
                  <a:gd name="connsiteY5" fmla="*/ 576263 h 1031082"/>
                  <a:gd name="connsiteX6" fmla="*/ 345376 w 1071657"/>
                  <a:gd name="connsiteY6" fmla="*/ 440532 h 1031082"/>
                  <a:gd name="connsiteX7" fmla="*/ 416813 w 1071657"/>
                  <a:gd name="connsiteY7" fmla="*/ 352425 h 1031082"/>
                  <a:gd name="connsiteX8" fmla="*/ 626363 w 1071657"/>
                  <a:gd name="connsiteY8" fmla="*/ 321469 h 1031082"/>
                  <a:gd name="connsiteX9" fmla="*/ 743045 w 1071657"/>
                  <a:gd name="connsiteY9" fmla="*/ 273844 h 1031082"/>
                  <a:gd name="connsiteX10" fmla="*/ 904970 w 1071657"/>
                  <a:gd name="connsiteY10" fmla="*/ 228600 h 1031082"/>
                  <a:gd name="connsiteX11" fmla="*/ 1002601 w 1071657"/>
                  <a:gd name="connsiteY11" fmla="*/ 219075 h 1031082"/>
                  <a:gd name="connsiteX12" fmla="*/ 1026413 w 1071657"/>
                  <a:gd name="connsiteY12" fmla="*/ 88107 h 1031082"/>
                  <a:gd name="connsiteX13" fmla="*/ 1071657 w 1071657"/>
                  <a:gd name="connsiteY13" fmla="*/ 0 h 1031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71657" h="1031082">
                    <a:moveTo>
                      <a:pt x="95" y="1031082"/>
                    </a:moveTo>
                    <a:cubicBezTo>
                      <a:pt x="-303" y="1002904"/>
                      <a:pt x="-700" y="974726"/>
                      <a:pt x="26288" y="945357"/>
                    </a:cubicBezTo>
                    <a:cubicBezTo>
                      <a:pt x="53276" y="915988"/>
                      <a:pt x="129873" y="885031"/>
                      <a:pt x="162020" y="854869"/>
                    </a:cubicBezTo>
                    <a:cubicBezTo>
                      <a:pt x="194167" y="824706"/>
                      <a:pt x="204089" y="796926"/>
                      <a:pt x="219170" y="764382"/>
                    </a:cubicBezTo>
                    <a:cubicBezTo>
                      <a:pt x="234251" y="731838"/>
                      <a:pt x="235442" y="690960"/>
                      <a:pt x="252507" y="659607"/>
                    </a:cubicBezTo>
                    <a:cubicBezTo>
                      <a:pt x="269572" y="628254"/>
                      <a:pt x="306085" y="612775"/>
                      <a:pt x="321563" y="576263"/>
                    </a:cubicBezTo>
                    <a:cubicBezTo>
                      <a:pt x="337041" y="539751"/>
                      <a:pt x="329501" y="477838"/>
                      <a:pt x="345376" y="440532"/>
                    </a:cubicBezTo>
                    <a:cubicBezTo>
                      <a:pt x="361251" y="403226"/>
                      <a:pt x="369982" y="372269"/>
                      <a:pt x="416813" y="352425"/>
                    </a:cubicBezTo>
                    <a:cubicBezTo>
                      <a:pt x="463644" y="332581"/>
                      <a:pt x="571991" y="334566"/>
                      <a:pt x="626363" y="321469"/>
                    </a:cubicBezTo>
                    <a:cubicBezTo>
                      <a:pt x="680735" y="308372"/>
                      <a:pt x="696611" y="289322"/>
                      <a:pt x="743045" y="273844"/>
                    </a:cubicBezTo>
                    <a:cubicBezTo>
                      <a:pt x="789479" y="258366"/>
                      <a:pt x="861711" y="237728"/>
                      <a:pt x="904970" y="228600"/>
                    </a:cubicBezTo>
                    <a:cubicBezTo>
                      <a:pt x="948229" y="219472"/>
                      <a:pt x="982361" y="242490"/>
                      <a:pt x="1002601" y="219075"/>
                    </a:cubicBezTo>
                    <a:cubicBezTo>
                      <a:pt x="1022841" y="195660"/>
                      <a:pt x="1014904" y="124619"/>
                      <a:pt x="1026413" y="88107"/>
                    </a:cubicBezTo>
                    <a:cubicBezTo>
                      <a:pt x="1037922" y="51595"/>
                      <a:pt x="1054789" y="25797"/>
                      <a:pt x="1071657" y="0"/>
                    </a:cubicBezTo>
                  </a:path>
                </a:pathLst>
              </a:custGeom>
              <a:noFill/>
              <a:ln w="6350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400"/>
                <a:endParaRPr lang="ru-RU" sz="120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Полилиния 9"/>
              <p:cNvSpPr/>
              <p:nvPr/>
            </p:nvSpPr>
            <p:spPr>
              <a:xfrm>
                <a:off x="5207794" y="1852613"/>
                <a:ext cx="80962" cy="152400"/>
              </a:xfrm>
              <a:custGeom>
                <a:avLst/>
                <a:gdLst>
                  <a:gd name="connsiteX0" fmla="*/ 0 w 54768"/>
                  <a:gd name="connsiteY0" fmla="*/ 0 h 102394"/>
                  <a:gd name="connsiteX1" fmla="*/ 54768 w 54768"/>
                  <a:gd name="connsiteY1" fmla="*/ 102394 h 102394"/>
                  <a:gd name="connsiteX0" fmla="*/ 0 w 73818"/>
                  <a:gd name="connsiteY0" fmla="*/ 0 h 152400"/>
                  <a:gd name="connsiteX1" fmla="*/ 73818 w 73818"/>
                  <a:gd name="connsiteY1" fmla="*/ 152400 h 152400"/>
                  <a:gd name="connsiteX0" fmla="*/ 0 w 83343"/>
                  <a:gd name="connsiteY0" fmla="*/ 0 h 145257"/>
                  <a:gd name="connsiteX1" fmla="*/ 83343 w 83343"/>
                  <a:gd name="connsiteY1" fmla="*/ 145257 h 145257"/>
                  <a:gd name="connsiteX0" fmla="*/ 0 w 80962"/>
                  <a:gd name="connsiteY0" fmla="*/ 0 h 152400"/>
                  <a:gd name="connsiteX1" fmla="*/ 80962 w 80962"/>
                  <a:gd name="connsiteY1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62" h="152400">
                    <a:moveTo>
                      <a:pt x="0" y="0"/>
                    </a:moveTo>
                    <a:lnTo>
                      <a:pt x="80962" y="152400"/>
                    </a:lnTo>
                  </a:path>
                </a:pathLst>
              </a:custGeom>
              <a:ln w="7620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310" name="Полилиния 309"/>
              <p:cNvSpPr/>
              <p:nvPr/>
            </p:nvSpPr>
            <p:spPr>
              <a:xfrm>
                <a:off x="5208404" y="1842758"/>
                <a:ext cx="80962" cy="152400"/>
              </a:xfrm>
              <a:custGeom>
                <a:avLst/>
                <a:gdLst>
                  <a:gd name="connsiteX0" fmla="*/ 0 w 54768"/>
                  <a:gd name="connsiteY0" fmla="*/ 0 h 102394"/>
                  <a:gd name="connsiteX1" fmla="*/ 54768 w 54768"/>
                  <a:gd name="connsiteY1" fmla="*/ 102394 h 102394"/>
                  <a:gd name="connsiteX0" fmla="*/ 0 w 73818"/>
                  <a:gd name="connsiteY0" fmla="*/ 0 h 152400"/>
                  <a:gd name="connsiteX1" fmla="*/ 73818 w 73818"/>
                  <a:gd name="connsiteY1" fmla="*/ 152400 h 152400"/>
                  <a:gd name="connsiteX0" fmla="*/ 0 w 83343"/>
                  <a:gd name="connsiteY0" fmla="*/ 0 h 145257"/>
                  <a:gd name="connsiteX1" fmla="*/ 83343 w 83343"/>
                  <a:gd name="connsiteY1" fmla="*/ 145257 h 145257"/>
                  <a:gd name="connsiteX0" fmla="*/ 0 w 80962"/>
                  <a:gd name="connsiteY0" fmla="*/ 0 h 152400"/>
                  <a:gd name="connsiteX1" fmla="*/ 80962 w 80962"/>
                  <a:gd name="connsiteY1" fmla="*/ 15240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0962" h="152400">
                    <a:moveTo>
                      <a:pt x="0" y="0"/>
                    </a:moveTo>
                    <a:lnTo>
                      <a:pt x="80962" y="152400"/>
                    </a:lnTo>
                  </a:path>
                </a:pathLst>
              </a:custGeom>
              <a:noFill/>
              <a:ln w="9525">
                <a:solidFill>
                  <a:schemeClr val="bg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7400"/>
                <a:endParaRPr lang="ru-RU" sz="1200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Овал 3"/>
              <p:cNvSpPr/>
              <p:nvPr/>
            </p:nvSpPr>
            <p:spPr>
              <a:xfrm>
                <a:off x="6264099" y="2346484"/>
                <a:ext cx="52472" cy="45719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2" name="Группа 1"/>
            <p:cNvGrpSpPr/>
            <p:nvPr/>
          </p:nvGrpSpPr>
          <p:grpSpPr>
            <a:xfrm>
              <a:off x="7431520" y="444637"/>
              <a:ext cx="1559980" cy="673227"/>
              <a:chOff x="7544653" y="202715"/>
              <a:chExt cx="1559980" cy="673227"/>
            </a:xfrm>
          </p:grpSpPr>
          <p:grpSp>
            <p:nvGrpSpPr>
              <p:cNvPr id="296" name="Группа 1"/>
              <p:cNvGrpSpPr>
                <a:grpSpLocks/>
              </p:cNvGrpSpPr>
              <p:nvPr/>
            </p:nvGrpSpPr>
            <p:grpSpPr bwMode="auto">
              <a:xfrm>
                <a:off x="7544653" y="202715"/>
                <a:ext cx="1559980" cy="673227"/>
                <a:chOff x="12267570" y="-200591"/>
                <a:chExt cx="1516242" cy="671334"/>
              </a:xfrm>
            </p:grpSpPr>
            <p:sp>
              <p:nvSpPr>
                <p:cNvPr id="297" name="Line 45"/>
                <p:cNvSpPr>
                  <a:spLocks noChangeShapeType="1"/>
                </p:cNvSpPr>
                <p:nvPr/>
              </p:nvSpPr>
              <p:spPr bwMode="auto">
                <a:xfrm>
                  <a:off x="12267748" y="80636"/>
                  <a:ext cx="315912" cy="0"/>
                </a:xfrm>
                <a:prstGeom prst="line">
                  <a:avLst/>
                </a:prstGeom>
                <a:noFill/>
                <a:ln w="63500">
                  <a:solidFill>
                    <a:srgbClr val="00B05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lIns="102653" tIns="51328" rIns="102653" bIns="51328"/>
                <a:lstStyle/>
                <a:p>
                  <a:pPr defTabSz="1215900"/>
                  <a:endParaRPr lang="ru-RU" sz="90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98" name="Line 45"/>
                <p:cNvSpPr>
                  <a:spLocks noChangeShapeType="1"/>
                </p:cNvSpPr>
                <p:nvPr/>
              </p:nvSpPr>
              <p:spPr bwMode="auto">
                <a:xfrm>
                  <a:off x="12267570" y="191364"/>
                  <a:ext cx="315912" cy="0"/>
                </a:xfrm>
                <a:prstGeom prst="line">
                  <a:avLst/>
                </a:prstGeom>
                <a:noFill/>
                <a:ln w="63500">
                  <a:solidFill>
                    <a:srgbClr val="0070C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lIns="102653" tIns="51328" rIns="102653" bIns="51328"/>
                <a:lstStyle/>
                <a:p>
                  <a:pPr defTabSz="1215900"/>
                  <a:endParaRPr lang="ru-RU" sz="900">
                    <a:solidFill>
                      <a:prstClr val="black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99" name="Rectangle 44"/>
                <p:cNvSpPr>
                  <a:spLocks noChangeArrowheads="1"/>
                </p:cNvSpPr>
                <p:nvPr/>
              </p:nvSpPr>
              <p:spPr bwMode="auto">
                <a:xfrm>
                  <a:off x="12539212" y="-200591"/>
                  <a:ext cx="1244600" cy="67133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8546" tIns="161660" rIns="98546" bIns="49273" anchor="ctr"/>
                <a:lstStyle/>
                <a:p>
                  <a:pPr defTabSz="1358127"/>
                  <a:r>
                    <a:rPr lang="ru-RU" altLang="ru-RU" sz="700" b="1" dirty="0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2021 </a:t>
                  </a:r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жылға</a:t>
                  </a:r>
                  <a:r>
                    <a:rPr lang="ru-RU" altLang="ru-RU" sz="700" b="1" dirty="0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дейін</a:t>
                  </a:r>
                  <a:r>
                    <a:rPr lang="ru-RU" altLang="ru-RU" sz="700" b="1" dirty="0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аяқталды</a:t>
                  </a:r>
                  <a:endParaRPr lang="ru-RU" altLang="ru-RU" sz="700" b="1" dirty="0">
                    <a:solidFill>
                      <a:schemeClr val="bg1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defTabSz="1358127"/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Өтпелі</a:t>
                  </a:r>
                  <a:r>
                    <a:rPr lang="ru-RU" altLang="ru-RU" sz="700" b="1" dirty="0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жобалар</a:t>
                  </a:r>
                  <a:endParaRPr lang="ru-RU" altLang="ru-RU" sz="700" b="1" dirty="0">
                    <a:solidFill>
                      <a:schemeClr val="bg1">
                        <a:lumMod val="50000"/>
                      </a:schemeClr>
                    </a:solidFill>
                    <a:latin typeface="Arial" pitchFamily="34" charset="0"/>
                    <a:cs typeface="Arial" pitchFamily="34" charset="0"/>
                  </a:endParaRPr>
                </a:p>
                <a:p>
                  <a:pPr defTabSz="1358127"/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Жаңа</a:t>
                  </a:r>
                  <a:r>
                    <a:rPr lang="ru-RU" altLang="ru-RU" sz="700" b="1" dirty="0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 </a:t>
                  </a:r>
                  <a:r>
                    <a:rPr lang="ru-RU" altLang="ru-RU" sz="700" b="1" dirty="0" err="1">
                      <a:solidFill>
                        <a:schemeClr val="bg1">
                          <a:lumMod val="50000"/>
                        </a:schemeClr>
                      </a:solidFill>
                      <a:latin typeface="Arial" pitchFamily="34" charset="0"/>
                      <a:cs typeface="Arial" pitchFamily="34" charset="0"/>
                    </a:rPr>
                    <a:t>жобалар</a:t>
                  </a:r>
                  <a:endParaRPr lang="ru-RU" altLang="ru-RU" sz="700" b="1" dirty="0">
                    <a:solidFill>
                      <a:srgbClr val="595959"/>
                    </a:solidFill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312" name="Line 45"/>
              <p:cNvSpPr>
                <a:spLocks noChangeShapeType="1"/>
              </p:cNvSpPr>
              <p:nvPr/>
            </p:nvSpPr>
            <p:spPr bwMode="auto">
              <a:xfrm>
                <a:off x="7548286" y="694571"/>
                <a:ext cx="325025" cy="0"/>
              </a:xfrm>
              <a:prstGeom prst="line">
                <a:avLst/>
              </a:prstGeom>
              <a:noFill/>
              <a:ln w="63500">
                <a:solidFill>
                  <a:schemeClr val="accent6">
                    <a:lumMod val="75000"/>
                  </a:schemeClr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102653" tIns="51328" rIns="102653" bIns="51328"/>
              <a:lstStyle/>
              <a:p>
                <a:pPr defTabSz="1215900"/>
                <a:endParaRPr lang="ru-RU" sz="90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2" name="Полилиния 11"/>
            <p:cNvSpPr/>
            <p:nvPr/>
          </p:nvSpPr>
          <p:spPr>
            <a:xfrm>
              <a:off x="7002043" y="2287484"/>
              <a:ext cx="1071627" cy="309656"/>
            </a:xfrm>
            <a:custGeom>
              <a:avLst/>
              <a:gdLst>
                <a:gd name="connsiteX0" fmla="*/ 0 w 1071627"/>
                <a:gd name="connsiteY0" fmla="*/ 0 h 309656"/>
                <a:gd name="connsiteX1" fmla="*/ 115852 w 1071627"/>
                <a:gd name="connsiteY1" fmla="*/ 8275 h 309656"/>
                <a:gd name="connsiteX2" fmla="*/ 252391 w 1071627"/>
                <a:gd name="connsiteY2" fmla="*/ 33101 h 309656"/>
                <a:gd name="connsiteX3" fmla="*/ 388931 w 1071627"/>
                <a:gd name="connsiteY3" fmla="*/ 74476 h 309656"/>
                <a:gd name="connsiteX4" fmla="*/ 624771 w 1071627"/>
                <a:gd name="connsiteY4" fmla="*/ 211016 h 309656"/>
                <a:gd name="connsiteX5" fmla="*/ 748898 w 1071627"/>
                <a:gd name="connsiteY5" fmla="*/ 306180 h 309656"/>
                <a:gd name="connsiteX6" fmla="*/ 939226 w 1071627"/>
                <a:gd name="connsiteY6" fmla="*/ 285492 h 309656"/>
                <a:gd name="connsiteX7" fmla="*/ 1071627 w 1071627"/>
                <a:gd name="connsiteY7" fmla="*/ 252391 h 30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627" h="309656">
                  <a:moveTo>
                    <a:pt x="0" y="0"/>
                  </a:moveTo>
                  <a:cubicBezTo>
                    <a:pt x="36893" y="1379"/>
                    <a:pt x="73787" y="2758"/>
                    <a:pt x="115852" y="8275"/>
                  </a:cubicBezTo>
                  <a:cubicBezTo>
                    <a:pt x="157917" y="13792"/>
                    <a:pt x="206878" y="22068"/>
                    <a:pt x="252391" y="33101"/>
                  </a:cubicBezTo>
                  <a:cubicBezTo>
                    <a:pt x="297904" y="44134"/>
                    <a:pt x="326868" y="44824"/>
                    <a:pt x="388931" y="74476"/>
                  </a:cubicBezTo>
                  <a:cubicBezTo>
                    <a:pt x="450994" y="104129"/>
                    <a:pt x="564777" y="172399"/>
                    <a:pt x="624771" y="211016"/>
                  </a:cubicBezTo>
                  <a:cubicBezTo>
                    <a:pt x="684765" y="249633"/>
                    <a:pt x="696489" y="293767"/>
                    <a:pt x="748898" y="306180"/>
                  </a:cubicBezTo>
                  <a:cubicBezTo>
                    <a:pt x="801307" y="318593"/>
                    <a:pt x="885438" y="294457"/>
                    <a:pt x="939226" y="285492"/>
                  </a:cubicBezTo>
                  <a:cubicBezTo>
                    <a:pt x="993014" y="276527"/>
                    <a:pt x="1032320" y="264459"/>
                    <a:pt x="1071627" y="252391"/>
                  </a:cubicBezTo>
                </a:path>
              </a:pathLst>
            </a:custGeom>
            <a:ln w="6350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4" name="Полилиния 313"/>
            <p:cNvSpPr/>
            <p:nvPr/>
          </p:nvSpPr>
          <p:spPr>
            <a:xfrm>
              <a:off x="7016646" y="2285101"/>
              <a:ext cx="1071627" cy="309656"/>
            </a:xfrm>
            <a:custGeom>
              <a:avLst/>
              <a:gdLst>
                <a:gd name="connsiteX0" fmla="*/ 0 w 1071627"/>
                <a:gd name="connsiteY0" fmla="*/ 0 h 309656"/>
                <a:gd name="connsiteX1" fmla="*/ 115852 w 1071627"/>
                <a:gd name="connsiteY1" fmla="*/ 8275 h 309656"/>
                <a:gd name="connsiteX2" fmla="*/ 252391 w 1071627"/>
                <a:gd name="connsiteY2" fmla="*/ 33101 h 309656"/>
                <a:gd name="connsiteX3" fmla="*/ 388931 w 1071627"/>
                <a:gd name="connsiteY3" fmla="*/ 74476 h 309656"/>
                <a:gd name="connsiteX4" fmla="*/ 624771 w 1071627"/>
                <a:gd name="connsiteY4" fmla="*/ 211016 h 309656"/>
                <a:gd name="connsiteX5" fmla="*/ 748898 w 1071627"/>
                <a:gd name="connsiteY5" fmla="*/ 306180 h 309656"/>
                <a:gd name="connsiteX6" fmla="*/ 939226 w 1071627"/>
                <a:gd name="connsiteY6" fmla="*/ 285492 h 309656"/>
                <a:gd name="connsiteX7" fmla="*/ 1071627 w 1071627"/>
                <a:gd name="connsiteY7" fmla="*/ 252391 h 30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1627" h="309656">
                  <a:moveTo>
                    <a:pt x="0" y="0"/>
                  </a:moveTo>
                  <a:cubicBezTo>
                    <a:pt x="36893" y="1379"/>
                    <a:pt x="73787" y="2758"/>
                    <a:pt x="115852" y="8275"/>
                  </a:cubicBezTo>
                  <a:cubicBezTo>
                    <a:pt x="157917" y="13792"/>
                    <a:pt x="206878" y="22068"/>
                    <a:pt x="252391" y="33101"/>
                  </a:cubicBezTo>
                  <a:cubicBezTo>
                    <a:pt x="297904" y="44134"/>
                    <a:pt x="326868" y="44824"/>
                    <a:pt x="388931" y="74476"/>
                  </a:cubicBezTo>
                  <a:cubicBezTo>
                    <a:pt x="450994" y="104129"/>
                    <a:pt x="564777" y="172399"/>
                    <a:pt x="624771" y="211016"/>
                  </a:cubicBezTo>
                  <a:cubicBezTo>
                    <a:pt x="684765" y="249633"/>
                    <a:pt x="696489" y="293767"/>
                    <a:pt x="748898" y="306180"/>
                  </a:cubicBezTo>
                  <a:cubicBezTo>
                    <a:pt x="801307" y="318593"/>
                    <a:pt x="885438" y="294457"/>
                    <a:pt x="939226" y="285492"/>
                  </a:cubicBezTo>
                  <a:cubicBezTo>
                    <a:pt x="993014" y="276527"/>
                    <a:pt x="1032320" y="264459"/>
                    <a:pt x="1071627" y="252391"/>
                  </a:cubicBezTo>
                </a:path>
              </a:pathLst>
            </a:custGeom>
            <a:noFill/>
            <a:ln w="63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7400"/>
              <a:endParaRPr lang="ru-RU" sz="1200">
                <a:solidFill>
                  <a:prstClr val="white"/>
                </a:solidFill>
              </a:endParaRPr>
            </a:p>
          </p:txBody>
        </p:sp>
      </p:grpSp>
      <p:cxnSp>
        <p:nvCxnSpPr>
          <p:cNvPr id="304" name="Прямая соединительная линия 303"/>
          <p:cNvCxnSpPr/>
          <p:nvPr/>
        </p:nvCxnSpPr>
        <p:spPr>
          <a:xfrm>
            <a:off x="13561" y="291028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/>
              <a:t>4</a:t>
            </a:r>
            <a:endParaRPr lang="ru-RU" dirty="0"/>
          </a:p>
        </p:txBody>
      </p:sp>
      <p:sp>
        <p:nvSpPr>
          <p:cNvPr id="303" name="Блок-схема: узел 302"/>
          <p:cNvSpPr/>
          <p:nvPr/>
        </p:nvSpPr>
        <p:spPr>
          <a:xfrm>
            <a:off x="6918429" y="2260907"/>
            <a:ext cx="88446" cy="91472"/>
          </a:xfrm>
          <a:prstGeom prst="flowChartConnector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7400"/>
            <a:endParaRPr lang="ru-RU" sz="1200">
              <a:solidFill>
                <a:prstClr val="white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 bwMode="auto">
          <a:xfrm>
            <a:off x="75048" y="3283595"/>
            <a:ext cx="2822887" cy="762752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9615" tIns="50299" rIns="39615" bIns="5029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  <a:r>
              <a:rPr lang="en-US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конструкция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altLang="ru-RU" sz="1400" b="1" dirty="0" err="1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м</a:t>
            </a:r>
            <a:endParaRPr lang="en-US" altLang="ru-RU" sz="1400" b="1" dirty="0">
              <a:solidFill>
                <a:srgbClr val="008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,2 </a:t>
            </a:r>
            <a:r>
              <a:rPr lang="ru-RU" altLang="ru-RU" sz="1400" b="1" dirty="0" err="1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ң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м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</a:t>
            </a:r>
            <a:r>
              <a:rPr lang="en-US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зғалыс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ш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0 км;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kk-KZ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</a:t>
            </a:r>
            <a:r>
              <a:rPr lang="en-US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)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у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altLang="ru-RU" sz="14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1 к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 </a:t>
            </a:r>
          </a:p>
        </p:txBody>
      </p:sp>
      <p:sp>
        <p:nvSpPr>
          <p:cNvPr id="307" name="Прямоугольник 42"/>
          <p:cNvSpPr>
            <a:spLocks noChangeArrowheads="1"/>
          </p:cNvSpPr>
          <p:nvPr/>
        </p:nvSpPr>
        <p:spPr bwMode="auto">
          <a:xfrm>
            <a:off x="58586" y="1203598"/>
            <a:ext cx="4766903" cy="42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51197" rIns="0" bIns="51197" anchor="ctr">
            <a:spAutoFit/>
          </a:bodyPr>
          <a:lstStyle/>
          <a:p>
            <a:pPr defTabSz="1290638" fontAlgn="base">
              <a:spcBef>
                <a:spcPct val="0"/>
              </a:spcBef>
              <a:spcAft>
                <a:spcPct val="0"/>
              </a:spcAft>
              <a:buClr>
                <a:srgbClr val="0070C0"/>
              </a:buClr>
            </a:pP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нді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3 млрд. </a:t>
            </a:r>
            <a:r>
              <a:rPr lang="ru-RU" altLang="ru-RU" sz="2100" b="1" dirty="0" err="1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г</a:t>
            </a:r>
            <a:endParaRPr lang="en-US" altLang="ru-RU" sz="2100" b="1" dirty="0">
              <a:solidFill>
                <a:srgbClr val="0066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9" name="Прямоугольник 308"/>
          <p:cNvSpPr/>
          <p:nvPr/>
        </p:nvSpPr>
        <p:spPr bwMode="auto">
          <a:xfrm>
            <a:off x="35496" y="369348"/>
            <a:ext cx="5451180" cy="690234"/>
          </a:xfrm>
          <a:prstGeom prst="rect">
            <a:avLst/>
          </a:prstGeom>
          <a:noFill/>
          <a:ln w="6350">
            <a:noFill/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тивті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ғы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1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altLang="ru-RU" sz="21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altLang="ru-RU" sz="14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спубликалық</a:t>
            </a: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елі</a:t>
            </a: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i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90%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altLang="ru-RU" sz="14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ергілікті</a:t>
            </a: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i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желі</a:t>
            </a:r>
            <a:r>
              <a:rPr lang="ru-RU" altLang="ru-RU" sz="1400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400" b="1" i="1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80% </a:t>
            </a:r>
          </a:p>
        </p:txBody>
      </p:sp>
    </p:spTree>
    <p:extLst>
      <p:ext uri="{BB962C8B-B14F-4D97-AF65-F5344CB8AC3E}">
        <p14:creationId xmlns:p14="http://schemas.microsoft.com/office/powerpoint/2010/main" val="4020914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-92546"/>
            <a:ext cx="4889681" cy="2928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8" name="TextBox 19"/>
          <p:cNvSpPr txBox="1">
            <a:spLocks noChangeArrowheads="1"/>
          </p:cNvSpPr>
          <p:nvPr/>
        </p:nvSpPr>
        <p:spPr bwMode="auto">
          <a:xfrm>
            <a:off x="6882535" y="2571750"/>
            <a:ext cx="2500195" cy="2139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 sz="8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4. Павлодар</a:t>
            </a:r>
            <a:r>
              <a:rPr lang="en-US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–</a:t>
            </a:r>
            <a:r>
              <a:rPr lang="en-US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Семей – 10  км </a:t>
            </a:r>
          </a:p>
          <a:p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: 2018-2023 гг.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ТОО «Павлодар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Жолдары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»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– 10 км </a:t>
            </a:r>
          </a:p>
          <a:p>
            <a:pPr eaLnBrk="1" hangingPunct="1"/>
            <a:endParaRPr lang="ru-RU" altLang="ru-RU" sz="4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5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Шамалған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айналма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жолы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6 км </a:t>
            </a:r>
          </a:p>
          <a:p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: 2019-2023 гг.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СМС  </a:t>
            </a:r>
            <a:endParaRPr lang="en-US" altLang="ru-RU" sz="700" i="1" dirty="0">
              <a:latin typeface="Arial" pitchFamily="34" charset="0"/>
              <a:ea typeface="MS PGothic" pitchFamily="34" charset="-128"/>
            </a:endParaRPr>
          </a:p>
          <a:p>
            <a:endParaRPr lang="ru-RU" altLang="ru-RU" sz="4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6. Подстепное – Федоровка – РФ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шекарасы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/>
            </a:r>
            <a:b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</a:b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72 км </a:t>
            </a:r>
          </a:p>
          <a:p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: 2022-2025 гг.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азкомсервис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36 км), ДСК- Приоритет (36 км)</a:t>
            </a:r>
            <a:endParaRPr lang="en-US" altLang="ru-RU" sz="700" i="1" dirty="0">
              <a:latin typeface="Arial" pitchFamily="34" charset="0"/>
              <a:ea typeface="MS PGothic" pitchFamily="34" charset="-128"/>
            </a:endParaRPr>
          </a:p>
          <a:p>
            <a:endParaRPr lang="ru-RU" altLang="ru-RU" sz="4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endParaRPr lang="ru-RU" altLang="ru-RU" sz="4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7</a:t>
            </a:r>
            <a:r>
              <a:rPr lang="ru-RU" altLang="ru-RU" sz="9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. 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АКАД – 66 км </a:t>
            </a:r>
          </a:p>
          <a:p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: 2021-2023 г. 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Консорциум «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Алсим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Аларко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»,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Макйол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, 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Корея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Экспрессвэй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</a:t>
            </a:r>
          </a:p>
          <a:p>
            <a:pPr eaLnBrk="1" hangingPunct="1"/>
            <a:endParaRPr lang="ru-RU" altLang="ru-RU" sz="3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4578" name="TextBox 31"/>
          <p:cNvSpPr txBox="1">
            <a:spLocks noChangeArrowheads="1"/>
          </p:cNvSpPr>
          <p:nvPr/>
        </p:nvSpPr>
        <p:spPr bwMode="auto">
          <a:xfrm>
            <a:off x="4863789" y="2903518"/>
            <a:ext cx="1852168" cy="9233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endParaRPr lang="ru-RU" altLang="ru-RU" sz="6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4580" name="TextBox 19"/>
          <p:cNvSpPr txBox="1">
            <a:spLocks noChangeArrowheads="1"/>
          </p:cNvSpPr>
          <p:nvPr/>
        </p:nvSpPr>
        <p:spPr bwMode="auto">
          <a:xfrm>
            <a:off x="17782" y="1203598"/>
            <a:ext cx="2500195" cy="3954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Талдықорған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Өскемен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768 км </a:t>
            </a:r>
          </a:p>
          <a:p>
            <a:pPr eaLnBrk="1" hangingPunct="1"/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9-2023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ж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. 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Ситик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онстракшн</a:t>
            </a:r>
            <a:endParaRPr lang="ru-RU" altLang="ru-RU" sz="700" i="1" dirty="0"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77 км.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2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араганда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алқаш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363 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9-2023 гг.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Ситик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онстракшн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03 км.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3. 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алқаш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ұрылбайтал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288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9-2023 гг.</a:t>
            </a:r>
          </a:p>
          <a:p>
            <a:pPr eaLnBrk="1" hangingPunct="1"/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Синохайдро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124 км),  Колин (50 км), </a:t>
            </a:r>
          </a:p>
          <a:p>
            <a:pPr eaLnBrk="1" hangingPunct="1"/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Тодини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50км), СМС (64 км) </a:t>
            </a:r>
            <a:endParaRPr lang="en-US" altLang="ru-RU" sz="700" i="1" dirty="0"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45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127 км.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4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ұрылбайтал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Кұрты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апшағай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295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9-2023 гг.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Синохайдро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81км), Тодини /СМС (62 км), АИС (67 км) </a:t>
            </a:r>
          </a:p>
          <a:p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2022 </a:t>
            </a:r>
            <a:r>
              <a:rPr lang="ru-RU" altLang="ru-RU" sz="600" b="1" i="1" dirty="0" err="1">
                <a:latin typeface="Arial" pitchFamily="34" charset="0"/>
                <a:ea typeface="MS PGothic" pitchFamily="34" charset="-128"/>
              </a:rPr>
              <a:t>жылға</a:t>
            </a:r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600" b="1" i="1" dirty="0" err="1">
                <a:latin typeface="Arial" pitchFamily="34" charset="0"/>
                <a:ea typeface="MS PGothic" pitchFamily="34" charset="-128"/>
              </a:rPr>
              <a:t>дейін</a:t>
            </a:r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600" b="1" i="1" dirty="0" err="1"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600" b="1" i="1" dirty="0" err="1">
                <a:latin typeface="Arial" pitchFamily="34" charset="0"/>
                <a:ea typeface="MS PGothic" pitchFamily="34" charset="-128"/>
              </a:rPr>
              <a:t>ашылды</a:t>
            </a:r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  – 156 км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23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81 км 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5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Ұзынағаш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Отар – 80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8-2023 гг. 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азахдорстрой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38 км),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ЕсерТахут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42 км) </a:t>
            </a:r>
            <a:endParaRPr lang="kk-KZ" altLang="ru-RU" sz="700" i="1" dirty="0"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0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38 км 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6. Мерке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Бұрылбайтал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262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8-2023 гг. 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Синь-Синь (94 км), АБК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АвтоДор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НС (168 км)</a:t>
            </a:r>
            <a:endParaRPr lang="en-US" altLang="ru-RU" sz="700" i="1" dirty="0"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05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118 км </a:t>
            </a:r>
            <a:endParaRPr lang="ru-RU" altLang="ru-RU" sz="7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</p:txBody>
      </p:sp>
      <p:cxnSp>
        <p:nvCxnSpPr>
          <p:cNvPr id="41" name="Прямая соединительная линия 40"/>
          <p:cNvCxnSpPr>
            <a:cxnSpLocks/>
          </p:cNvCxnSpPr>
          <p:nvPr/>
        </p:nvCxnSpPr>
        <p:spPr>
          <a:xfrm flipV="1">
            <a:off x="2331954" y="2671709"/>
            <a:ext cx="0" cy="2470605"/>
          </a:xfrm>
          <a:prstGeom prst="line">
            <a:avLst/>
          </a:prstGeom>
          <a:ln w="158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4" name="Прямоугольник 1"/>
          <p:cNvSpPr>
            <a:spLocks noChangeArrowheads="1"/>
          </p:cNvSpPr>
          <p:nvPr/>
        </p:nvSpPr>
        <p:spPr bwMode="auto">
          <a:xfrm>
            <a:off x="-32061" y="234359"/>
            <a:ext cx="4895850" cy="314391"/>
          </a:xfrm>
          <a:prstGeom prst="rect">
            <a:avLst/>
          </a:prstGeom>
          <a:noFill/>
          <a:ln>
            <a:noFill/>
          </a:ln>
        </p:spPr>
        <p:txBody>
          <a:bodyPr lIns="82738" tIns="41370" rIns="82738" bIns="41370" anchor="ctr">
            <a:spAutoFit/>
          </a:bodyPr>
          <a:lstStyle>
            <a:lvl1pPr defTabSz="16144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16144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16144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16144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16144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161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161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161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161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70C0"/>
              </a:buClr>
              <a:defRPr/>
            </a:pPr>
            <a:r>
              <a:rPr lang="ru-RU" altLang="ru-RU" sz="1200" b="1" dirty="0" err="1">
                <a:solidFill>
                  <a:srgbClr val="000000"/>
                </a:solidFill>
              </a:rPr>
              <a:t>Құрылыс</a:t>
            </a:r>
            <a:r>
              <a:rPr lang="ru-RU" altLang="ru-RU" sz="1200" b="1" dirty="0">
                <a:solidFill>
                  <a:srgbClr val="000000"/>
                </a:solidFill>
              </a:rPr>
              <a:t> </a:t>
            </a:r>
            <a:r>
              <a:rPr lang="ru-RU" altLang="ru-RU" sz="1200" b="1" dirty="0" err="1">
                <a:solidFill>
                  <a:srgbClr val="000000"/>
                </a:solidFill>
              </a:rPr>
              <a:t>және</a:t>
            </a:r>
            <a:r>
              <a:rPr lang="ru-RU" altLang="ru-RU" sz="1200" b="1" dirty="0">
                <a:solidFill>
                  <a:srgbClr val="000000"/>
                </a:solidFill>
              </a:rPr>
              <a:t> </a:t>
            </a:r>
            <a:r>
              <a:rPr lang="ru-RU" altLang="ru-RU" sz="1200" b="1" dirty="0" err="1">
                <a:solidFill>
                  <a:srgbClr val="000000"/>
                </a:solidFill>
              </a:rPr>
              <a:t>реконструкциялау</a:t>
            </a:r>
            <a:r>
              <a:rPr lang="ru-RU" altLang="ru-RU" sz="1200" b="1" dirty="0">
                <a:solidFill>
                  <a:srgbClr val="000000"/>
                </a:solidFill>
              </a:rPr>
              <a:t> </a:t>
            </a:r>
            <a:r>
              <a:rPr lang="ru-RU" altLang="ru-RU" sz="1200" b="1" dirty="0"/>
              <a:t>-</a:t>
            </a:r>
            <a:r>
              <a:rPr lang="ru-RU" altLang="ru-RU" sz="1200" b="1" dirty="0">
                <a:solidFill>
                  <a:srgbClr val="000000"/>
                </a:solidFill>
              </a:rPr>
              <a:t>  </a:t>
            </a:r>
            <a:r>
              <a:rPr lang="ru-RU" altLang="ru-RU" sz="1500" b="1" dirty="0">
                <a:solidFill>
                  <a:srgbClr val="C00000"/>
                </a:solidFill>
              </a:rPr>
              <a:t>4 </a:t>
            </a:r>
            <a:r>
              <a:rPr lang="ru-RU" altLang="ru-RU" sz="800" b="1" dirty="0">
                <a:solidFill>
                  <a:srgbClr val="C00000"/>
                </a:solidFill>
              </a:rPr>
              <a:t> </a:t>
            </a:r>
            <a:r>
              <a:rPr lang="ru-RU" altLang="ru-RU" sz="1200" b="1" dirty="0" err="1">
                <a:solidFill>
                  <a:srgbClr val="000000"/>
                </a:solidFill>
              </a:rPr>
              <a:t>мың</a:t>
            </a:r>
            <a:r>
              <a:rPr lang="ru-RU" altLang="ru-RU" sz="1200" b="1" dirty="0">
                <a:solidFill>
                  <a:srgbClr val="000000"/>
                </a:solidFill>
              </a:rPr>
              <a:t>. км</a:t>
            </a:r>
            <a:endParaRPr lang="ru-RU" altLang="ru-RU" sz="800" b="1" dirty="0">
              <a:solidFill>
                <a:srgbClr val="000000"/>
              </a:solidFill>
            </a:endParaRPr>
          </a:p>
        </p:txBody>
      </p:sp>
      <p:sp>
        <p:nvSpPr>
          <p:cNvPr id="24591" name="Прямоугольник 2"/>
          <p:cNvSpPr>
            <a:spLocks noChangeArrowheads="1"/>
          </p:cNvSpPr>
          <p:nvPr/>
        </p:nvSpPr>
        <p:spPr bwMode="auto">
          <a:xfrm>
            <a:off x="21117" y="473015"/>
            <a:ext cx="3067051" cy="750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0" tIns="34285" rIns="68570" bIns="34285">
            <a:spAutoFit/>
          </a:bodyPr>
          <a:lstStyle/>
          <a:p>
            <a:pPr defTabSz="1464198"/>
            <a:r>
              <a:rPr lang="ru-RU" altLang="ru-RU" sz="12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Аяқтау</a:t>
            </a:r>
            <a:r>
              <a:rPr lang="ru-RU" altLang="ru-RU" sz="12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–  1,2 </a:t>
            </a:r>
            <a:r>
              <a:rPr lang="ru-RU" altLang="ru-RU" sz="12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мың</a:t>
            </a:r>
            <a:r>
              <a:rPr lang="ru-RU" altLang="ru-RU" sz="12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 км </a:t>
            </a:r>
            <a:r>
              <a:rPr lang="ru-RU" altLang="ru-RU" sz="11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altLang="ru-RU" sz="11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1100" b="1" dirty="0" err="1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altLang="ru-RU" sz="11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ru-RU" altLang="ru-RU" sz="9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Қозғалыс</a:t>
            </a:r>
            <a:r>
              <a:rPr lang="ru-RU" altLang="ru-RU" sz="9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</a:t>
            </a:r>
            <a:r>
              <a:rPr lang="ru-RU" altLang="ru-RU" sz="9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ашу</a:t>
            </a:r>
            <a:r>
              <a:rPr lang="ru-RU" altLang="ru-RU" sz="9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– 560 км;</a:t>
            </a:r>
          </a:p>
          <a:p>
            <a:r>
              <a:rPr lang="ru-RU" altLang="ru-RU" sz="9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Пайдалануға</a:t>
            </a:r>
            <a:r>
              <a:rPr lang="ru-RU" altLang="ru-RU" sz="9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беру – 651 км</a:t>
            </a:r>
            <a:r>
              <a:rPr lang="ru-RU" altLang="ru-RU" sz="11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</a:t>
            </a:r>
          </a:p>
          <a:p>
            <a:pPr defTabSz="1464198"/>
            <a:endParaRPr lang="ru-RU" altLang="ru-RU" sz="1200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Овал 7"/>
          <p:cNvSpPr/>
          <p:nvPr/>
        </p:nvSpPr>
        <p:spPr bwMode="auto">
          <a:xfrm>
            <a:off x="6587728" y="2451499"/>
            <a:ext cx="71438" cy="34528"/>
          </a:xfrm>
          <a:prstGeom prst="ellipse">
            <a:avLst/>
          </a:prstGeom>
          <a:solidFill>
            <a:schemeClr val="bg1"/>
          </a:solidFill>
          <a:ln w="19050">
            <a:noFill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68570" tIns="34285" rIns="68570" bIns="34285" anchor="ctr"/>
          <a:lstStyle/>
          <a:p>
            <a:pPr algn="just">
              <a:defRPr/>
            </a:pPr>
            <a:endParaRPr lang="x-none" sz="1200" dirty="0">
              <a:solidFill>
                <a:schemeClr val="tx1"/>
              </a:solidFill>
            </a:endParaRPr>
          </a:p>
        </p:txBody>
      </p:sp>
      <p:sp>
        <p:nvSpPr>
          <p:cNvPr id="24595" name="Заголовок 5"/>
          <p:cNvSpPr>
            <a:spLocks/>
          </p:cNvSpPr>
          <p:nvPr/>
        </p:nvSpPr>
        <p:spPr bwMode="auto">
          <a:xfrm>
            <a:off x="-19050" y="16193"/>
            <a:ext cx="9163050" cy="270272"/>
          </a:xfrm>
          <a:prstGeom prst="roundRect">
            <a:avLst>
              <a:gd name="adj" fmla="val 8801"/>
            </a:avLst>
          </a:prstGeom>
          <a:solidFill>
            <a:schemeClr val="bg1"/>
          </a:solidFill>
          <a:ln>
            <a:noFill/>
          </a:ln>
        </p:spPr>
        <p:txBody>
          <a:bodyPr lIns="110073" tIns="55036" rIns="110073" bIns="55036" anchor="ctr"/>
          <a:lstStyle/>
          <a:p>
            <a:pPr algn="ctr" defTabSz="911850">
              <a:tabLst>
                <a:tab pos="2052257" algn="l"/>
              </a:tabLst>
            </a:pPr>
            <a:r>
              <a:rPr lang="ru-RU" altLang="ru-RU" sz="1500" dirty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ru-RU" sz="1500" b="1" dirty="0">
                <a:solidFill>
                  <a:srgbClr val="002060"/>
                </a:solidFill>
                <a:latin typeface="Arial" pitchFamily="34" charset="0"/>
              </a:rPr>
              <a:t>ҚҰРЫЛЫС ЖӘНЕ РЕКОНСТРУКЦИЯЛАУ БОЙЫНША 2022 ЖЫЛҒА ЖОСПАРЛАР</a:t>
            </a:r>
          </a:p>
        </p:txBody>
      </p:sp>
      <p:sp>
        <p:nvSpPr>
          <p:cNvPr id="316" name="TextBox 19"/>
          <p:cNvSpPr txBox="1">
            <a:spLocks noChangeArrowheads="1"/>
          </p:cNvSpPr>
          <p:nvPr/>
        </p:nvSpPr>
        <p:spPr bwMode="auto">
          <a:xfrm>
            <a:off x="2361569" y="2671414"/>
            <a:ext cx="2239409" cy="89255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r>
              <a:rPr lang="ru-RU" altLang="ru-RU" sz="9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7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Ақтөбе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андыағаш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Мақат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455 км </a:t>
            </a:r>
            <a:endParaRPr lang="en-US" altLang="ru-RU" sz="800" b="1" dirty="0">
              <a:solidFill>
                <a:srgbClr val="00206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7-2023 гг.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Тодини (44 км), 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АссанаДорСтрой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32 км), 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Юнисерв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60 км), Тодини (94 км), Шанхай(58 км), 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Ак-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Жол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37 км), Ант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иншаат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17 км)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43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</a:t>
            </a:r>
            <a:r>
              <a:rPr lang="en-US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299 км 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17" name="TextBox 19"/>
          <p:cNvSpPr txBox="1">
            <a:spLocks noChangeArrowheads="1"/>
          </p:cNvSpPr>
          <p:nvPr/>
        </p:nvSpPr>
        <p:spPr bwMode="auto">
          <a:xfrm>
            <a:off x="2362359" y="3624877"/>
            <a:ext cx="2197452" cy="9173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9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8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. Атырау – </a:t>
            </a:r>
            <a:r>
              <a:rPr lang="en-US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РФ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шекарасы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284 км</a:t>
            </a:r>
            <a:endParaRPr lang="ru-RU" altLang="ru-RU" sz="800" b="1" dirty="0">
              <a:solidFill>
                <a:srgbClr val="FF000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7-2023 гг.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Ант (60 км), СМС (120 км), Тодини (45 км),</a:t>
            </a:r>
            <a:r>
              <a:rPr lang="en-US" altLang="ru-RU" sz="700" i="1" dirty="0">
                <a:latin typeface="Arial" pitchFamily="34" charset="0"/>
                <a:ea typeface="MS PGothic" pitchFamily="34" charset="-128"/>
              </a:rPr>
              <a:t> </a:t>
            </a:r>
            <a:endParaRPr lang="ru-RU" altLang="ru-RU" sz="700" i="1" dirty="0"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Ланкараан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32 км), обход Атырау (27 км)</a:t>
            </a:r>
            <a:endParaRPr lang="en-US" altLang="ru-RU" sz="700" i="1" dirty="0">
              <a:latin typeface="Arial" pitchFamily="34" charset="0"/>
              <a:ea typeface="MS PGothic" pitchFamily="34" charset="-128"/>
            </a:endParaRPr>
          </a:p>
          <a:p>
            <a:pPr eaLnBrk="1" hangingPunct="1"/>
            <a:r>
              <a:rPr lang="ru-RU" altLang="ru-RU" sz="700" b="1" i="1" dirty="0">
                <a:latin typeface="Arial" pitchFamily="34" charset="0"/>
                <a:ea typeface="MS PGothic" pitchFamily="34" charset="-128"/>
              </a:rPr>
              <a:t>В 2020 г. введено в эксплуатацию – 20 км</a:t>
            </a:r>
            <a:endParaRPr lang="en-US" altLang="ru-RU" sz="700" b="1" i="1" dirty="0"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00 км.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</a:t>
            </a:r>
            <a:r>
              <a:rPr lang="en-US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20 км </a:t>
            </a:r>
          </a:p>
          <a:p>
            <a:endParaRPr lang="ru-RU" altLang="ru-RU" sz="6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4583" name="TextBox 19"/>
          <p:cNvSpPr txBox="1">
            <a:spLocks noChangeArrowheads="1"/>
          </p:cNvSpPr>
          <p:nvPr/>
        </p:nvSpPr>
        <p:spPr bwMode="auto">
          <a:xfrm>
            <a:off x="2368729" y="4547156"/>
            <a:ext cx="2255044" cy="48950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9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9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албатау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Майқапшағай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415 км </a:t>
            </a:r>
            <a:endParaRPr lang="ru-RU" altLang="ru-RU" sz="800" b="1" dirty="0">
              <a:solidFill>
                <a:srgbClr val="FF000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9-2023 гг. 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Синь-Синь 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54 км.</a:t>
            </a:r>
          </a:p>
        </p:txBody>
      </p:sp>
      <p:cxnSp>
        <p:nvCxnSpPr>
          <p:cNvPr id="61" name="Прямая соединительная линия 60"/>
          <p:cNvCxnSpPr>
            <a:cxnSpLocks/>
          </p:cNvCxnSpPr>
          <p:nvPr/>
        </p:nvCxnSpPr>
        <p:spPr>
          <a:xfrm flipH="1" flipV="1">
            <a:off x="6775526" y="2671708"/>
            <a:ext cx="5724" cy="2445704"/>
          </a:xfrm>
          <a:prstGeom prst="line">
            <a:avLst/>
          </a:prstGeom>
          <a:ln w="158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Прямая соединительная линия 313"/>
          <p:cNvCxnSpPr>
            <a:cxnSpLocks/>
          </p:cNvCxnSpPr>
          <p:nvPr/>
        </p:nvCxnSpPr>
        <p:spPr>
          <a:xfrm flipH="1" flipV="1">
            <a:off x="4465450" y="2671414"/>
            <a:ext cx="197" cy="2445999"/>
          </a:xfrm>
          <a:prstGeom prst="line">
            <a:avLst/>
          </a:prstGeom>
          <a:ln w="158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Прямая соединительная линия 304"/>
          <p:cNvCxnSpPr/>
          <p:nvPr/>
        </p:nvCxnSpPr>
        <p:spPr>
          <a:xfrm>
            <a:off x="2321" y="267494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93" name="TextBox 31"/>
          <p:cNvSpPr txBox="1">
            <a:spLocks noChangeArrowheads="1"/>
          </p:cNvSpPr>
          <p:nvPr/>
        </p:nvSpPr>
        <p:spPr bwMode="auto">
          <a:xfrm>
            <a:off x="4524715" y="2672283"/>
            <a:ext cx="2034778" cy="800219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0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Үшарал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Достық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154 км</a:t>
            </a:r>
            <a:endParaRPr lang="ru-RU" altLang="ru-RU" sz="800" b="1" dirty="0">
              <a:solidFill>
                <a:srgbClr val="FF000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7-2023 гг. </a:t>
            </a:r>
          </a:p>
          <a:p>
            <a:pPr eaLnBrk="1" hangingPunct="1"/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ыран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60 км), АБК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АвтоДор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НС (90 км), </a:t>
            </a:r>
          </a:p>
          <a:p>
            <a:pPr eaLnBrk="1" hangingPunct="1"/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не определен (4 км)</a:t>
            </a:r>
          </a:p>
          <a:p>
            <a:pPr eaLnBrk="1" hangingPunct="1"/>
            <a:r>
              <a:rPr lang="ru-RU" altLang="ru-RU" sz="600" b="1" i="1" dirty="0">
                <a:latin typeface="Arial" pitchFamily="34" charset="0"/>
                <a:ea typeface="MS PGothic" pitchFamily="34" charset="-128"/>
              </a:rPr>
              <a:t>В 2020 г. введено в эксплуатацию – 30 км</a:t>
            </a:r>
            <a:endParaRPr lang="en-US" altLang="ru-RU" sz="600" i="1" dirty="0"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30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57 км .</a:t>
            </a:r>
          </a:p>
        </p:txBody>
      </p:sp>
      <p:sp>
        <p:nvSpPr>
          <p:cNvPr id="24584" name="TextBox 19"/>
          <p:cNvSpPr txBox="1">
            <a:spLocks noChangeArrowheads="1"/>
          </p:cNvSpPr>
          <p:nvPr/>
        </p:nvSpPr>
        <p:spPr bwMode="auto">
          <a:xfrm>
            <a:off x="4517008" y="3505994"/>
            <a:ext cx="2306240" cy="851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1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останай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Денисовка – 44 км </a:t>
            </a:r>
            <a:endParaRPr lang="ru-RU" altLang="ru-RU" sz="800" b="1" dirty="0">
              <a:solidFill>
                <a:srgbClr val="FF000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8-2023 гг.</a:t>
            </a:r>
          </a:p>
          <a:p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Казахсдорстрой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 (25 км), Костанай </a:t>
            </a:r>
            <a:r>
              <a:rPr lang="ru-RU" altLang="ru-RU" sz="700" i="1" dirty="0" err="1">
                <a:latin typeface="Arial" pitchFamily="34" charset="0"/>
                <a:ea typeface="MS PGothic" pitchFamily="34" charset="-128"/>
              </a:rPr>
              <a:t>жолдары</a:t>
            </a:r>
            <a:r>
              <a:rPr lang="en-US" altLang="ru-RU" sz="700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(19 км) </a:t>
            </a:r>
            <a:r>
              <a:rPr lang="ru-RU" altLang="ru-RU" sz="600" i="1" dirty="0">
                <a:latin typeface="Arial" pitchFamily="34" charset="0"/>
                <a:ea typeface="MS PGothic" pitchFamily="34" charset="-128"/>
              </a:rPr>
              <a:t/>
            </a:r>
            <a:br>
              <a:rPr lang="ru-RU" altLang="ru-RU" sz="600" i="1" dirty="0">
                <a:latin typeface="Arial" pitchFamily="34" charset="0"/>
                <a:ea typeface="MS PGothic" pitchFamily="34" charset="-128"/>
              </a:rPr>
            </a:b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9 км;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Пайдалануға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беру – 24 км. </a:t>
            </a:r>
          </a:p>
          <a:p>
            <a:endParaRPr lang="ru-RU" altLang="ru-RU" sz="8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endParaRPr lang="ru-RU" altLang="ru-RU" sz="8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3" name="TextBox 19"/>
          <p:cNvSpPr txBox="1">
            <a:spLocks noChangeArrowheads="1"/>
          </p:cNvSpPr>
          <p:nvPr/>
        </p:nvSpPr>
        <p:spPr bwMode="auto">
          <a:xfrm>
            <a:off x="4525635" y="4127868"/>
            <a:ext cx="2306240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146843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14684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800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2. 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Қызылорда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Жезқазған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424 км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21-2024 гг.</a:t>
            </a:r>
          </a:p>
          <a:p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Қозғалыс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ашу</a:t>
            </a:r>
            <a:r>
              <a:rPr lang="ru-RU" altLang="ru-RU" sz="800" b="1" i="1" dirty="0">
                <a:solidFill>
                  <a:srgbClr val="00B050"/>
                </a:solidFill>
                <a:latin typeface="Arial" pitchFamily="34" charset="0"/>
                <a:ea typeface="MS PGothic" pitchFamily="34" charset="-128"/>
              </a:rPr>
              <a:t> – 15 км.</a:t>
            </a:r>
          </a:p>
          <a:p>
            <a:endParaRPr lang="ru-RU" altLang="ru-RU" sz="400" b="1" i="1" dirty="0">
              <a:solidFill>
                <a:srgbClr val="00B050"/>
              </a:solidFill>
              <a:latin typeface="Arial" pitchFamily="34" charset="0"/>
              <a:ea typeface="MS PGothic" pitchFamily="34" charset="-128"/>
            </a:endParaRPr>
          </a:p>
          <a:p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13.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Петропавловл</a:t>
            </a:r>
            <a:r>
              <a:rPr lang="en-US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– РФ </a:t>
            </a:r>
            <a:r>
              <a:rPr lang="ru-RU" altLang="ru-RU" sz="800" b="1" dirty="0" err="1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шекарасы</a:t>
            </a:r>
            <a:r>
              <a:rPr lang="ru-RU" altLang="ru-RU" sz="800" b="1" dirty="0">
                <a:solidFill>
                  <a:srgbClr val="002060"/>
                </a:solidFill>
                <a:latin typeface="Arial" pitchFamily="34" charset="0"/>
                <a:ea typeface="MS PGothic" pitchFamily="34" charset="-128"/>
              </a:rPr>
              <a:t> – 30  км </a:t>
            </a:r>
          </a:p>
          <a:p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Жүзеге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асыру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 </a:t>
            </a:r>
            <a:r>
              <a:rPr lang="ru-RU" altLang="ru-RU" sz="800" b="1" i="1" dirty="0" err="1">
                <a:latin typeface="Arial" pitchFamily="34" charset="0"/>
                <a:ea typeface="MS PGothic" pitchFamily="34" charset="-128"/>
              </a:rPr>
              <a:t>кезені</a:t>
            </a:r>
            <a:r>
              <a:rPr lang="ru-RU" altLang="ru-RU" sz="800" b="1" i="1" dirty="0">
                <a:latin typeface="Arial" pitchFamily="34" charset="0"/>
                <a:ea typeface="MS PGothic" pitchFamily="34" charset="-128"/>
              </a:rPr>
              <a:t>: 2017-2023 гг. </a:t>
            </a:r>
          </a:p>
          <a:p>
            <a:r>
              <a:rPr lang="ru-RU" altLang="ru-RU" sz="700" i="1" dirty="0">
                <a:latin typeface="Arial" pitchFamily="34" charset="0"/>
                <a:ea typeface="MS PGothic" pitchFamily="34" charset="-128"/>
              </a:rPr>
              <a:t>К-Дорстрой (30  км)</a:t>
            </a:r>
          </a:p>
        </p:txBody>
      </p:sp>
      <p:sp>
        <p:nvSpPr>
          <p:cNvPr id="30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/>
              <a:t>5</a:t>
            </a:r>
            <a:endParaRPr lang="ru-RU" dirty="0"/>
          </a:p>
        </p:txBody>
      </p:sp>
      <p:sp>
        <p:nvSpPr>
          <p:cNvPr id="886" name="Line 45"/>
          <p:cNvSpPr>
            <a:spLocks noChangeShapeType="1"/>
          </p:cNvSpPr>
          <p:nvPr/>
        </p:nvSpPr>
        <p:spPr bwMode="auto">
          <a:xfrm>
            <a:off x="7652798" y="376905"/>
            <a:ext cx="311215" cy="0"/>
          </a:xfrm>
          <a:prstGeom prst="line">
            <a:avLst/>
          </a:prstGeom>
          <a:noFill/>
          <a:ln w="63500">
            <a:solidFill>
              <a:srgbClr val="00B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2653" tIns="51328" rIns="102653" bIns="51328"/>
          <a:lstStyle/>
          <a:p>
            <a:pPr defTabSz="1215900"/>
            <a:endParaRPr lang="ru-RU" sz="8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7" name="Line 45"/>
          <p:cNvSpPr>
            <a:spLocks noChangeShapeType="1"/>
          </p:cNvSpPr>
          <p:nvPr/>
        </p:nvSpPr>
        <p:spPr bwMode="auto">
          <a:xfrm>
            <a:off x="7652623" y="487945"/>
            <a:ext cx="311215" cy="0"/>
          </a:xfrm>
          <a:prstGeom prst="line">
            <a:avLst/>
          </a:prstGeom>
          <a:noFill/>
          <a:ln w="63500">
            <a:solidFill>
              <a:srgbClr val="007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2653" tIns="51328" rIns="102653" bIns="51328"/>
          <a:lstStyle/>
          <a:p>
            <a:pPr defTabSz="1215900"/>
            <a:endParaRPr lang="ru-RU" sz="8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8" name="Rectangle 44"/>
          <p:cNvSpPr>
            <a:spLocks noChangeArrowheads="1"/>
          </p:cNvSpPr>
          <p:nvPr/>
        </p:nvSpPr>
        <p:spPr bwMode="auto">
          <a:xfrm>
            <a:off x="7920226" y="72025"/>
            <a:ext cx="1226095" cy="673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8546" tIns="161660" rIns="98546" bIns="49273" anchor="ctr"/>
          <a:lstStyle/>
          <a:p>
            <a:pPr defTabSz="1358127"/>
            <a:r>
              <a:rPr lang="ru-RU" altLang="ru-RU" sz="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021 </a:t>
            </a:r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ылға</a:t>
            </a:r>
            <a:r>
              <a:rPr lang="ru-RU" altLang="ru-RU" sz="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ейін</a:t>
            </a:r>
            <a:r>
              <a:rPr lang="ru-RU" altLang="ru-RU" sz="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аяқталды</a:t>
            </a:r>
            <a:endParaRPr lang="ru-RU" altLang="ru-RU" sz="6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1358127"/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Өтпелі</a:t>
            </a:r>
            <a:r>
              <a:rPr lang="ru-RU" altLang="ru-RU" sz="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обалар</a:t>
            </a:r>
            <a:endParaRPr lang="ru-RU" altLang="ru-RU" sz="600" b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1358127"/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аңа</a:t>
            </a:r>
            <a:r>
              <a:rPr lang="ru-RU" altLang="ru-RU" sz="600" b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altLang="ru-RU" sz="600" b="1" dirty="0" err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жобалар</a:t>
            </a:r>
            <a:endParaRPr lang="ru-RU" altLang="ru-RU" sz="600" b="1" dirty="0">
              <a:solidFill>
                <a:srgbClr val="59595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9" name="Line 45"/>
          <p:cNvSpPr>
            <a:spLocks noChangeShapeType="1"/>
          </p:cNvSpPr>
          <p:nvPr/>
        </p:nvSpPr>
        <p:spPr bwMode="auto">
          <a:xfrm>
            <a:off x="7656102" y="586741"/>
            <a:ext cx="311215" cy="0"/>
          </a:xfrm>
          <a:prstGeom prst="line">
            <a:avLst/>
          </a:prstGeom>
          <a:noFill/>
          <a:ln w="63500">
            <a:solidFill>
              <a:schemeClr val="accent6">
                <a:lumMod val="75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02653" tIns="51328" rIns="102653" bIns="51328"/>
          <a:lstStyle/>
          <a:p>
            <a:pPr defTabSz="1215900"/>
            <a:endParaRPr lang="ru-RU" sz="8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0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олилиния 4"/>
          <p:cNvSpPr/>
          <p:nvPr/>
        </p:nvSpPr>
        <p:spPr>
          <a:xfrm>
            <a:off x="3995738" y="573881"/>
            <a:ext cx="361950" cy="381000"/>
          </a:xfrm>
          <a:custGeom>
            <a:avLst/>
            <a:gdLst>
              <a:gd name="connsiteX0" fmla="*/ 0 w 362309"/>
              <a:gd name="connsiteY0" fmla="*/ 0 h 508959"/>
              <a:gd name="connsiteX1" fmla="*/ 103516 w 362309"/>
              <a:gd name="connsiteY1" fmla="*/ 129396 h 508959"/>
              <a:gd name="connsiteX2" fmla="*/ 163901 w 362309"/>
              <a:gd name="connsiteY2" fmla="*/ 241540 h 508959"/>
              <a:gd name="connsiteX3" fmla="*/ 215660 w 362309"/>
              <a:gd name="connsiteY3" fmla="*/ 327804 h 508959"/>
              <a:gd name="connsiteX4" fmla="*/ 276045 w 362309"/>
              <a:gd name="connsiteY4" fmla="*/ 396815 h 508959"/>
              <a:gd name="connsiteX5" fmla="*/ 362309 w 362309"/>
              <a:gd name="connsiteY5" fmla="*/ 508959 h 50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309" h="508959">
                <a:moveTo>
                  <a:pt x="0" y="0"/>
                </a:moveTo>
                <a:cubicBezTo>
                  <a:pt x="38099" y="44569"/>
                  <a:pt x="76199" y="89139"/>
                  <a:pt x="103516" y="129396"/>
                </a:cubicBezTo>
                <a:cubicBezTo>
                  <a:pt x="130833" y="169653"/>
                  <a:pt x="145210" y="208472"/>
                  <a:pt x="163901" y="241540"/>
                </a:cubicBezTo>
                <a:cubicBezTo>
                  <a:pt x="182592" y="274608"/>
                  <a:pt x="196969" y="301925"/>
                  <a:pt x="215660" y="327804"/>
                </a:cubicBezTo>
                <a:cubicBezTo>
                  <a:pt x="234351" y="353683"/>
                  <a:pt x="251604" y="366623"/>
                  <a:pt x="276045" y="396815"/>
                </a:cubicBezTo>
                <a:cubicBezTo>
                  <a:pt x="300486" y="427007"/>
                  <a:pt x="331397" y="467983"/>
                  <a:pt x="362309" y="508959"/>
                </a:cubicBezTo>
              </a:path>
            </a:pathLst>
          </a:custGeom>
          <a:noFill/>
          <a:ln w="12700" cmpd="thinThick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77" name="Полилиния 76"/>
          <p:cNvSpPr/>
          <p:nvPr/>
        </p:nvSpPr>
        <p:spPr>
          <a:xfrm>
            <a:off x="4067175" y="573881"/>
            <a:ext cx="363538" cy="381000"/>
          </a:xfrm>
          <a:custGeom>
            <a:avLst/>
            <a:gdLst>
              <a:gd name="connsiteX0" fmla="*/ 0 w 362309"/>
              <a:gd name="connsiteY0" fmla="*/ 0 h 508959"/>
              <a:gd name="connsiteX1" fmla="*/ 103516 w 362309"/>
              <a:gd name="connsiteY1" fmla="*/ 129396 h 508959"/>
              <a:gd name="connsiteX2" fmla="*/ 163901 w 362309"/>
              <a:gd name="connsiteY2" fmla="*/ 241540 h 508959"/>
              <a:gd name="connsiteX3" fmla="*/ 215660 w 362309"/>
              <a:gd name="connsiteY3" fmla="*/ 327804 h 508959"/>
              <a:gd name="connsiteX4" fmla="*/ 276045 w 362309"/>
              <a:gd name="connsiteY4" fmla="*/ 396815 h 508959"/>
              <a:gd name="connsiteX5" fmla="*/ 362309 w 362309"/>
              <a:gd name="connsiteY5" fmla="*/ 508959 h 508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2309" h="508959">
                <a:moveTo>
                  <a:pt x="0" y="0"/>
                </a:moveTo>
                <a:cubicBezTo>
                  <a:pt x="38099" y="44569"/>
                  <a:pt x="76199" y="89139"/>
                  <a:pt x="103516" y="129396"/>
                </a:cubicBezTo>
                <a:cubicBezTo>
                  <a:pt x="130833" y="169653"/>
                  <a:pt x="145210" y="208472"/>
                  <a:pt x="163901" y="241540"/>
                </a:cubicBezTo>
                <a:cubicBezTo>
                  <a:pt x="182592" y="274608"/>
                  <a:pt x="196969" y="301925"/>
                  <a:pt x="215660" y="327804"/>
                </a:cubicBezTo>
                <a:cubicBezTo>
                  <a:pt x="234351" y="353683"/>
                  <a:pt x="251604" y="366623"/>
                  <a:pt x="276045" y="396815"/>
                </a:cubicBezTo>
                <a:cubicBezTo>
                  <a:pt x="300486" y="427007"/>
                  <a:pt x="331397" y="467983"/>
                  <a:pt x="362309" y="508959"/>
                </a:cubicBezTo>
              </a:path>
            </a:pathLst>
          </a:custGeom>
          <a:noFill/>
          <a:ln w="12700" cmpd="thinThick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2053" name="Рисунок 7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81" t="27710" r="687" b="14641"/>
          <a:stretch>
            <a:fillRect/>
          </a:stretch>
        </p:blipFill>
        <p:spPr bwMode="auto">
          <a:xfrm>
            <a:off x="125103" y="573881"/>
            <a:ext cx="9012237" cy="4482704"/>
          </a:xfrm>
          <a:prstGeom prst="rect">
            <a:avLst/>
          </a:prstGeom>
          <a:noFill/>
          <a:ln w="6350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Скругленный прямоугольник 81"/>
          <p:cNvSpPr/>
          <p:nvPr/>
        </p:nvSpPr>
        <p:spPr bwMode="auto">
          <a:xfrm>
            <a:off x="6304426" y="1609544"/>
            <a:ext cx="2586876" cy="1138848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800" b="1" dirty="0">
                <a:solidFill>
                  <a:srgbClr val="C0000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а/д «Балхаш-Бурылбайтал» </a:t>
            </a:r>
            <a:r>
              <a:rPr lang="ru-RU" altLang="ru-RU" sz="900" b="1" dirty="0">
                <a:solidFill>
                  <a:srgbClr val="C00000"/>
                </a:solidFill>
                <a:cs typeface="Arial" panose="020B0604020202020204" pitchFamily="34" charset="0"/>
              </a:rPr>
              <a:t>км 1855-2152</a:t>
            </a:r>
            <a:endParaRPr lang="ru-RU" altLang="ru-RU" sz="1000" b="1" i="1" dirty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288 км 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900" b="1" i="1" dirty="0">
                <a:cs typeface="Times New Roman" panose="02020603050405020304" pitchFamily="18" charset="0"/>
              </a:rPr>
              <a:t>– 6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Синохайдро</a:t>
            </a:r>
            <a:r>
              <a:rPr lang="ru-RU" altLang="ru-RU" sz="900" b="1" i="1" dirty="0">
                <a:cs typeface="Times New Roman" panose="02020603050405020304" pitchFamily="18" charset="0"/>
              </a:rPr>
              <a:t>,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Колин,Тодини</a:t>
            </a:r>
            <a:r>
              <a:rPr lang="ru-RU" altLang="ru-RU" sz="900" b="1" i="1" dirty="0">
                <a:cs typeface="Times New Roman" panose="02020603050405020304" pitchFamily="18" charset="0"/>
              </a:rPr>
              <a:t>-СМС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cs typeface="Times New Roman" panose="02020603050405020304" pitchFamily="18" charset="0"/>
              </a:rPr>
              <a:t>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128 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млрд.тг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МБРР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үзеге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ас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</a:t>
            </a:r>
            <a:r>
              <a:rPr lang="en-US" altLang="ru-RU" sz="900" b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>
                <a:cs typeface="Times New Roman" panose="02020603050405020304" pitchFamily="18" charset="0"/>
              </a:rPr>
              <a:t>2020-2023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г.г</a:t>
            </a:r>
            <a:r>
              <a:rPr lang="ru-RU" altLang="ru-RU" sz="900" b="1" i="1" dirty="0"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89" name="Скругленный прямоугольник 88"/>
          <p:cNvSpPr/>
          <p:nvPr/>
        </p:nvSpPr>
        <p:spPr bwMode="auto">
          <a:xfrm>
            <a:off x="6304426" y="2815377"/>
            <a:ext cx="2588054" cy="1168772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 «</a:t>
            </a:r>
            <a:r>
              <a:rPr lang="kk-KZ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Курты</a:t>
            </a: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-Бурылбайтал» </a:t>
            </a:r>
            <a:r>
              <a:rPr lang="ru-RU" altLang="ru-RU" sz="900" b="1" dirty="0">
                <a:solidFill>
                  <a:srgbClr val="C00000"/>
                </a:solidFill>
                <a:cs typeface="Arial" panose="020B0604020202020204" pitchFamily="34" charset="0"/>
              </a:rPr>
              <a:t>км 2152-2380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dirty="0">
                <a:cs typeface="Times New Roman" panose="02020603050405020304" pitchFamily="18" charset="0"/>
              </a:rPr>
              <a:t>228 </a:t>
            </a:r>
            <a:r>
              <a:rPr lang="ru-RU" altLang="ru-RU" sz="900" b="1" i="1" dirty="0">
                <a:cs typeface="Times New Roman" panose="02020603050405020304" pitchFamily="18" charset="0"/>
              </a:rPr>
              <a:t>км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900" b="1" i="1" dirty="0">
                <a:cs typeface="Times New Roman" panose="02020603050405020304" pitchFamily="18" charset="0"/>
              </a:rPr>
              <a:t>– 4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</a:t>
            </a:r>
            <a:r>
              <a:rPr lang="ru-RU" altLang="ru-RU" sz="900" b="1" i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Тодини</a:t>
            </a:r>
            <a:r>
              <a:rPr lang="ru-RU" altLang="ru-RU" sz="900" b="1" i="1" dirty="0">
                <a:cs typeface="Times New Roman" panose="02020603050405020304" pitchFamily="18" charset="0"/>
              </a:rPr>
              <a:t>-СМС, </a:t>
            </a:r>
          </a:p>
          <a:p>
            <a:pPr>
              <a:defRPr/>
            </a:pPr>
            <a:r>
              <a:rPr lang="ru-RU" altLang="ru-RU" sz="900" b="1" i="1" dirty="0" err="1">
                <a:cs typeface="Times New Roman" panose="02020603050405020304" pitchFamily="18" charset="0"/>
              </a:rPr>
              <a:t>Синохайдро</a:t>
            </a:r>
            <a:r>
              <a:rPr lang="ru-RU" altLang="ru-RU" sz="900" b="1" i="1" dirty="0">
                <a:cs typeface="Times New Roman" panose="02020603050405020304" pitchFamily="18" charset="0"/>
              </a:rPr>
              <a:t>, </a:t>
            </a:r>
            <a:r>
              <a:rPr lang="en-US" altLang="ru-RU" sz="900" b="1" i="1" dirty="0" err="1">
                <a:cs typeface="Times New Roman" panose="02020603050405020304" pitchFamily="18" charset="0"/>
              </a:rPr>
              <a:t>Fermag</a:t>
            </a:r>
            <a:r>
              <a:rPr lang="en-US" altLang="ru-RU" sz="900" b="1" i="1" dirty="0">
                <a:cs typeface="Times New Roman" panose="02020603050405020304" pitchFamily="18" charset="0"/>
              </a:rPr>
              <a:t>/</a:t>
            </a:r>
            <a:r>
              <a:rPr lang="kk-KZ" altLang="ru-RU" sz="900" b="1" i="1" dirty="0">
                <a:cs typeface="Times New Roman" panose="02020603050405020304" pitchFamily="18" charset="0"/>
              </a:rPr>
              <a:t>Акжол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cs typeface="Times New Roman" panose="02020603050405020304" pitchFamily="18" charset="0"/>
              </a:rPr>
              <a:t>– 71</a:t>
            </a:r>
            <a:r>
              <a:rPr lang="ru-RU" altLang="ru-RU" sz="900" b="1" i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млрд.тг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ЕБРР, МБРР 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үзеге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ас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</a:t>
            </a:r>
            <a:r>
              <a:rPr lang="en-US" altLang="ru-RU" sz="900" b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>
                <a:cs typeface="Times New Roman" panose="02020603050405020304" pitchFamily="18" charset="0"/>
              </a:rPr>
              <a:t>2019-2023</a:t>
            </a:r>
            <a:r>
              <a:rPr lang="en-US" altLang="ru-RU" sz="900" b="1" i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г.г</a:t>
            </a:r>
            <a:r>
              <a:rPr lang="ru-RU" altLang="ru-RU" sz="900" b="1" i="1" dirty="0"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00" name="AutoShape 19"/>
          <p:cNvSpPr>
            <a:spLocks noChangeArrowheads="1"/>
          </p:cNvSpPr>
          <p:nvPr/>
        </p:nvSpPr>
        <p:spPr bwMode="auto">
          <a:xfrm>
            <a:off x="5264853" y="2874169"/>
            <a:ext cx="766762" cy="16073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Балқаш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4270375" y="1682354"/>
            <a:ext cx="776288" cy="1283494"/>
          </a:xfrm>
          <a:custGeom>
            <a:avLst/>
            <a:gdLst>
              <a:gd name="connsiteX0" fmla="*/ 0 w 776378"/>
              <a:gd name="connsiteY0" fmla="*/ 0 h 1711123"/>
              <a:gd name="connsiteX1" fmla="*/ 69012 w 776378"/>
              <a:gd name="connsiteY1" fmla="*/ 129396 h 1711123"/>
              <a:gd name="connsiteX2" fmla="*/ 69012 w 776378"/>
              <a:gd name="connsiteY2" fmla="*/ 189781 h 1711123"/>
              <a:gd name="connsiteX3" fmla="*/ 69012 w 776378"/>
              <a:gd name="connsiteY3" fmla="*/ 241540 h 1711123"/>
              <a:gd name="connsiteX4" fmla="*/ 94891 w 776378"/>
              <a:gd name="connsiteY4" fmla="*/ 319177 h 1711123"/>
              <a:gd name="connsiteX5" fmla="*/ 138023 w 776378"/>
              <a:gd name="connsiteY5" fmla="*/ 353683 h 1711123"/>
              <a:gd name="connsiteX6" fmla="*/ 172529 w 776378"/>
              <a:gd name="connsiteY6" fmla="*/ 422694 h 1711123"/>
              <a:gd name="connsiteX7" fmla="*/ 181155 w 776378"/>
              <a:gd name="connsiteY7" fmla="*/ 457200 h 1711123"/>
              <a:gd name="connsiteX8" fmla="*/ 189782 w 776378"/>
              <a:gd name="connsiteY8" fmla="*/ 508958 h 1711123"/>
              <a:gd name="connsiteX9" fmla="*/ 198408 w 776378"/>
              <a:gd name="connsiteY9" fmla="*/ 569343 h 1711123"/>
              <a:gd name="connsiteX10" fmla="*/ 215661 w 776378"/>
              <a:gd name="connsiteY10" fmla="*/ 621102 h 1711123"/>
              <a:gd name="connsiteX11" fmla="*/ 224287 w 776378"/>
              <a:gd name="connsiteY11" fmla="*/ 672860 h 1711123"/>
              <a:gd name="connsiteX12" fmla="*/ 232914 w 776378"/>
              <a:gd name="connsiteY12" fmla="*/ 707366 h 1711123"/>
              <a:gd name="connsiteX13" fmla="*/ 232914 w 776378"/>
              <a:gd name="connsiteY13" fmla="*/ 785004 h 1711123"/>
              <a:gd name="connsiteX14" fmla="*/ 258793 w 776378"/>
              <a:gd name="connsiteY14" fmla="*/ 802257 h 1711123"/>
              <a:gd name="connsiteX15" fmla="*/ 284672 w 776378"/>
              <a:gd name="connsiteY15" fmla="*/ 862641 h 1711123"/>
              <a:gd name="connsiteX16" fmla="*/ 293299 w 776378"/>
              <a:gd name="connsiteY16" fmla="*/ 879894 h 1711123"/>
              <a:gd name="connsiteX17" fmla="*/ 276046 w 776378"/>
              <a:gd name="connsiteY17" fmla="*/ 948906 h 1711123"/>
              <a:gd name="connsiteX18" fmla="*/ 379563 w 776378"/>
              <a:gd name="connsiteY18" fmla="*/ 1061049 h 1711123"/>
              <a:gd name="connsiteX19" fmla="*/ 414068 w 776378"/>
              <a:gd name="connsiteY19" fmla="*/ 1147313 h 1711123"/>
              <a:gd name="connsiteX20" fmla="*/ 448574 w 776378"/>
              <a:gd name="connsiteY20" fmla="*/ 1207698 h 1711123"/>
              <a:gd name="connsiteX21" fmla="*/ 543465 w 776378"/>
              <a:gd name="connsiteY21" fmla="*/ 1276709 h 1711123"/>
              <a:gd name="connsiteX22" fmla="*/ 603850 w 776378"/>
              <a:gd name="connsiteY22" fmla="*/ 1371600 h 1711123"/>
              <a:gd name="connsiteX23" fmla="*/ 672861 w 776378"/>
              <a:gd name="connsiteY23" fmla="*/ 1414732 h 1711123"/>
              <a:gd name="connsiteX24" fmla="*/ 741872 w 776378"/>
              <a:gd name="connsiteY24" fmla="*/ 1492370 h 1711123"/>
              <a:gd name="connsiteX25" fmla="*/ 767751 w 776378"/>
              <a:gd name="connsiteY25" fmla="*/ 1613140 h 1711123"/>
              <a:gd name="connsiteX26" fmla="*/ 776378 w 776378"/>
              <a:gd name="connsiteY26" fmla="*/ 1699404 h 1711123"/>
              <a:gd name="connsiteX27" fmla="*/ 767751 w 776378"/>
              <a:gd name="connsiteY27" fmla="*/ 1708030 h 1711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776378" h="1711123">
                <a:moveTo>
                  <a:pt x="0" y="0"/>
                </a:moveTo>
                <a:cubicBezTo>
                  <a:pt x="28755" y="48883"/>
                  <a:pt x="57510" y="97766"/>
                  <a:pt x="69012" y="129396"/>
                </a:cubicBezTo>
                <a:cubicBezTo>
                  <a:pt x="80514" y="161026"/>
                  <a:pt x="69012" y="189781"/>
                  <a:pt x="69012" y="189781"/>
                </a:cubicBezTo>
                <a:cubicBezTo>
                  <a:pt x="69012" y="208472"/>
                  <a:pt x="64699" y="219974"/>
                  <a:pt x="69012" y="241540"/>
                </a:cubicBezTo>
                <a:cubicBezTo>
                  <a:pt x="73325" y="263106"/>
                  <a:pt x="83389" y="300487"/>
                  <a:pt x="94891" y="319177"/>
                </a:cubicBezTo>
                <a:cubicBezTo>
                  <a:pt x="106393" y="337867"/>
                  <a:pt x="125083" y="336430"/>
                  <a:pt x="138023" y="353683"/>
                </a:cubicBezTo>
                <a:cubicBezTo>
                  <a:pt x="150963" y="370936"/>
                  <a:pt x="165340" y="405441"/>
                  <a:pt x="172529" y="422694"/>
                </a:cubicBezTo>
                <a:cubicBezTo>
                  <a:pt x="179718" y="439947"/>
                  <a:pt x="178280" y="442823"/>
                  <a:pt x="181155" y="457200"/>
                </a:cubicBezTo>
                <a:cubicBezTo>
                  <a:pt x="184030" y="471577"/>
                  <a:pt x="186907" y="490268"/>
                  <a:pt x="189782" y="508958"/>
                </a:cubicBezTo>
                <a:cubicBezTo>
                  <a:pt x="192657" y="527648"/>
                  <a:pt x="194095" y="550652"/>
                  <a:pt x="198408" y="569343"/>
                </a:cubicBezTo>
                <a:cubicBezTo>
                  <a:pt x="202721" y="588034"/>
                  <a:pt x="211348" y="603849"/>
                  <a:pt x="215661" y="621102"/>
                </a:cubicBezTo>
                <a:cubicBezTo>
                  <a:pt x="219974" y="638355"/>
                  <a:pt x="221412" y="658483"/>
                  <a:pt x="224287" y="672860"/>
                </a:cubicBezTo>
                <a:cubicBezTo>
                  <a:pt x="227162" y="687237"/>
                  <a:pt x="231476" y="688675"/>
                  <a:pt x="232914" y="707366"/>
                </a:cubicBezTo>
                <a:cubicBezTo>
                  <a:pt x="234352" y="726057"/>
                  <a:pt x="228601" y="769189"/>
                  <a:pt x="232914" y="785004"/>
                </a:cubicBezTo>
                <a:cubicBezTo>
                  <a:pt x="237227" y="800819"/>
                  <a:pt x="250167" y="789317"/>
                  <a:pt x="258793" y="802257"/>
                </a:cubicBezTo>
                <a:cubicBezTo>
                  <a:pt x="267419" y="815197"/>
                  <a:pt x="278921" y="849702"/>
                  <a:pt x="284672" y="862641"/>
                </a:cubicBezTo>
                <a:cubicBezTo>
                  <a:pt x="290423" y="875581"/>
                  <a:pt x="294737" y="865517"/>
                  <a:pt x="293299" y="879894"/>
                </a:cubicBezTo>
                <a:cubicBezTo>
                  <a:pt x="291861" y="894271"/>
                  <a:pt x="261669" y="918714"/>
                  <a:pt x="276046" y="948906"/>
                </a:cubicBezTo>
                <a:cubicBezTo>
                  <a:pt x="290423" y="979098"/>
                  <a:pt x="356559" y="1027981"/>
                  <a:pt x="379563" y="1061049"/>
                </a:cubicBezTo>
                <a:cubicBezTo>
                  <a:pt x="402567" y="1094117"/>
                  <a:pt x="402566" y="1122872"/>
                  <a:pt x="414068" y="1147313"/>
                </a:cubicBezTo>
                <a:cubicBezTo>
                  <a:pt x="425570" y="1171755"/>
                  <a:pt x="427008" y="1186132"/>
                  <a:pt x="448574" y="1207698"/>
                </a:cubicBezTo>
                <a:cubicBezTo>
                  <a:pt x="470140" y="1229264"/>
                  <a:pt x="517586" y="1249392"/>
                  <a:pt x="543465" y="1276709"/>
                </a:cubicBezTo>
                <a:cubicBezTo>
                  <a:pt x="569344" y="1304026"/>
                  <a:pt x="582284" y="1348596"/>
                  <a:pt x="603850" y="1371600"/>
                </a:cubicBezTo>
                <a:cubicBezTo>
                  <a:pt x="625416" y="1394604"/>
                  <a:pt x="649857" y="1394604"/>
                  <a:pt x="672861" y="1414732"/>
                </a:cubicBezTo>
                <a:cubicBezTo>
                  <a:pt x="695865" y="1434860"/>
                  <a:pt x="726057" y="1459302"/>
                  <a:pt x="741872" y="1492370"/>
                </a:cubicBezTo>
                <a:cubicBezTo>
                  <a:pt x="757687" y="1525438"/>
                  <a:pt x="762000" y="1578634"/>
                  <a:pt x="767751" y="1613140"/>
                </a:cubicBezTo>
                <a:cubicBezTo>
                  <a:pt x="773502" y="1647646"/>
                  <a:pt x="776378" y="1683589"/>
                  <a:pt x="776378" y="1699404"/>
                </a:cubicBezTo>
                <a:cubicBezTo>
                  <a:pt x="776378" y="1715219"/>
                  <a:pt x="772064" y="1711624"/>
                  <a:pt x="767751" y="1708030"/>
                </a:cubicBezTo>
              </a:path>
            </a:pathLst>
          </a:custGeom>
          <a:noFill/>
          <a:ln w="190500" cmpd="sng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1" name="Блок-схема: узел 90"/>
          <p:cNvSpPr/>
          <p:nvPr/>
        </p:nvSpPr>
        <p:spPr>
          <a:xfrm>
            <a:off x="4117975" y="1545432"/>
            <a:ext cx="261938" cy="188119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Полилиния 1"/>
          <p:cNvSpPr/>
          <p:nvPr/>
        </p:nvSpPr>
        <p:spPr>
          <a:xfrm>
            <a:off x="4306888" y="1728788"/>
            <a:ext cx="696912" cy="1113235"/>
          </a:xfrm>
          <a:custGeom>
            <a:avLst/>
            <a:gdLst>
              <a:gd name="connsiteX0" fmla="*/ 1630 w 696866"/>
              <a:gd name="connsiteY0" fmla="*/ 0 h 1483743"/>
              <a:gd name="connsiteX1" fmla="*/ 10256 w 696866"/>
              <a:gd name="connsiteY1" fmla="*/ 155276 h 1483743"/>
              <a:gd name="connsiteX2" fmla="*/ 79267 w 696866"/>
              <a:gd name="connsiteY2" fmla="*/ 267419 h 1483743"/>
              <a:gd name="connsiteX3" fmla="*/ 139652 w 696866"/>
              <a:gd name="connsiteY3" fmla="*/ 379562 h 1483743"/>
              <a:gd name="connsiteX4" fmla="*/ 131026 w 696866"/>
              <a:gd name="connsiteY4" fmla="*/ 439947 h 1483743"/>
              <a:gd name="connsiteX5" fmla="*/ 156905 w 696866"/>
              <a:gd name="connsiteY5" fmla="*/ 526211 h 1483743"/>
              <a:gd name="connsiteX6" fmla="*/ 191411 w 696866"/>
              <a:gd name="connsiteY6" fmla="*/ 707366 h 1483743"/>
              <a:gd name="connsiteX7" fmla="*/ 225917 w 696866"/>
              <a:gd name="connsiteY7" fmla="*/ 759125 h 1483743"/>
              <a:gd name="connsiteX8" fmla="*/ 243169 w 696866"/>
              <a:gd name="connsiteY8" fmla="*/ 862642 h 1483743"/>
              <a:gd name="connsiteX9" fmla="*/ 320807 w 696866"/>
              <a:gd name="connsiteY9" fmla="*/ 974785 h 1483743"/>
              <a:gd name="connsiteX10" fmla="*/ 346686 w 696866"/>
              <a:gd name="connsiteY10" fmla="*/ 1035170 h 1483743"/>
              <a:gd name="connsiteX11" fmla="*/ 398445 w 696866"/>
              <a:gd name="connsiteY11" fmla="*/ 1147313 h 1483743"/>
              <a:gd name="connsiteX12" fmla="*/ 484709 w 696866"/>
              <a:gd name="connsiteY12" fmla="*/ 1216325 h 1483743"/>
              <a:gd name="connsiteX13" fmla="*/ 562347 w 696866"/>
              <a:gd name="connsiteY13" fmla="*/ 1285336 h 1483743"/>
              <a:gd name="connsiteX14" fmla="*/ 614105 w 696866"/>
              <a:gd name="connsiteY14" fmla="*/ 1354347 h 1483743"/>
              <a:gd name="connsiteX15" fmla="*/ 691743 w 696866"/>
              <a:gd name="connsiteY15" fmla="*/ 1423359 h 1483743"/>
              <a:gd name="connsiteX16" fmla="*/ 683117 w 696866"/>
              <a:gd name="connsiteY16" fmla="*/ 1483743 h 1483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96866" h="1483743">
                <a:moveTo>
                  <a:pt x="1630" y="0"/>
                </a:moveTo>
                <a:cubicBezTo>
                  <a:pt x="-527" y="55353"/>
                  <a:pt x="-2684" y="110706"/>
                  <a:pt x="10256" y="155276"/>
                </a:cubicBezTo>
                <a:cubicBezTo>
                  <a:pt x="23196" y="199846"/>
                  <a:pt x="57701" y="230038"/>
                  <a:pt x="79267" y="267419"/>
                </a:cubicBezTo>
                <a:cubicBezTo>
                  <a:pt x="100833" y="304800"/>
                  <a:pt x="131026" y="350807"/>
                  <a:pt x="139652" y="379562"/>
                </a:cubicBezTo>
                <a:cubicBezTo>
                  <a:pt x="148278" y="408317"/>
                  <a:pt x="128151" y="415506"/>
                  <a:pt x="131026" y="439947"/>
                </a:cubicBezTo>
                <a:cubicBezTo>
                  <a:pt x="133901" y="464388"/>
                  <a:pt x="146841" y="481641"/>
                  <a:pt x="156905" y="526211"/>
                </a:cubicBezTo>
                <a:cubicBezTo>
                  <a:pt x="166969" y="570781"/>
                  <a:pt x="179909" y="668547"/>
                  <a:pt x="191411" y="707366"/>
                </a:cubicBezTo>
                <a:cubicBezTo>
                  <a:pt x="202913" y="746185"/>
                  <a:pt x="217291" y="733246"/>
                  <a:pt x="225917" y="759125"/>
                </a:cubicBezTo>
                <a:cubicBezTo>
                  <a:pt x="234543" y="785004"/>
                  <a:pt x="227354" y="826699"/>
                  <a:pt x="243169" y="862642"/>
                </a:cubicBezTo>
                <a:cubicBezTo>
                  <a:pt x="258984" y="898585"/>
                  <a:pt x="303554" y="946030"/>
                  <a:pt x="320807" y="974785"/>
                </a:cubicBezTo>
                <a:cubicBezTo>
                  <a:pt x="338060" y="1003540"/>
                  <a:pt x="333746" y="1006415"/>
                  <a:pt x="346686" y="1035170"/>
                </a:cubicBezTo>
                <a:cubicBezTo>
                  <a:pt x="359626" y="1063925"/>
                  <a:pt x="375441" y="1117121"/>
                  <a:pt x="398445" y="1147313"/>
                </a:cubicBezTo>
                <a:cubicBezTo>
                  <a:pt x="421449" y="1177506"/>
                  <a:pt x="457392" y="1193321"/>
                  <a:pt x="484709" y="1216325"/>
                </a:cubicBezTo>
                <a:cubicBezTo>
                  <a:pt x="512026" y="1239329"/>
                  <a:pt x="540781" y="1262332"/>
                  <a:pt x="562347" y="1285336"/>
                </a:cubicBezTo>
                <a:cubicBezTo>
                  <a:pt x="583913" y="1308340"/>
                  <a:pt x="592539" y="1331343"/>
                  <a:pt x="614105" y="1354347"/>
                </a:cubicBezTo>
                <a:cubicBezTo>
                  <a:pt x="635671" y="1377351"/>
                  <a:pt x="680241" y="1401793"/>
                  <a:pt x="691743" y="1423359"/>
                </a:cubicBezTo>
                <a:cubicBezTo>
                  <a:pt x="703245" y="1444925"/>
                  <a:pt x="693181" y="1464334"/>
                  <a:pt x="683117" y="1483743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8" name="Полилиния 27"/>
          <p:cNvSpPr/>
          <p:nvPr/>
        </p:nvSpPr>
        <p:spPr>
          <a:xfrm>
            <a:off x="4356101" y="1728788"/>
            <a:ext cx="696913" cy="1113235"/>
          </a:xfrm>
          <a:custGeom>
            <a:avLst/>
            <a:gdLst>
              <a:gd name="connsiteX0" fmla="*/ 1630 w 696866"/>
              <a:gd name="connsiteY0" fmla="*/ 0 h 1483743"/>
              <a:gd name="connsiteX1" fmla="*/ 10256 w 696866"/>
              <a:gd name="connsiteY1" fmla="*/ 155276 h 1483743"/>
              <a:gd name="connsiteX2" fmla="*/ 79267 w 696866"/>
              <a:gd name="connsiteY2" fmla="*/ 267419 h 1483743"/>
              <a:gd name="connsiteX3" fmla="*/ 139652 w 696866"/>
              <a:gd name="connsiteY3" fmla="*/ 379562 h 1483743"/>
              <a:gd name="connsiteX4" fmla="*/ 131026 w 696866"/>
              <a:gd name="connsiteY4" fmla="*/ 439947 h 1483743"/>
              <a:gd name="connsiteX5" fmla="*/ 156905 w 696866"/>
              <a:gd name="connsiteY5" fmla="*/ 526211 h 1483743"/>
              <a:gd name="connsiteX6" fmla="*/ 191411 w 696866"/>
              <a:gd name="connsiteY6" fmla="*/ 707366 h 1483743"/>
              <a:gd name="connsiteX7" fmla="*/ 225917 w 696866"/>
              <a:gd name="connsiteY7" fmla="*/ 759125 h 1483743"/>
              <a:gd name="connsiteX8" fmla="*/ 243169 w 696866"/>
              <a:gd name="connsiteY8" fmla="*/ 862642 h 1483743"/>
              <a:gd name="connsiteX9" fmla="*/ 320807 w 696866"/>
              <a:gd name="connsiteY9" fmla="*/ 974785 h 1483743"/>
              <a:gd name="connsiteX10" fmla="*/ 346686 w 696866"/>
              <a:gd name="connsiteY10" fmla="*/ 1035170 h 1483743"/>
              <a:gd name="connsiteX11" fmla="*/ 398445 w 696866"/>
              <a:gd name="connsiteY11" fmla="*/ 1147313 h 1483743"/>
              <a:gd name="connsiteX12" fmla="*/ 484709 w 696866"/>
              <a:gd name="connsiteY12" fmla="*/ 1216325 h 1483743"/>
              <a:gd name="connsiteX13" fmla="*/ 562347 w 696866"/>
              <a:gd name="connsiteY13" fmla="*/ 1285336 h 1483743"/>
              <a:gd name="connsiteX14" fmla="*/ 614105 w 696866"/>
              <a:gd name="connsiteY14" fmla="*/ 1354347 h 1483743"/>
              <a:gd name="connsiteX15" fmla="*/ 691743 w 696866"/>
              <a:gd name="connsiteY15" fmla="*/ 1423359 h 1483743"/>
              <a:gd name="connsiteX16" fmla="*/ 683117 w 696866"/>
              <a:gd name="connsiteY16" fmla="*/ 1483743 h 1483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96866" h="1483743">
                <a:moveTo>
                  <a:pt x="1630" y="0"/>
                </a:moveTo>
                <a:cubicBezTo>
                  <a:pt x="-527" y="55353"/>
                  <a:pt x="-2684" y="110706"/>
                  <a:pt x="10256" y="155276"/>
                </a:cubicBezTo>
                <a:cubicBezTo>
                  <a:pt x="23196" y="199846"/>
                  <a:pt x="57701" y="230038"/>
                  <a:pt x="79267" y="267419"/>
                </a:cubicBezTo>
                <a:cubicBezTo>
                  <a:pt x="100833" y="304800"/>
                  <a:pt x="131026" y="350807"/>
                  <a:pt x="139652" y="379562"/>
                </a:cubicBezTo>
                <a:cubicBezTo>
                  <a:pt x="148278" y="408317"/>
                  <a:pt x="128151" y="415506"/>
                  <a:pt x="131026" y="439947"/>
                </a:cubicBezTo>
                <a:cubicBezTo>
                  <a:pt x="133901" y="464388"/>
                  <a:pt x="146841" y="481641"/>
                  <a:pt x="156905" y="526211"/>
                </a:cubicBezTo>
                <a:cubicBezTo>
                  <a:pt x="166969" y="570781"/>
                  <a:pt x="179909" y="668547"/>
                  <a:pt x="191411" y="707366"/>
                </a:cubicBezTo>
                <a:cubicBezTo>
                  <a:pt x="202913" y="746185"/>
                  <a:pt x="217291" y="733246"/>
                  <a:pt x="225917" y="759125"/>
                </a:cubicBezTo>
                <a:cubicBezTo>
                  <a:pt x="234543" y="785004"/>
                  <a:pt x="227354" y="826699"/>
                  <a:pt x="243169" y="862642"/>
                </a:cubicBezTo>
                <a:cubicBezTo>
                  <a:pt x="258984" y="898585"/>
                  <a:pt x="303554" y="946030"/>
                  <a:pt x="320807" y="974785"/>
                </a:cubicBezTo>
                <a:cubicBezTo>
                  <a:pt x="338060" y="1003540"/>
                  <a:pt x="333746" y="1006415"/>
                  <a:pt x="346686" y="1035170"/>
                </a:cubicBezTo>
                <a:cubicBezTo>
                  <a:pt x="359626" y="1063925"/>
                  <a:pt x="375441" y="1117121"/>
                  <a:pt x="398445" y="1147313"/>
                </a:cubicBezTo>
                <a:cubicBezTo>
                  <a:pt x="421449" y="1177506"/>
                  <a:pt x="457392" y="1193321"/>
                  <a:pt x="484709" y="1216325"/>
                </a:cubicBezTo>
                <a:cubicBezTo>
                  <a:pt x="512026" y="1239329"/>
                  <a:pt x="540781" y="1262332"/>
                  <a:pt x="562347" y="1285336"/>
                </a:cubicBezTo>
                <a:cubicBezTo>
                  <a:pt x="583913" y="1308340"/>
                  <a:pt x="592539" y="1331343"/>
                  <a:pt x="614105" y="1354347"/>
                </a:cubicBezTo>
                <a:cubicBezTo>
                  <a:pt x="635671" y="1377351"/>
                  <a:pt x="680241" y="1401793"/>
                  <a:pt x="691743" y="1423359"/>
                </a:cubicBezTo>
                <a:cubicBezTo>
                  <a:pt x="703245" y="1444925"/>
                  <a:pt x="693181" y="1464334"/>
                  <a:pt x="683117" y="148374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0" name="Полилиния 29"/>
          <p:cNvSpPr/>
          <p:nvPr/>
        </p:nvSpPr>
        <p:spPr>
          <a:xfrm>
            <a:off x="4284663" y="1762125"/>
            <a:ext cx="696912" cy="1112044"/>
          </a:xfrm>
          <a:custGeom>
            <a:avLst/>
            <a:gdLst>
              <a:gd name="connsiteX0" fmla="*/ 1630 w 696866"/>
              <a:gd name="connsiteY0" fmla="*/ 0 h 1483743"/>
              <a:gd name="connsiteX1" fmla="*/ 10256 w 696866"/>
              <a:gd name="connsiteY1" fmla="*/ 155276 h 1483743"/>
              <a:gd name="connsiteX2" fmla="*/ 79267 w 696866"/>
              <a:gd name="connsiteY2" fmla="*/ 267419 h 1483743"/>
              <a:gd name="connsiteX3" fmla="*/ 139652 w 696866"/>
              <a:gd name="connsiteY3" fmla="*/ 379562 h 1483743"/>
              <a:gd name="connsiteX4" fmla="*/ 131026 w 696866"/>
              <a:gd name="connsiteY4" fmla="*/ 439947 h 1483743"/>
              <a:gd name="connsiteX5" fmla="*/ 156905 w 696866"/>
              <a:gd name="connsiteY5" fmla="*/ 526211 h 1483743"/>
              <a:gd name="connsiteX6" fmla="*/ 191411 w 696866"/>
              <a:gd name="connsiteY6" fmla="*/ 707366 h 1483743"/>
              <a:gd name="connsiteX7" fmla="*/ 225917 w 696866"/>
              <a:gd name="connsiteY7" fmla="*/ 759125 h 1483743"/>
              <a:gd name="connsiteX8" fmla="*/ 243169 w 696866"/>
              <a:gd name="connsiteY8" fmla="*/ 862642 h 1483743"/>
              <a:gd name="connsiteX9" fmla="*/ 320807 w 696866"/>
              <a:gd name="connsiteY9" fmla="*/ 974785 h 1483743"/>
              <a:gd name="connsiteX10" fmla="*/ 346686 w 696866"/>
              <a:gd name="connsiteY10" fmla="*/ 1035170 h 1483743"/>
              <a:gd name="connsiteX11" fmla="*/ 398445 w 696866"/>
              <a:gd name="connsiteY11" fmla="*/ 1147313 h 1483743"/>
              <a:gd name="connsiteX12" fmla="*/ 484709 w 696866"/>
              <a:gd name="connsiteY12" fmla="*/ 1216325 h 1483743"/>
              <a:gd name="connsiteX13" fmla="*/ 562347 w 696866"/>
              <a:gd name="connsiteY13" fmla="*/ 1285336 h 1483743"/>
              <a:gd name="connsiteX14" fmla="*/ 614105 w 696866"/>
              <a:gd name="connsiteY14" fmla="*/ 1354347 h 1483743"/>
              <a:gd name="connsiteX15" fmla="*/ 691743 w 696866"/>
              <a:gd name="connsiteY15" fmla="*/ 1423359 h 1483743"/>
              <a:gd name="connsiteX16" fmla="*/ 683117 w 696866"/>
              <a:gd name="connsiteY16" fmla="*/ 1483743 h 1483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96866" h="1483743">
                <a:moveTo>
                  <a:pt x="1630" y="0"/>
                </a:moveTo>
                <a:cubicBezTo>
                  <a:pt x="-527" y="55353"/>
                  <a:pt x="-2684" y="110706"/>
                  <a:pt x="10256" y="155276"/>
                </a:cubicBezTo>
                <a:cubicBezTo>
                  <a:pt x="23196" y="199846"/>
                  <a:pt x="57701" y="230038"/>
                  <a:pt x="79267" y="267419"/>
                </a:cubicBezTo>
                <a:cubicBezTo>
                  <a:pt x="100833" y="304800"/>
                  <a:pt x="131026" y="350807"/>
                  <a:pt x="139652" y="379562"/>
                </a:cubicBezTo>
                <a:cubicBezTo>
                  <a:pt x="148278" y="408317"/>
                  <a:pt x="128151" y="415506"/>
                  <a:pt x="131026" y="439947"/>
                </a:cubicBezTo>
                <a:cubicBezTo>
                  <a:pt x="133901" y="464388"/>
                  <a:pt x="146841" y="481641"/>
                  <a:pt x="156905" y="526211"/>
                </a:cubicBezTo>
                <a:cubicBezTo>
                  <a:pt x="166969" y="570781"/>
                  <a:pt x="179909" y="668547"/>
                  <a:pt x="191411" y="707366"/>
                </a:cubicBezTo>
                <a:cubicBezTo>
                  <a:pt x="202913" y="746185"/>
                  <a:pt x="217291" y="733246"/>
                  <a:pt x="225917" y="759125"/>
                </a:cubicBezTo>
                <a:cubicBezTo>
                  <a:pt x="234543" y="785004"/>
                  <a:pt x="227354" y="826699"/>
                  <a:pt x="243169" y="862642"/>
                </a:cubicBezTo>
                <a:cubicBezTo>
                  <a:pt x="258984" y="898585"/>
                  <a:pt x="303554" y="946030"/>
                  <a:pt x="320807" y="974785"/>
                </a:cubicBezTo>
                <a:cubicBezTo>
                  <a:pt x="338060" y="1003540"/>
                  <a:pt x="333746" y="1006415"/>
                  <a:pt x="346686" y="1035170"/>
                </a:cubicBezTo>
                <a:cubicBezTo>
                  <a:pt x="359626" y="1063925"/>
                  <a:pt x="375441" y="1117121"/>
                  <a:pt x="398445" y="1147313"/>
                </a:cubicBezTo>
                <a:cubicBezTo>
                  <a:pt x="421449" y="1177506"/>
                  <a:pt x="457392" y="1193321"/>
                  <a:pt x="484709" y="1216325"/>
                </a:cubicBezTo>
                <a:cubicBezTo>
                  <a:pt x="512026" y="1239329"/>
                  <a:pt x="540781" y="1262332"/>
                  <a:pt x="562347" y="1285336"/>
                </a:cubicBezTo>
                <a:cubicBezTo>
                  <a:pt x="583913" y="1308340"/>
                  <a:pt x="592539" y="1331343"/>
                  <a:pt x="614105" y="1354347"/>
                </a:cubicBezTo>
                <a:cubicBezTo>
                  <a:pt x="635671" y="1377351"/>
                  <a:pt x="680241" y="1401793"/>
                  <a:pt x="691743" y="1423359"/>
                </a:cubicBezTo>
                <a:cubicBezTo>
                  <a:pt x="703245" y="1444925"/>
                  <a:pt x="693181" y="1464334"/>
                  <a:pt x="683117" y="148374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Полилиния 3"/>
          <p:cNvSpPr/>
          <p:nvPr/>
        </p:nvSpPr>
        <p:spPr>
          <a:xfrm>
            <a:off x="4519613" y="2963466"/>
            <a:ext cx="527050" cy="912019"/>
          </a:xfrm>
          <a:custGeom>
            <a:avLst/>
            <a:gdLst>
              <a:gd name="connsiteX0" fmla="*/ 526606 w 526606"/>
              <a:gd name="connsiteY0" fmla="*/ 0 h 1216325"/>
              <a:gd name="connsiteX1" fmla="*/ 431715 w 526606"/>
              <a:gd name="connsiteY1" fmla="*/ 94891 h 1216325"/>
              <a:gd name="connsiteX2" fmla="*/ 379957 w 526606"/>
              <a:gd name="connsiteY2" fmla="*/ 138023 h 1216325"/>
              <a:gd name="connsiteX3" fmla="*/ 310945 w 526606"/>
              <a:gd name="connsiteY3" fmla="*/ 224287 h 1216325"/>
              <a:gd name="connsiteX4" fmla="*/ 198802 w 526606"/>
              <a:gd name="connsiteY4" fmla="*/ 310551 h 1216325"/>
              <a:gd name="connsiteX5" fmla="*/ 138417 w 526606"/>
              <a:gd name="connsiteY5" fmla="*/ 370936 h 1216325"/>
              <a:gd name="connsiteX6" fmla="*/ 112538 w 526606"/>
              <a:gd name="connsiteY6" fmla="*/ 465827 h 1216325"/>
              <a:gd name="connsiteX7" fmla="*/ 103911 w 526606"/>
              <a:gd name="connsiteY7" fmla="*/ 552091 h 1216325"/>
              <a:gd name="connsiteX8" fmla="*/ 103911 w 526606"/>
              <a:gd name="connsiteY8" fmla="*/ 621102 h 1216325"/>
              <a:gd name="connsiteX9" fmla="*/ 52153 w 526606"/>
              <a:gd name="connsiteY9" fmla="*/ 707366 h 1216325"/>
              <a:gd name="connsiteX10" fmla="*/ 395 w 526606"/>
              <a:gd name="connsiteY10" fmla="*/ 741872 h 1216325"/>
              <a:gd name="connsiteX11" fmla="*/ 34900 w 526606"/>
              <a:gd name="connsiteY11" fmla="*/ 879894 h 1216325"/>
              <a:gd name="connsiteX12" fmla="*/ 147044 w 526606"/>
              <a:gd name="connsiteY12" fmla="*/ 1026544 h 1216325"/>
              <a:gd name="connsiteX13" fmla="*/ 233308 w 526606"/>
              <a:gd name="connsiteY13" fmla="*/ 1130060 h 1216325"/>
              <a:gd name="connsiteX14" fmla="*/ 302319 w 526606"/>
              <a:gd name="connsiteY14" fmla="*/ 1216325 h 121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26606" h="1216325">
                <a:moveTo>
                  <a:pt x="526606" y="0"/>
                </a:moveTo>
                <a:cubicBezTo>
                  <a:pt x="491381" y="35943"/>
                  <a:pt x="456156" y="71887"/>
                  <a:pt x="431715" y="94891"/>
                </a:cubicBezTo>
                <a:cubicBezTo>
                  <a:pt x="407273" y="117895"/>
                  <a:pt x="400085" y="116457"/>
                  <a:pt x="379957" y="138023"/>
                </a:cubicBezTo>
                <a:cubicBezTo>
                  <a:pt x="359829" y="159589"/>
                  <a:pt x="341137" y="195532"/>
                  <a:pt x="310945" y="224287"/>
                </a:cubicBezTo>
                <a:cubicBezTo>
                  <a:pt x="280753" y="253042"/>
                  <a:pt x="227557" y="286110"/>
                  <a:pt x="198802" y="310551"/>
                </a:cubicBezTo>
                <a:cubicBezTo>
                  <a:pt x="170047" y="334992"/>
                  <a:pt x="152794" y="345057"/>
                  <a:pt x="138417" y="370936"/>
                </a:cubicBezTo>
                <a:cubicBezTo>
                  <a:pt x="124040" y="396815"/>
                  <a:pt x="118289" y="435634"/>
                  <a:pt x="112538" y="465827"/>
                </a:cubicBezTo>
                <a:cubicBezTo>
                  <a:pt x="106787" y="496020"/>
                  <a:pt x="105349" y="526212"/>
                  <a:pt x="103911" y="552091"/>
                </a:cubicBezTo>
                <a:cubicBezTo>
                  <a:pt x="102473" y="577970"/>
                  <a:pt x="112537" y="595223"/>
                  <a:pt x="103911" y="621102"/>
                </a:cubicBezTo>
                <a:cubicBezTo>
                  <a:pt x="95285" y="646981"/>
                  <a:pt x="69406" y="687238"/>
                  <a:pt x="52153" y="707366"/>
                </a:cubicBezTo>
                <a:cubicBezTo>
                  <a:pt x="34900" y="727494"/>
                  <a:pt x="3270" y="713117"/>
                  <a:pt x="395" y="741872"/>
                </a:cubicBezTo>
                <a:cubicBezTo>
                  <a:pt x="-2481" y="770627"/>
                  <a:pt x="10459" y="832449"/>
                  <a:pt x="34900" y="879894"/>
                </a:cubicBezTo>
                <a:cubicBezTo>
                  <a:pt x="59341" y="927339"/>
                  <a:pt x="113976" y="984850"/>
                  <a:pt x="147044" y="1026544"/>
                </a:cubicBezTo>
                <a:cubicBezTo>
                  <a:pt x="180112" y="1068238"/>
                  <a:pt x="207429" y="1098430"/>
                  <a:pt x="233308" y="1130060"/>
                </a:cubicBezTo>
                <a:cubicBezTo>
                  <a:pt x="259187" y="1161690"/>
                  <a:pt x="285066" y="1201948"/>
                  <a:pt x="302319" y="1216325"/>
                </a:cubicBezTo>
              </a:path>
            </a:pathLst>
          </a:custGeom>
          <a:noFill/>
          <a:ln w="1905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8" name="Полилиния 7"/>
          <p:cNvSpPr/>
          <p:nvPr/>
        </p:nvSpPr>
        <p:spPr>
          <a:xfrm>
            <a:off x="4537076" y="2956322"/>
            <a:ext cx="517525" cy="879872"/>
          </a:xfrm>
          <a:custGeom>
            <a:avLst/>
            <a:gdLst>
              <a:gd name="connsiteX0" fmla="*/ 517830 w 517830"/>
              <a:gd name="connsiteY0" fmla="*/ 0 h 1173192"/>
              <a:gd name="connsiteX1" fmla="*/ 336676 w 517830"/>
              <a:gd name="connsiteY1" fmla="*/ 181154 h 1173192"/>
              <a:gd name="connsiteX2" fmla="*/ 207279 w 517830"/>
              <a:gd name="connsiteY2" fmla="*/ 310551 h 1173192"/>
              <a:gd name="connsiteX3" fmla="*/ 95136 w 517830"/>
              <a:gd name="connsiteY3" fmla="*/ 396815 h 1173192"/>
              <a:gd name="connsiteX4" fmla="*/ 95136 w 517830"/>
              <a:gd name="connsiteY4" fmla="*/ 543464 h 1173192"/>
              <a:gd name="connsiteX5" fmla="*/ 52004 w 517830"/>
              <a:gd name="connsiteY5" fmla="*/ 672860 h 1173192"/>
              <a:gd name="connsiteX6" fmla="*/ 245 w 517830"/>
              <a:gd name="connsiteY6" fmla="*/ 759124 h 1173192"/>
              <a:gd name="connsiteX7" fmla="*/ 34751 w 517830"/>
              <a:gd name="connsiteY7" fmla="*/ 879894 h 1173192"/>
              <a:gd name="connsiteX8" fmla="*/ 86509 w 517830"/>
              <a:gd name="connsiteY8" fmla="*/ 974785 h 1173192"/>
              <a:gd name="connsiteX9" fmla="*/ 155521 w 517830"/>
              <a:gd name="connsiteY9" fmla="*/ 1104181 h 1173192"/>
              <a:gd name="connsiteX10" fmla="*/ 224532 w 517830"/>
              <a:gd name="connsiteY10" fmla="*/ 1173192 h 117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17830" h="1173192">
                <a:moveTo>
                  <a:pt x="517830" y="0"/>
                </a:moveTo>
                <a:lnTo>
                  <a:pt x="336676" y="181154"/>
                </a:lnTo>
                <a:cubicBezTo>
                  <a:pt x="284918" y="232912"/>
                  <a:pt x="247536" y="274608"/>
                  <a:pt x="207279" y="310551"/>
                </a:cubicBezTo>
                <a:cubicBezTo>
                  <a:pt x="167022" y="346494"/>
                  <a:pt x="113826" y="357996"/>
                  <a:pt x="95136" y="396815"/>
                </a:cubicBezTo>
                <a:cubicBezTo>
                  <a:pt x="76446" y="435634"/>
                  <a:pt x="102325" y="497457"/>
                  <a:pt x="95136" y="543464"/>
                </a:cubicBezTo>
                <a:cubicBezTo>
                  <a:pt x="87947" y="589472"/>
                  <a:pt x="67819" y="636917"/>
                  <a:pt x="52004" y="672860"/>
                </a:cubicBezTo>
                <a:cubicBezTo>
                  <a:pt x="36189" y="708803"/>
                  <a:pt x="3120" y="724619"/>
                  <a:pt x="245" y="759124"/>
                </a:cubicBezTo>
                <a:cubicBezTo>
                  <a:pt x="-2630" y="793629"/>
                  <a:pt x="20374" y="843950"/>
                  <a:pt x="34751" y="879894"/>
                </a:cubicBezTo>
                <a:cubicBezTo>
                  <a:pt x="49128" y="915838"/>
                  <a:pt x="66381" y="937404"/>
                  <a:pt x="86509" y="974785"/>
                </a:cubicBezTo>
                <a:cubicBezTo>
                  <a:pt x="106637" y="1012166"/>
                  <a:pt x="132517" y="1071113"/>
                  <a:pt x="155521" y="1104181"/>
                </a:cubicBezTo>
                <a:cubicBezTo>
                  <a:pt x="178525" y="1137249"/>
                  <a:pt x="201528" y="1155220"/>
                  <a:pt x="224532" y="1173192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4" name="Полилиния 33"/>
          <p:cNvSpPr/>
          <p:nvPr/>
        </p:nvSpPr>
        <p:spPr>
          <a:xfrm>
            <a:off x="4587876" y="2969419"/>
            <a:ext cx="517525" cy="865585"/>
          </a:xfrm>
          <a:custGeom>
            <a:avLst/>
            <a:gdLst>
              <a:gd name="connsiteX0" fmla="*/ 517830 w 517830"/>
              <a:gd name="connsiteY0" fmla="*/ 0 h 1173192"/>
              <a:gd name="connsiteX1" fmla="*/ 336676 w 517830"/>
              <a:gd name="connsiteY1" fmla="*/ 181154 h 1173192"/>
              <a:gd name="connsiteX2" fmla="*/ 207279 w 517830"/>
              <a:gd name="connsiteY2" fmla="*/ 310551 h 1173192"/>
              <a:gd name="connsiteX3" fmla="*/ 95136 w 517830"/>
              <a:gd name="connsiteY3" fmla="*/ 396815 h 1173192"/>
              <a:gd name="connsiteX4" fmla="*/ 95136 w 517830"/>
              <a:gd name="connsiteY4" fmla="*/ 543464 h 1173192"/>
              <a:gd name="connsiteX5" fmla="*/ 52004 w 517830"/>
              <a:gd name="connsiteY5" fmla="*/ 672860 h 1173192"/>
              <a:gd name="connsiteX6" fmla="*/ 245 w 517830"/>
              <a:gd name="connsiteY6" fmla="*/ 759124 h 1173192"/>
              <a:gd name="connsiteX7" fmla="*/ 34751 w 517830"/>
              <a:gd name="connsiteY7" fmla="*/ 879894 h 1173192"/>
              <a:gd name="connsiteX8" fmla="*/ 86509 w 517830"/>
              <a:gd name="connsiteY8" fmla="*/ 974785 h 1173192"/>
              <a:gd name="connsiteX9" fmla="*/ 155521 w 517830"/>
              <a:gd name="connsiteY9" fmla="*/ 1104181 h 1173192"/>
              <a:gd name="connsiteX10" fmla="*/ 224532 w 517830"/>
              <a:gd name="connsiteY10" fmla="*/ 1173192 h 117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17830" h="1173192">
                <a:moveTo>
                  <a:pt x="517830" y="0"/>
                </a:moveTo>
                <a:lnTo>
                  <a:pt x="336676" y="181154"/>
                </a:lnTo>
                <a:cubicBezTo>
                  <a:pt x="284918" y="232912"/>
                  <a:pt x="247536" y="274608"/>
                  <a:pt x="207279" y="310551"/>
                </a:cubicBezTo>
                <a:cubicBezTo>
                  <a:pt x="167022" y="346494"/>
                  <a:pt x="113826" y="357996"/>
                  <a:pt x="95136" y="396815"/>
                </a:cubicBezTo>
                <a:cubicBezTo>
                  <a:pt x="76446" y="435634"/>
                  <a:pt x="102325" y="497457"/>
                  <a:pt x="95136" y="543464"/>
                </a:cubicBezTo>
                <a:cubicBezTo>
                  <a:pt x="87947" y="589472"/>
                  <a:pt x="67819" y="636917"/>
                  <a:pt x="52004" y="672860"/>
                </a:cubicBezTo>
                <a:cubicBezTo>
                  <a:pt x="36189" y="708803"/>
                  <a:pt x="3120" y="724619"/>
                  <a:pt x="245" y="759124"/>
                </a:cubicBezTo>
                <a:cubicBezTo>
                  <a:pt x="-2630" y="793629"/>
                  <a:pt x="20374" y="843950"/>
                  <a:pt x="34751" y="879894"/>
                </a:cubicBezTo>
                <a:cubicBezTo>
                  <a:pt x="49128" y="915838"/>
                  <a:pt x="66381" y="937404"/>
                  <a:pt x="86509" y="974785"/>
                </a:cubicBezTo>
                <a:cubicBezTo>
                  <a:pt x="106637" y="1012166"/>
                  <a:pt x="132517" y="1071113"/>
                  <a:pt x="155521" y="1104181"/>
                </a:cubicBezTo>
                <a:cubicBezTo>
                  <a:pt x="178525" y="1137249"/>
                  <a:pt x="201528" y="1155220"/>
                  <a:pt x="224532" y="1173192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5" name="Полилиния 34"/>
          <p:cNvSpPr/>
          <p:nvPr/>
        </p:nvSpPr>
        <p:spPr>
          <a:xfrm>
            <a:off x="4489450" y="2933700"/>
            <a:ext cx="528638" cy="907256"/>
          </a:xfrm>
          <a:custGeom>
            <a:avLst/>
            <a:gdLst>
              <a:gd name="connsiteX0" fmla="*/ 517830 w 517830"/>
              <a:gd name="connsiteY0" fmla="*/ 0 h 1173192"/>
              <a:gd name="connsiteX1" fmla="*/ 336676 w 517830"/>
              <a:gd name="connsiteY1" fmla="*/ 181154 h 1173192"/>
              <a:gd name="connsiteX2" fmla="*/ 207279 w 517830"/>
              <a:gd name="connsiteY2" fmla="*/ 310551 h 1173192"/>
              <a:gd name="connsiteX3" fmla="*/ 95136 w 517830"/>
              <a:gd name="connsiteY3" fmla="*/ 396815 h 1173192"/>
              <a:gd name="connsiteX4" fmla="*/ 95136 w 517830"/>
              <a:gd name="connsiteY4" fmla="*/ 543464 h 1173192"/>
              <a:gd name="connsiteX5" fmla="*/ 52004 w 517830"/>
              <a:gd name="connsiteY5" fmla="*/ 672860 h 1173192"/>
              <a:gd name="connsiteX6" fmla="*/ 245 w 517830"/>
              <a:gd name="connsiteY6" fmla="*/ 759124 h 1173192"/>
              <a:gd name="connsiteX7" fmla="*/ 34751 w 517830"/>
              <a:gd name="connsiteY7" fmla="*/ 879894 h 1173192"/>
              <a:gd name="connsiteX8" fmla="*/ 86509 w 517830"/>
              <a:gd name="connsiteY8" fmla="*/ 974785 h 1173192"/>
              <a:gd name="connsiteX9" fmla="*/ 155521 w 517830"/>
              <a:gd name="connsiteY9" fmla="*/ 1104181 h 1173192"/>
              <a:gd name="connsiteX10" fmla="*/ 224532 w 517830"/>
              <a:gd name="connsiteY10" fmla="*/ 1173192 h 11731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17830" h="1173192">
                <a:moveTo>
                  <a:pt x="517830" y="0"/>
                </a:moveTo>
                <a:lnTo>
                  <a:pt x="336676" y="181154"/>
                </a:lnTo>
                <a:cubicBezTo>
                  <a:pt x="284918" y="232912"/>
                  <a:pt x="247536" y="274608"/>
                  <a:pt x="207279" y="310551"/>
                </a:cubicBezTo>
                <a:cubicBezTo>
                  <a:pt x="167022" y="346494"/>
                  <a:pt x="113826" y="357996"/>
                  <a:pt x="95136" y="396815"/>
                </a:cubicBezTo>
                <a:cubicBezTo>
                  <a:pt x="76446" y="435634"/>
                  <a:pt x="102325" y="497457"/>
                  <a:pt x="95136" y="543464"/>
                </a:cubicBezTo>
                <a:cubicBezTo>
                  <a:pt x="87947" y="589472"/>
                  <a:pt x="67819" y="636917"/>
                  <a:pt x="52004" y="672860"/>
                </a:cubicBezTo>
                <a:cubicBezTo>
                  <a:pt x="36189" y="708803"/>
                  <a:pt x="3120" y="724619"/>
                  <a:pt x="245" y="759124"/>
                </a:cubicBezTo>
                <a:cubicBezTo>
                  <a:pt x="-2630" y="793629"/>
                  <a:pt x="20374" y="843950"/>
                  <a:pt x="34751" y="879894"/>
                </a:cubicBezTo>
                <a:cubicBezTo>
                  <a:pt x="49128" y="915838"/>
                  <a:pt x="66381" y="937404"/>
                  <a:pt x="86509" y="974785"/>
                </a:cubicBezTo>
                <a:cubicBezTo>
                  <a:pt x="106637" y="1012166"/>
                  <a:pt x="132517" y="1071113"/>
                  <a:pt x="155521" y="1104181"/>
                </a:cubicBezTo>
                <a:cubicBezTo>
                  <a:pt x="178525" y="1137249"/>
                  <a:pt x="201528" y="1155220"/>
                  <a:pt x="224532" y="1173192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3" name="Блок-схема: узел 92"/>
          <p:cNvSpPr/>
          <p:nvPr/>
        </p:nvSpPr>
        <p:spPr>
          <a:xfrm>
            <a:off x="4981576" y="2842023"/>
            <a:ext cx="212725" cy="158353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4762501" y="3843338"/>
            <a:ext cx="957263" cy="465535"/>
          </a:xfrm>
          <a:custGeom>
            <a:avLst/>
            <a:gdLst>
              <a:gd name="connsiteX0" fmla="*/ 0 w 957532"/>
              <a:gd name="connsiteY0" fmla="*/ 0 h 621101"/>
              <a:gd name="connsiteX1" fmla="*/ 146649 w 957532"/>
              <a:gd name="connsiteY1" fmla="*/ 120769 h 621101"/>
              <a:gd name="connsiteX2" fmla="*/ 215661 w 957532"/>
              <a:gd name="connsiteY2" fmla="*/ 198407 h 621101"/>
              <a:gd name="connsiteX3" fmla="*/ 319177 w 957532"/>
              <a:gd name="connsiteY3" fmla="*/ 258792 h 621101"/>
              <a:gd name="connsiteX4" fmla="*/ 517585 w 957532"/>
              <a:gd name="connsiteY4" fmla="*/ 379562 h 621101"/>
              <a:gd name="connsiteX5" fmla="*/ 681487 w 957532"/>
              <a:gd name="connsiteY5" fmla="*/ 379562 h 621101"/>
              <a:gd name="connsiteX6" fmla="*/ 819510 w 957532"/>
              <a:gd name="connsiteY6" fmla="*/ 465826 h 621101"/>
              <a:gd name="connsiteX7" fmla="*/ 905774 w 957532"/>
              <a:gd name="connsiteY7" fmla="*/ 508958 h 621101"/>
              <a:gd name="connsiteX8" fmla="*/ 957532 w 957532"/>
              <a:gd name="connsiteY8" fmla="*/ 621101 h 621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57532" h="621101">
                <a:moveTo>
                  <a:pt x="0" y="0"/>
                </a:moveTo>
                <a:cubicBezTo>
                  <a:pt x="55353" y="43850"/>
                  <a:pt x="110706" y="87701"/>
                  <a:pt x="146649" y="120769"/>
                </a:cubicBezTo>
                <a:cubicBezTo>
                  <a:pt x="182593" y="153837"/>
                  <a:pt x="186906" y="175403"/>
                  <a:pt x="215661" y="198407"/>
                </a:cubicBezTo>
                <a:cubicBezTo>
                  <a:pt x="244416" y="221411"/>
                  <a:pt x="319177" y="258792"/>
                  <a:pt x="319177" y="258792"/>
                </a:cubicBezTo>
                <a:cubicBezTo>
                  <a:pt x="369498" y="288985"/>
                  <a:pt x="457200" y="359434"/>
                  <a:pt x="517585" y="379562"/>
                </a:cubicBezTo>
                <a:cubicBezTo>
                  <a:pt x="577970" y="399690"/>
                  <a:pt x="631166" y="365185"/>
                  <a:pt x="681487" y="379562"/>
                </a:cubicBezTo>
                <a:cubicBezTo>
                  <a:pt x="731808" y="393939"/>
                  <a:pt x="782129" y="444260"/>
                  <a:pt x="819510" y="465826"/>
                </a:cubicBezTo>
                <a:cubicBezTo>
                  <a:pt x="856891" y="487392"/>
                  <a:pt x="882770" y="483079"/>
                  <a:pt x="905774" y="508958"/>
                </a:cubicBezTo>
                <a:cubicBezTo>
                  <a:pt x="928778" y="534837"/>
                  <a:pt x="943155" y="577969"/>
                  <a:pt x="957532" y="621101"/>
                </a:cubicBezTo>
              </a:path>
            </a:pathLst>
          </a:custGeom>
          <a:noFill/>
          <a:ln w="1905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56" name="Прямая со стрелкой 55"/>
          <p:cNvCxnSpPr>
            <a:stCxn id="90" idx="1"/>
            <a:endCxn id="28" idx="7"/>
          </p:cNvCxnSpPr>
          <p:nvPr/>
        </p:nvCxnSpPr>
        <p:spPr>
          <a:xfrm flipH="1">
            <a:off x="4582033" y="1042185"/>
            <a:ext cx="1696234" cy="1256166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/>
          <p:cNvCxnSpPr>
            <a:stCxn id="82" idx="1"/>
            <a:endCxn id="8" idx="5"/>
          </p:cNvCxnSpPr>
          <p:nvPr/>
        </p:nvCxnSpPr>
        <p:spPr>
          <a:xfrm flipH="1">
            <a:off x="4589049" y="2178968"/>
            <a:ext cx="1715377" cy="1281986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олилиния 65"/>
          <p:cNvSpPr/>
          <p:nvPr/>
        </p:nvSpPr>
        <p:spPr>
          <a:xfrm>
            <a:off x="5305425" y="4529138"/>
            <a:ext cx="495300" cy="10716"/>
          </a:xfrm>
          <a:custGeom>
            <a:avLst/>
            <a:gdLst>
              <a:gd name="connsiteX0" fmla="*/ 495300 w 495300"/>
              <a:gd name="connsiteY0" fmla="*/ 14464 h 14464"/>
              <a:gd name="connsiteX1" fmla="*/ 426244 w 495300"/>
              <a:gd name="connsiteY1" fmla="*/ 2558 h 14464"/>
              <a:gd name="connsiteX2" fmla="*/ 366713 w 495300"/>
              <a:gd name="connsiteY2" fmla="*/ 2558 h 14464"/>
              <a:gd name="connsiteX3" fmla="*/ 338138 w 495300"/>
              <a:gd name="connsiteY3" fmla="*/ 176 h 14464"/>
              <a:gd name="connsiteX4" fmla="*/ 311944 w 495300"/>
              <a:gd name="connsiteY4" fmla="*/ 176 h 14464"/>
              <a:gd name="connsiteX5" fmla="*/ 283369 w 495300"/>
              <a:gd name="connsiteY5" fmla="*/ 176 h 14464"/>
              <a:gd name="connsiteX6" fmla="*/ 0 w 495300"/>
              <a:gd name="connsiteY6" fmla="*/ 176 h 14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300" h="14464">
                <a:moveTo>
                  <a:pt x="495300" y="14464"/>
                </a:moveTo>
                <a:cubicBezTo>
                  <a:pt x="471487" y="9503"/>
                  <a:pt x="447675" y="4542"/>
                  <a:pt x="426244" y="2558"/>
                </a:cubicBezTo>
                <a:cubicBezTo>
                  <a:pt x="404813" y="574"/>
                  <a:pt x="381397" y="2955"/>
                  <a:pt x="366713" y="2558"/>
                </a:cubicBezTo>
                <a:cubicBezTo>
                  <a:pt x="352029" y="2161"/>
                  <a:pt x="347266" y="573"/>
                  <a:pt x="338138" y="176"/>
                </a:cubicBezTo>
                <a:cubicBezTo>
                  <a:pt x="329010" y="-221"/>
                  <a:pt x="311944" y="176"/>
                  <a:pt x="311944" y="176"/>
                </a:cubicBezTo>
                <a:lnTo>
                  <a:pt x="283369" y="176"/>
                </a:lnTo>
                <a:lnTo>
                  <a:pt x="0" y="176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67" name="Полилиния 66"/>
          <p:cNvSpPr/>
          <p:nvPr/>
        </p:nvSpPr>
        <p:spPr>
          <a:xfrm>
            <a:off x="5287963" y="4604148"/>
            <a:ext cx="495300" cy="10715"/>
          </a:xfrm>
          <a:custGeom>
            <a:avLst/>
            <a:gdLst>
              <a:gd name="connsiteX0" fmla="*/ 495300 w 495300"/>
              <a:gd name="connsiteY0" fmla="*/ 14464 h 14464"/>
              <a:gd name="connsiteX1" fmla="*/ 426244 w 495300"/>
              <a:gd name="connsiteY1" fmla="*/ 2558 h 14464"/>
              <a:gd name="connsiteX2" fmla="*/ 366713 w 495300"/>
              <a:gd name="connsiteY2" fmla="*/ 2558 h 14464"/>
              <a:gd name="connsiteX3" fmla="*/ 338138 w 495300"/>
              <a:gd name="connsiteY3" fmla="*/ 176 h 14464"/>
              <a:gd name="connsiteX4" fmla="*/ 311944 w 495300"/>
              <a:gd name="connsiteY4" fmla="*/ 176 h 14464"/>
              <a:gd name="connsiteX5" fmla="*/ 283369 w 495300"/>
              <a:gd name="connsiteY5" fmla="*/ 176 h 14464"/>
              <a:gd name="connsiteX6" fmla="*/ 0 w 495300"/>
              <a:gd name="connsiteY6" fmla="*/ 176 h 14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300" h="14464">
                <a:moveTo>
                  <a:pt x="495300" y="14464"/>
                </a:moveTo>
                <a:cubicBezTo>
                  <a:pt x="471487" y="9503"/>
                  <a:pt x="447675" y="4542"/>
                  <a:pt x="426244" y="2558"/>
                </a:cubicBezTo>
                <a:cubicBezTo>
                  <a:pt x="404813" y="574"/>
                  <a:pt x="381397" y="2955"/>
                  <a:pt x="366713" y="2558"/>
                </a:cubicBezTo>
                <a:cubicBezTo>
                  <a:pt x="352029" y="2161"/>
                  <a:pt x="347266" y="573"/>
                  <a:pt x="338138" y="176"/>
                </a:cubicBezTo>
                <a:cubicBezTo>
                  <a:pt x="329010" y="-221"/>
                  <a:pt x="311944" y="176"/>
                  <a:pt x="311944" y="176"/>
                </a:cubicBezTo>
                <a:lnTo>
                  <a:pt x="283369" y="176"/>
                </a:lnTo>
                <a:lnTo>
                  <a:pt x="0" y="176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7" name="AutoShape 19"/>
          <p:cNvSpPr>
            <a:spLocks noChangeArrowheads="1"/>
          </p:cNvSpPr>
          <p:nvPr/>
        </p:nvSpPr>
        <p:spPr bwMode="auto">
          <a:xfrm>
            <a:off x="4021139" y="1350169"/>
            <a:ext cx="1031875" cy="13454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Қарағанды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17634" y="4546306"/>
            <a:ext cx="2884076" cy="521074"/>
            <a:chOff x="6347716" y="6267483"/>
            <a:chExt cx="2884076" cy="694765"/>
          </a:xfrm>
        </p:grpSpPr>
        <p:sp>
          <p:nvSpPr>
            <p:cNvPr id="147" name="Прямоугольник 146"/>
            <p:cNvSpPr/>
            <p:nvPr/>
          </p:nvSpPr>
          <p:spPr bwMode="auto">
            <a:xfrm>
              <a:off x="6347716" y="6293462"/>
              <a:ext cx="2735959" cy="654393"/>
            </a:xfrm>
            <a:prstGeom prst="rect">
              <a:avLst/>
            </a:prstGeom>
            <a:solidFill>
              <a:schemeClr val="accent1">
                <a:lumMod val="20000"/>
                <a:lumOff val="80000"/>
                <a:alpha val="85000"/>
              </a:schemeClr>
            </a:solidFill>
            <a:ln w="12700">
              <a:solidFill>
                <a:schemeClr val="tx1"/>
              </a:solidFill>
              <a:prstDash val="solid"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lIns="36000" tIns="36000" rIns="36000" bIns="3600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800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800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800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800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altLang="ru-RU" sz="800" b="1" dirty="0">
                <a:solidFill>
                  <a:prstClr val="black"/>
                </a:solidFill>
                <a:cs typeface="Times New Roman" panose="02020603050405020304" pitchFamily="18" charset="0"/>
              </a:endParaRPr>
            </a:p>
          </p:txBody>
        </p:sp>
        <p:cxnSp>
          <p:nvCxnSpPr>
            <p:cNvPr id="148" name="Прямая соединительная линия 147"/>
            <p:cNvCxnSpPr/>
            <p:nvPr/>
          </p:nvCxnSpPr>
          <p:spPr>
            <a:xfrm>
              <a:off x="6418033" y="6588634"/>
              <a:ext cx="215900" cy="0"/>
            </a:xfrm>
            <a:prstGeom prst="line">
              <a:avLst/>
            </a:prstGeom>
            <a:ln w="666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07" name="TextBox 148"/>
            <p:cNvSpPr txBox="1">
              <a:spLocks noChangeArrowheads="1"/>
            </p:cNvSpPr>
            <p:nvPr/>
          </p:nvSpPr>
          <p:spPr bwMode="auto">
            <a:xfrm>
              <a:off x="6575811" y="6428769"/>
              <a:ext cx="2655981" cy="533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r>
                <a:rPr lang="ru-RU" sz="1000" b="1" dirty="0" err="1"/>
                <a:t>Үкіметтік</a:t>
              </a:r>
              <a:r>
                <a:rPr lang="ru-RU" sz="1000" b="1" dirty="0"/>
                <a:t> </a:t>
              </a:r>
              <a:r>
                <a:rPr lang="ru-RU" sz="1000" b="1" dirty="0" err="1"/>
                <a:t>займ</a:t>
              </a:r>
              <a:endParaRPr lang="ru-RU" sz="1000" b="1" dirty="0"/>
            </a:p>
            <a:p>
              <a:pPr>
                <a:defRPr/>
              </a:pPr>
              <a:r>
                <a:rPr lang="ru-RU" sz="1000" b="1" dirty="0" err="1"/>
                <a:t>Мемлекеттік</a:t>
              </a:r>
              <a:r>
                <a:rPr lang="ru-RU" sz="1000" b="1" dirty="0"/>
                <a:t> </a:t>
              </a:r>
              <a:r>
                <a:rPr lang="ru-RU" sz="1000" b="1" dirty="0" err="1"/>
                <a:t>кепіл</a:t>
              </a:r>
              <a:r>
                <a:rPr lang="ru-RU" sz="1000" b="1" dirty="0"/>
                <a:t> </a:t>
              </a:r>
              <a:r>
                <a:rPr lang="ru-RU" sz="1000" b="1" dirty="0" err="1"/>
                <a:t>бойынша</a:t>
              </a:r>
              <a:r>
                <a:rPr lang="ru-RU" sz="1000" b="1" dirty="0"/>
                <a:t> </a:t>
              </a:r>
              <a:r>
                <a:rPr lang="ru-RU" sz="1000" b="1" dirty="0" err="1"/>
                <a:t>займ</a:t>
              </a:r>
              <a:endParaRPr lang="ru-RU" sz="1000" b="1" dirty="0"/>
            </a:p>
          </p:txBody>
        </p:sp>
        <p:cxnSp>
          <p:nvCxnSpPr>
            <p:cNvPr id="151" name="Прямая соединительная линия 150"/>
            <p:cNvCxnSpPr/>
            <p:nvPr/>
          </p:nvCxnSpPr>
          <p:spPr>
            <a:xfrm>
              <a:off x="6418033" y="6803093"/>
              <a:ext cx="215900" cy="0"/>
            </a:xfrm>
            <a:prstGeom prst="line">
              <a:avLst/>
            </a:prstGeom>
            <a:ln w="666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96" name="Прямоугольник 2095"/>
            <p:cNvSpPr/>
            <p:nvPr/>
          </p:nvSpPr>
          <p:spPr>
            <a:xfrm>
              <a:off x="6946622" y="6267483"/>
              <a:ext cx="1260281" cy="3488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100" b="1" dirty="0" err="1"/>
                <a:t>Шартты</a:t>
              </a:r>
              <a:r>
                <a:rPr lang="ru-RU" sz="1100" b="1" dirty="0"/>
                <a:t> </a:t>
              </a:r>
              <a:r>
                <a:rPr lang="ru-RU" sz="1100" b="1" dirty="0" err="1"/>
                <a:t>белгілер</a:t>
              </a:r>
              <a:r>
                <a:rPr lang="ru-RU" sz="1100" b="1" dirty="0"/>
                <a:t>:</a:t>
              </a:r>
            </a:p>
          </p:txBody>
        </p:sp>
      </p:grpSp>
      <p:sp>
        <p:nvSpPr>
          <p:cNvPr id="105" name="Скругленный прямоугольник 104"/>
          <p:cNvSpPr/>
          <p:nvPr/>
        </p:nvSpPr>
        <p:spPr bwMode="auto">
          <a:xfrm>
            <a:off x="6304426" y="4022369"/>
            <a:ext cx="2586875" cy="1104977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anchor="ctr"/>
          <a:lstStyle/>
          <a:p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9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Капшагай-Курты</a:t>
            </a: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0</a:t>
            </a:r>
            <a:r>
              <a:rPr lang="en-US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-</a:t>
            </a: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67 </a:t>
            </a:r>
          </a:p>
          <a:p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– 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67 км</a:t>
            </a:r>
          </a:p>
          <a:p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Количество участков – 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1</a:t>
            </a:r>
          </a:p>
          <a:p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Атырауинжстрой</a:t>
            </a:r>
            <a:endParaRPr lang="ru-RU" altLang="ru-RU" sz="9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33 </a:t>
            </a:r>
            <a:r>
              <a:rPr lang="ru-RU" altLang="ru-RU" sz="9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млрд.тг</a:t>
            </a:r>
            <a:endParaRPr lang="ru-RU" altLang="ru-RU" sz="9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ЕБРР</a:t>
            </a:r>
            <a:endParaRPr lang="en-US" altLang="ru-RU" sz="9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үзеге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ас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</a:t>
            </a:r>
            <a:r>
              <a:rPr lang="en-US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2021-2023 </a:t>
            </a:r>
            <a:r>
              <a:rPr lang="ru-RU" altLang="ru-RU" sz="90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г.г</a:t>
            </a:r>
            <a:r>
              <a:rPr lang="ru-RU" altLang="ru-RU" sz="900" b="1" dirty="0">
                <a:solidFill>
                  <a:schemeClr val="tx1"/>
                </a:solidFill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073" name="Полилиния 2072"/>
          <p:cNvSpPr/>
          <p:nvPr/>
        </p:nvSpPr>
        <p:spPr>
          <a:xfrm>
            <a:off x="5764868" y="4214590"/>
            <a:ext cx="273844" cy="64310"/>
          </a:xfrm>
          <a:custGeom>
            <a:avLst/>
            <a:gdLst>
              <a:gd name="connsiteX0" fmla="*/ 0 w 266700"/>
              <a:gd name="connsiteY0" fmla="*/ 69195 h 69195"/>
              <a:gd name="connsiteX1" fmla="*/ 104775 w 266700"/>
              <a:gd name="connsiteY1" fmla="*/ 139 h 69195"/>
              <a:gd name="connsiteX2" fmla="*/ 266700 w 266700"/>
              <a:gd name="connsiteY2" fmla="*/ 54908 h 69195"/>
              <a:gd name="connsiteX0" fmla="*/ 0 w 266700"/>
              <a:gd name="connsiteY0" fmla="*/ 85815 h 85815"/>
              <a:gd name="connsiteX1" fmla="*/ 135731 w 266700"/>
              <a:gd name="connsiteY1" fmla="*/ 90 h 85815"/>
              <a:gd name="connsiteX2" fmla="*/ 266700 w 266700"/>
              <a:gd name="connsiteY2" fmla="*/ 71528 h 85815"/>
              <a:gd name="connsiteX0" fmla="*/ 0 w 273844"/>
              <a:gd name="connsiteY0" fmla="*/ 85746 h 85746"/>
              <a:gd name="connsiteX1" fmla="*/ 135731 w 273844"/>
              <a:gd name="connsiteY1" fmla="*/ 21 h 85746"/>
              <a:gd name="connsiteX2" fmla="*/ 273844 w 273844"/>
              <a:gd name="connsiteY2" fmla="*/ 78603 h 8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844" h="85746">
                <a:moveTo>
                  <a:pt x="0" y="85746"/>
                </a:moveTo>
                <a:cubicBezTo>
                  <a:pt x="30162" y="52408"/>
                  <a:pt x="90090" y="1211"/>
                  <a:pt x="135731" y="21"/>
                </a:cubicBezTo>
                <a:cubicBezTo>
                  <a:pt x="181372" y="-1169"/>
                  <a:pt x="215106" y="50028"/>
                  <a:pt x="273844" y="78603"/>
                </a:cubicBezTo>
              </a:path>
            </a:pathLst>
          </a:custGeom>
          <a:noFill/>
          <a:ln w="190500"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27" name="Полилиния 126"/>
          <p:cNvSpPr/>
          <p:nvPr/>
        </p:nvSpPr>
        <p:spPr>
          <a:xfrm>
            <a:off x="5755976" y="4196368"/>
            <a:ext cx="273844" cy="64310"/>
          </a:xfrm>
          <a:custGeom>
            <a:avLst/>
            <a:gdLst>
              <a:gd name="connsiteX0" fmla="*/ 0 w 266700"/>
              <a:gd name="connsiteY0" fmla="*/ 69195 h 69195"/>
              <a:gd name="connsiteX1" fmla="*/ 104775 w 266700"/>
              <a:gd name="connsiteY1" fmla="*/ 139 h 69195"/>
              <a:gd name="connsiteX2" fmla="*/ 266700 w 266700"/>
              <a:gd name="connsiteY2" fmla="*/ 54908 h 69195"/>
              <a:gd name="connsiteX0" fmla="*/ 0 w 266700"/>
              <a:gd name="connsiteY0" fmla="*/ 85815 h 85815"/>
              <a:gd name="connsiteX1" fmla="*/ 135731 w 266700"/>
              <a:gd name="connsiteY1" fmla="*/ 90 h 85815"/>
              <a:gd name="connsiteX2" fmla="*/ 266700 w 266700"/>
              <a:gd name="connsiteY2" fmla="*/ 71528 h 85815"/>
              <a:gd name="connsiteX0" fmla="*/ 0 w 273844"/>
              <a:gd name="connsiteY0" fmla="*/ 85746 h 85746"/>
              <a:gd name="connsiteX1" fmla="*/ 135731 w 273844"/>
              <a:gd name="connsiteY1" fmla="*/ 21 h 85746"/>
              <a:gd name="connsiteX2" fmla="*/ 273844 w 273844"/>
              <a:gd name="connsiteY2" fmla="*/ 78603 h 8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844" h="85746">
                <a:moveTo>
                  <a:pt x="0" y="85746"/>
                </a:moveTo>
                <a:cubicBezTo>
                  <a:pt x="30162" y="52408"/>
                  <a:pt x="90090" y="1211"/>
                  <a:pt x="135731" y="21"/>
                </a:cubicBezTo>
                <a:cubicBezTo>
                  <a:pt x="181372" y="-1169"/>
                  <a:pt x="215106" y="50028"/>
                  <a:pt x="273844" y="78603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28" name="Полилиния 127"/>
          <p:cNvSpPr/>
          <p:nvPr/>
        </p:nvSpPr>
        <p:spPr>
          <a:xfrm>
            <a:off x="5753584" y="4162023"/>
            <a:ext cx="273844" cy="64310"/>
          </a:xfrm>
          <a:custGeom>
            <a:avLst/>
            <a:gdLst>
              <a:gd name="connsiteX0" fmla="*/ 0 w 266700"/>
              <a:gd name="connsiteY0" fmla="*/ 69195 h 69195"/>
              <a:gd name="connsiteX1" fmla="*/ 104775 w 266700"/>
              <a:gd name="connsiteY1" fmla="*/ 139 h 69195"/>
              <a:gd name="connsiteX2" fmla="*/ 266700 w 266700"/>
              <a:gd name="connsiteY2" fmla="*/ 54908 h 69195"/>
              <a:gd name="connsiteX0" fmla="*/ 0 w 266700"/>
              <a:gd name="connsiteY0" fmla="*/ 85815 h 85815"/>
              <a:gd name="connsiteX1" fmla="*/ 135731 w 266700"/>
              <a:gd name="connsiteY1" fmla="*/ 90 h 85815"/>
              <a:gd name="connsiteX2" fmla="*/ 266700 w 266700"/>
              <a:gd name="connsiteY2" fmla="*/ 71528 h 85815"/>
              <a:gd name="connsiteX0" fmla="*/ 0 w 273844"/>
              <a:gd name="connsiteY0" fmla="*/ 85746 h 85746"/>
              <a:gd name="connsiteX1" fmla="*/ 135731 w 273844"/>
              <a:gd name="connsiteY1" fmla="*/ 21 h 85746"/>
              <a:gd name="connsiteX2" fmla="*/ 273844 w 273844"/>
              <a:gd name="connsiteY2" fmla="*/ 78603 h 8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844" h="85746">
                <a:moveTo>
                  <a:pt x="0" y="85746"/>
                </a:moveTo>
                <a:cubicBezTo>
                  <a:pt x="30162" y="52408"/>
                  <a:pt x="90090" y="1211"/>
                  <a:pt x="135731" y="21"/>
                </a:cubicBezTo>
                <a:cubicBezTo>
                  <a:pt x="181372" y="-1169"/>
                  <a:pt x="215106" y="50028"/>
                  <a:pt x="273844" y="78603"/>
                </a:cubicBezTo>
              </a:path>
            </a:pathLst>
          </a:custGeom>
          <a:noFill/>
          <a:ln w="158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29" name="Полилиния 128"/>
          <p:cNvSpPr/>
          <p:nvPr/>
        </p:nvSpPr>
        <p:spPr>
          <a:xfrm>
            <a:off x="5767972" y="4242671"/>
            <a:ext cx="273844" cy="64310"/>
          </a:xfrm>
          <a:custGeom>
            <a:avLst/>
            <a:gdLst>
              <a:gd name="connsiteX0" fmla="*/ 0 w 266700"/>
              <a:gd name="connsiteY0" fmla="*/ 69195 h 69195"/>
              <a:gd name="connsiteX1" fmla="*/ 104775 w 266700"/>
              <a:gd name="connsiteY1" fmla="*/ 139 h 69195"/>
              <a:gd name="connsiteX2" fmla="*/ 266700 w 266700"/>
              <a:gd name="connsiteY2" fmla="*/ 54908 h 69195"/>
              <a:gd name="connsiteX0" fmla="*/ 0 w 266700"/>
              <a:gd name="connsiteY0" fmla="*/ 85815 h 85815"/>
              <a:gd name="connsiteX1" fmla="*/ 135731 w 266700"/>
              <a:gd name="connsiteY1" fmla="*/ 90 h 85815"/>
              <a:gd name="connsiteX2" fmla="*/ 266700 w 266700"/>
              <a:gd name="connsiteY2" fmla="*/ 71528 h 85815"/>
              <a:gd name="connsiteX0" fmla="*/ 0 w 273844"/>
              <a:gd name="connsiteY0" fmla="*/ 85746 h 85746"/>
              <a:gd name="connsiteX1" fmla="*/ 135731 w 273844"/>
              <a:gd name="connsiteY1" fmla="*/ 21 h 85746"/>
              <a:gd name="connsiteX2" fmla="*/ 273844 w 273844"/>
              <a:gd name="connsiteY2" fmla="*/ 78603 h 8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73844" h="85746">
                <a:moveTo>
                  <a:pt x="0" y="85746"/>
                </a:moveTo>
                <a:cubicBezTo>
                  <a:pt x="30162" y="52408"/>
                  <a:pt x="90090" y="1211"/>
                  <a:pt x="135731" y="21"/>
                </a:cubicBezTo>
                <a:cubicBezTo>
                  <a:pt x="181372" y="-1169"/>
                  <a:pt x="215106" y="50028"/>
                  <a:pt x="273844" y="78603"/>
                </a:cubicBezTo>
              </a:path>
            </a:pathLst>
          </a:custGeom>
          <a:noFill/>
          <a:ln w="1587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21" name="Блок-схема: узел 120"/>
          <p:cNvSpPr/>
          <p:nvPr/>
        </p:nvSpPr>
        <p:spPr>
          <a:xfrm>
            <a:off x="6000663" y="4177033"/>
            <a:ext cx="216124" cy="132000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2" name="AutoShape 19"/>
          <p:cNvSpPr>
            <a:spLocks noChangeArrowheads="1"/>
          </p:cNvSpPr>
          <p:nvPr/>
        </p:nvSpPr>
        <p:spPr bwMode="auto">
          <a:xfrm>
            <a:off x="4851487" y="3626974"/>
            <a:ext cx="1296058" cy="16998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Бұрылбайтал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135" name="AutoShape 19"/>
          <p:cNvSpPr>
            <a:spLocks noChangeArrowheads="1"/>
          </p:cNvSpPr>
          <p:nvPr/>
        </p:nvSpPr>
        <p:spPr bwMode="auto">
          <a:xfrm>
            <a:off x="5264853" y="4455605"/>
            <a:ext cx="931398" cy="14706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Қапшагай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 bwMode="auto">
          <a:xfrm>
            <a:off x="6278267" y="489178"/>
            <a:ext cx="2614213" cy="1106013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9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Қарағанды-Балқаш</a:t>
            </a:r>
            <a:r>
              <a:rPr lang="ru-RU" altLang="ru-RU" sz="900" b="1" dirty="0">
                <a:solidFill>
                  <a:srgbClr val="C00000"/>
                </a:solidFill>
                <a:cs typeface="Times New Roman" panose="02020603050405020304" pitchFamily="18" charset="0"/>
              </a:rPr>
              <a:t>»</a:t>
            </a:r>
            <a:r>
              <a:rPr lang="ru-RU" altLang="ru-RU" sz="900" b="1" dirty="0">
                <a:solidFill>
                  <a:srgbClr val="C00000"/>
                </a:solidFill>
                <a:cs typeface="Arial" panose="020B0604020202020204" pitchFamily="34" charset="0"/>
              </a:rPr>
              <a:t> км 1492-1855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363 к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900" b="1" i="1" dirty="0">
                <a:cs typeface="Times New Roman" panose="02020603050405020304" pitchFamily="18" charset="0"/>
              </a:rPr>
              <a:t>– 8</a:t>
            </a:r>
          </a:p>
          <a:p>
            <a:pPr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СИТИК,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Казгерстрой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>
                <a:cs typeface="Times New Roman" panose="02020603050405020304" pitchFamily="18" charset="0"/>
              </a:rPr>
              <a:t>– </a:t>
            </a:r>
            <a:r>
              <a:rPr lang="ru-RU" altLang="ru-RU" sz="900" b="1" i="1" dirty="0">
                <a:cs typeface="Times New Roman" panose="02020603050405020304" pitchFamily="18" charset="0"/>
              </a:rPr>
              <a:t>249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млрд.тг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ЭксИмБанк</a:t>
            </a:r>
            <a:endParaRPr lang="ru-RU" altLang="ru-RU" sz="900" b="1" i="1" dirty="0"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үзеге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асыру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9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90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900" b="1" dirty="0">
                <a:cs typeface="Times New Roman" panose="02020603050405020304" pitchFamily="18" charset="0"/>
              </a:rPr>
              <a:t> </a:t>
            </a:r>
            <a:r>
              <a:rPr lang="ru-RU" altLang="ru-RU" sz="900" b="1" i="1" dirty="0">
                <a:cs typeface="Times New Roman" panose="02020603050405020304" pitchFamily="18" charset="0"/>
              </a:rPr>
              <a:t>2019-2023 </a:t>
            </a:r>
            <a:r>
              <a:rPr lang="ru-RU" altLang="ru-RU" sz="900" b="1" i="1" dirty="0" err="1">
                <a:cs typeface="Times New Roman" panose="02020603050405020304" pitchFamily="18" charset="0"/>
              </a:rPr>
              <a:t>г.г</a:t>
            </a:r>
            <a:r>
              <a:rPr lang="ru-RU" altLang="ru-RU" sz="900" b="1" i="1" dirty="0"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08" name="Полилиния 107"/>
          <p:cNvSpPr/>
          <p:nvPr/>
        </p:nvSpPr>
        <p:spPr>
          <a:xfrm>
            <a:off x="7679845" y="901040"/>
            <a:ext cx="171450" cy="224558"/>
          </a:xfrm>
          <a:custGeom>
            <a:avLst/>
            <a:gdLst>
              <a:gd name="connsiteX0" fmla="*/ 0 w 136525"/>
              <a:gd name="connsiteY0" fmla="*/ 254000 h 254000"/>
              <a:gd name="connsiteX1" fmla="*/ 25400 w 136525"/>
              <a:gd name="connsiteY1" fmla="*/ 139700 h 254000"/>
              <a:gd name="connsiteX2" fmla="*/ 95250 w 136525"/>
              <a:gd name="connsiteY2" fmla="*/ 44450 h 254000"/>
              <a:gd name="connsiteX3" fmla="*/ 136525 w 136525"/>
              <a:gd name="connsiteY3" fmla="*/ 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525" h="254000">
                <a:moveTo>
                  <a:pt x="0" y="254000"/>
                </a:moveTo>
                <a:cubicBezTo>
                  <a:pt x="4762" y="214312"/>
                  <a:pt x="9525" y="174625"/>
                  <a:pt x="25400" y="139700"/>
                </a:cubicBezTo>
                <a:cubicBezTo>
                  <a:pt x="41275" y="104775"/>
                  <a:pt x="76729" y="67733"/>
                  <a:pt x="95250" y="44450"/>
                </a:cubicBezTo>
                <a:cubicBezTo>
                  <a:pt x="113771" y="21167"/>
                  <a:pt x="125148" y="10583"/>
                  <a:pt x="136525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10" name="Полилиния 109"/>
          <p:cNvSpPr/>
          <p:nvPr/>
        </p:nvSpPr>
        <p:spPr>
          <a:xfrm>
            <a:off x="7787285" y="934936"/>
            <a:ext cx="162149" cy="203759"/>
          </a:xfrm>
          <a:custGeom>
            <a:avLst/>
            <a:gdLst>
              <a:gd name="connsiteX0" fmla="*/ 0 w 136525"/>
              <a:gd name="connsiteY0" fmla="*/ 254000 h 254000"/>
              <a:gd name="connsiteX1" fmla="*/ 25400 w 136525"/>
              <a:gd name="connsiteY1" fmla="*/ 139700 h 254000"/>
              <a:gd name="connsiteX2" fmla="*/ 95250 w 136525"/>
              <a:gd name="connsiteY2" fmla="*/ 44450 h 254000"/>
              <a:gd name="connsiteX3" fmla="*/ 136525 w 136525"/>
              <a:gd name="connsiteY3" fmla="*/ 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525" h="254000">
                <a:moveTo>
                  <a:pt x="0" y="254000"/>
                </a:moveTo>
                <a:cubicBezTo>
                  <a:pt x="4762" y="214312"/>
                  <a:pt x="9525" y="174625"/>
                  <a:pt x="25400" y="139700"/>
                </a:cubicBezTo>
                <a:cubicBezTo>
                  <a:pt x="41275" y="104775"/>
                  <a:pt x="76729" y="67733"/>
                  <a:pt x="95250" y="44450"/>
                </a:cubicBezTo>
                <a:cubicBezTo>
                  <a:pt x="113771" y="21167"/>
                  <a:pt x="125148" y="10583"/>
                  <a:pt x="136525" y="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/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35496" y="555526"/>
            <a:ext cx="3350745" cy="624038"/>
          </a:xfrm>
          <a:prstGeom prst="roundRect">
            <a:avLst>
              <a:gd name="adj" fmla="val 8102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қашықтығы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1 208 км </a:t>
            </a:r>
          </a:p>
          <a:p>
            <a:pPr>
              <a:defRPr/>
            </a:pPr>
            <a:r>
              <a:rPr lang="kk-KZ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олық аяқтау </a:t>
            </a:r>
            <a:r>
              <a:rPr lang="kk-KZ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2023 жыл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 bwMode="auto">
          <a:xfrm>
            <a:off x="395537" y="3092168"/>
            <a:ext cx="2736304" cy="116466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 «Мерке-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Бұрылбайтал</a:t>
            </a: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</a:t>
            </a:r>
            <a:r>
              <a:rPr lang="ru-RU" altLang="ru-RU" sz="1050" b="1" dirty="0">
                <a:solidFill>
                  <a:srgbClr val="C00000"/>
                </a:solidFill>
                <a:cs typeface="Arial" panose="020B0604020202020204" pitchFamily="34" charset="0"/>
              </a:rPr>
              <a:t>км 7-273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 – </a:t>
            </a:r>
            <a:r>
              <a:rPr lang="ru-RU" altLang="ru-RU" sz="1050" b="1" dirty="0">
                <a:cs typeface="Times New Roman" panose="02020603050405020304" pitchFamily="18" charset="0"/>
              </a:rPr>
              <a:t> 262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км</a:t>
            </a:r>
          </a:p>
          <a:p>
            <a:pPr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4</a:t>
            </a:r>
          </a:p>
          <a:p>
            <a:pPr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АБК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Автодор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НС,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СиньСинь</a:t>
            </a:r>
            <a:endParaRPr lang="ru-RU" altLang="ru-RU" sz="1050" b="1" i="1" dirty="0"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97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endParaRPr lang="ru-RU" altLang="ru-RU" sz="1050" b="1" i="1" dirty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Эксим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Банк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үзеге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ас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19-2022</a:t>
            </a:r>
            <a:r>
              <a:rPr lang="en-US" altLang="ru-RU" sz="1050" b="1" i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г.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2050" name="Полилиния 2049"/>
          <p:cNvSpPr/>
          <p:nvPr/>
        </p:nvSpPr>
        <p:spPr>
          <a:xfrm>
            <a:off x="4698786" y="3957637"/>
            <a:ext cx="139466" cy="600075"/>
          </a:xfrm>
          <a:custGeom>
            <a:avLst/>
            <a:gdLst>
              <a:gd name="connsiteX0" fmla="*/ 108164 w 139466"/>
              <a:gd name="connsiteY0" fmla="*/ 0 h 800100"/>
              <a:gd name="connsiteX1" fmla="*/ 95464 w 139466"/>
              <a:gd name="connsiteY1" fmla="*/ 114300 h 800100"/>
              <a:gd name="connsiteX2" fmla="*/ 127214 w 139466"/>
              <a:gd name="connsiteY2" fmla="*/ 247650 h 800100"/>
              <a:gd name="connsiteX3" fmla="*/ 133564 w 139466"/>
              <a:gd name="connsiteY3" fmla="*/ 355600 h 800100"/>
              <a:gd name="connsiteX4" fmla="*/ 44664 w 139466"/>
              <a:gd name="connsiteY4" fmla="*/ 438150 h 800100"/>
              <a:gd name="connsiteX5" fmla="*/ 214 w 139466"/>
              <a:gd name="connsiteY5" fmla="*/ 463550 h 800100"/>
              <a:gd name="connsiteX6" fmla="*/ 31964 w 139466"/>
              <a:gd name="connsiteY6" fmla="*/ 552450 h 800100"/>
              <a:gd name="connsiteX7" fmla="*/ 120864 w 139466"/>
              <a:gd name="connsiteY7" fmla="*/ 666750 h 800100"/>
              <a:gd name="connsiteX8" fmla="*/ 108164 w 139466"/>
              <a:gd name="connsiteY8" fmla="*/ 774700 h 800100"/>
              <a:gd name="connsiteX9" fmla="*/ 101814 w 139466"/>
              <a:gd name="connsiteY9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466" h="800100">
                <a:moveTo>
                  <a:pt x="108164" y="0"/>
                </a:moveTo>
                <a:cubicBezTo>
                  <a:pt x="100226" y="36512"/>
                  <a:pt x="92289" y="73025"/>
                  <a:pt x="95464" y="114300"/>
                </a:cubicBezTo>
                <a:cubicBezTo>
                  <a:pt x="98639" y="155575"/>
                  <a:pt x="120864" y="207433"/>
                  <a:pt x="127214" y="247650"/>
                </a:cubicBezTo>
                <a:cubicBezTo>
                  <a:pt x="133564" y="287867"/>
                  <a:pt x="147322" y="323850"/>
                  <a:pt x="133564" y="355600"/>
                </a:cubicBezTo>
                <a:cubicBezTo>
                  <a:pt x="119806" y="387350"/>
                  <a:pt x="66889" y="420158"/>
                  <a:pt x="44664" y="438150"/>
                </a:cubicBezTo>
                <a:cubicBezTo>
                  <a:pt x="22439" y="456142"/>
                  <a:pt x="2331" y="444500"/>
                  <a:pt x="214" y="463550"/>
                </a:cubicBezTo>
                <a:cubicBezTo>
                  <a:pt x="-1903" y="482600"/>
                  <a:pt x="11856" y="518583"/>
                  <a:pt x="31964" y="552450"/>
                </a:cubicBezTo>
                <a:cubicBezTo>
                  <a:pt x="52072" y="586317"/>
                  <a:pt x="108164" y="629708"/>
                  <a:pt x="120864" y="666750"/>
                </a:cubicBezTo>
                <a:cubicBezTo>
                  <a:pt x="133564" y="703792"/>
                  <a:pt x="111339" y="752475"/>
                  <a:pt x="108164" y="774700"/>
                </a:cubicBezTo>
                <a:cubicBezTo>
                  <a:pt x="104989" y="796925"/>
                  <a:pt x="103931" y="792692"/>
                  <a:pt x="101814" y="800100"/>
                </a:cubicBezTo>
              </a:path>
            </a:pathLst>
          </a:custGeom>
          <a:noFill/>
          <a:ln w="1270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2051" name="Полилиния 2050"/>
          <p:cNvSpPr/>
          <p:nvPr/>
        </p:nvSpPr>
        <p:spPr>
          <a:xfrm>
            <a:off x="4631222" y="4562475"/>
            <a:ext cx="169379" cy="295319"/>
          </a:xfrm>
          <a:custGeom>
            <a:avLst/>
            <a:gdLst>
              <a:gd name="connsiteX0" fmla="*/ 169379 w 169379"/>
              <a:gd name="connsiteY0" fmla="*/ 0 h 393758"/>
              <a:gd name="connsiteX1" fmla="*/ 156679 w 169379"/>
              <a:gd name="connsiteY1" fmla="*/ 63500 h 393758"/>
              <a:gd name="connsiteX2" fmla="*/ 143979 w 169379"/>
              <a:gd name="connsiteY2" fmla="*/ 139700 h 393758"/>
              <a:gd name="connsiteX3" fmla="*/ 86829 w 169379"/>
              <a:gd name="connsiteY3" fmla="*/ 190500 h 393758"/>
              <a:gd name="connsiteX4" fmla="*/ 55079 w 169379"/>
              <a:gd name="connsiteY4" fmla="*/ 222250 h 393758"/>
              <a:gd name="connsiteX5" fmla="*/ 4279 w 169379"/>
              <a:gd name="connsiteY5" fmla="*/ 266700 h 393758"/>
              <a:gd name="connsiteX6" fmla="*/ 4279 w 169379"/>
              <a:gd name="connsiteY6" fmla="*/ 374650 h 393758"/>
              <a:gd name="connsiteX7" fmla="*/ 16979 w 169379"/>
              <a:gd name="connsiteY7" fmla="*/ 393700 h 3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379" h="393758">
                <a:moveTo>
                  <a:pt x="169379" y="0"/>
                </a:moveTo>
                <a:cubicBezTo>
                  <a:pt x="165145" y="20108"/>
                  <a:pt x="160912" y="40217"/>
                  <a:pt x="156679" y="63500"/>
                </a:cubicBezTo>
                <a:cubicBezTo>
                  <a:pt x="152446" y="86783"/>
                  <a:pt x="155621" y="118533"/>
                  <a:pt x="143979" y="139700"/>
                </a:cubicBezTo>
                <a:cubicBezTo>
                  <a:pt x="132337" y="160867"/>
                  <a:pt x="101646" y="176742"/>
                  <a:pt x="86829" y="190500"/>
                </a:cubicBezTo>
                <a:cubicBezTo>
                  <a:pt x="72012" y="204258"/>
                  <a:pt x="68837" y="209550"/>
                  <a:pt x="55079" y="222250"/>
                </a:cubicBezTo>
                <a:cubicBezTo>
                  <a:pt x="41321" y="234950"/>
                  <a:pt x="12746" y="241300"/>
                  <a:pt x="4279" y="266700"/>
                </a:cubicBezTo>
                <a:cubicBezTo>
                  <a:pt x="-4188" y="292100"/>
                  <a:pt x="2162" y="353483"/>
                  <a:pt x="4279" y="374650"/>
                </a:cubicBezTo>
                <a:cubicBezTo>
                  <a:pt x="6396" y="395817"/>
                  <a:pt x="16979" y="393700"/>
                  <a:pt x="16979" y="393700"/>
                </a:cubicBezTo>
              </a:path>
            </a:pathLst>
          </a:custGeom>
          <a:noFill/>
          <a:ln w="1905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83" name="Полилиния 82"/>
          <p:cNvSpPr/>
          <p:nvPr/>
        </p:nvSpPr>
        <p:spPr>
          <a:xfrm>
            <a:off x="4692767" y="3967163"/>
            <a:ext cx="139466" cy="600075"/>
          </a:xfrm>
          <a:custGeom>
            <a:avLst/>
            <a:gdLst>
              <a:gd name="connsiteX0" fmla="*/ 108164 w 139466"/>
              <a:gd name="connsiteY0" fmla="*/ 0 h 800100"/>
              <a:gd name="connsiteX1" fmla="*/ 95464 w 139466"/>
              <a:gd name="connsiteY1" fmla="*/ 114300 h 800100"/>
              <a:gd name="connsiteX2" fmla="*/ 127214 w 139466"/>
              <a:gd name="connsiteY2" fmla="*/ 247650 h 800100"/>
              <a:gd name="connsiteX3" fmla="*/ 133564 w 139466"/>
              <a:gd name="connsiteY3" fmla="*/ 355600 h 800100"/>
              <a:gd name="connsiteX4" fmla="*/ 44664 w 139466"/>
              <a:gd name="connsiteY4" fmla="*/ 438150 h 800100"/>
              <a:gd name="connsiteX5" fmla="*/ 214 w 139466"/>
              <a:gd name="connsiteY5" fmla="*/ 463550 h 800100"/>
              <a:gd name="connsiteX6" fmla="*/ 31964 w 139466"/>
              <a:gd name="connsiteY6" fmla="*/ 552450 h 800100"/>
              <a:gd name="connsiteX7" fmla="*/ 120864 w 139466"/>
              <a:gd name="connsiteY7" fmla="*/ 666750 h 800100"/>
              <a:gd name="connsiteX8" fmla="*/ 108164 w 139466"/>
              <a:gd name="connsiteY8" fmla="*/ 774700 h 800100"/>
              <a:gd name="connsiteX9" fmla="*/ 101814 w 139466"/>
              <a:gd name="connsiteY9" fmla="*/ 800100 h 800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9466" h="800100">
                <a:moveTo>
                  <a:pt x="108164" y="0"/>
                </a:moveTo>
                <a:cubicBezTo>
                  <a:pt x="100226" y="36512"/>
                  <a:pt x="92289" y="73025"/>
                  <a:pt x="95464" y="114300"/>
                </a:cubicBezTo>
                <a:cubicBezTo>
                  <a:pt x="98639" y="155575"/>
                  <a:pt x="120864" y="207433"/>
                  <a:pt x="127214" y="247650"/>
                </a:cubicBezTo>
                <a:cubicBezTo>
                  <a:pt x="133564" y="287867"/>
                  <a:pt x="147322" y="323850"/>
                  <a:pt x="133564" y="355600"/>
                </a:cubicBezTo>
                <a:cubicBezTo>
                  <a:pt x="119806" y="387350"/>
                  <a:pt x="66889" y="420158"/>
                  <a:pt x="44664" y="438150"/>
                </a:cubicBezTo>
                <a:cubicBezTo>
                  <a:pt x="22439" y="456142"/>
                  <a:pt x="2331" y="444500"/>
                  <a:pt x="214" y="463550"/>
                </a:cubicBezTo>
                <a:cubicBezTo>
                  <a:pt x="-1903" y="482600"/>
                  <a:pt x="11856" y="518583"/>
                  <a:pt x="31964" y="552450"/>
                </a:cubicBezTo>
                <a:cubicBezTo>
                  <a:pt x="52072" y="586317"/>
                  <a:pt x="108164" y="629708"/>
                  <a:pt x="120864" y="666750"/>
                </a:cubicBezTo>
                <a:cubicBezTo>
                  <a:pt x="133564" y="703792"/>
                  <a:pt x="111339" y="752475"/>
                  <a:pt x="108164" y="774700"/>
                </a:cubicBezTo>
                <a:cubicBezTo>
                  <a:pt x="104989" y="796925"/>
                  <a:pt x="103931" y="792692"/>
                  <a:pt x="101814" y="8001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84" name="Полилиния 83"/>
          <p:cNvSpPr/>
          <p:nvPr/>
        </p:nvSpPr>
        <p:spPr>
          <a:xfrm>
            <a:off x="4637796" y="4562475"/>
            <a:ext cx="169379" cy="295319"/>
          </a:xfrm>
          <a:custGeom>
            <a:avLst/>
            <a:gdLst>
              <a:gd name="connsiteX0" fmla="*/ 169379 w 169379"/>
              <a:gd name="connsiteY0" fmla="*/ 0 h 393758"/>
              <a:gd name="connsiteX1" fmla="*/ 156679 w 169379"/>
              <a:gd name="connsiteY1" fmla="*/ 63500 h 393758"/>
              <a:gd name="connsiteX2" fmla="*/ 143979 w 169379"/>
              <a:gd name="connsiteY2" fmla="*/ 139700 h 393758"/>
              <a:gd name="connsiteX3" fmla="*/ 86829 w 169379"/>
              <a:gd name="connsiteY3" fmla="*/ 190500 h 393758"/>
              <a:gd name="connsiteX4" fmla="*/ 55079 w 169379"/>
              <a:gd name="connsiteY4" fmla="*/ 222250 h 393758"/>
              <a:gd name="connsiteX5" fmla="*/ 4279 w 169379"/>
              <a:gd name="connsiteY5" fmla="*/ 266700 h 393758"/>
              <a:gd name="connsiteX6" fmla="*/ 4279 w 169379"/>
              <a:gd name="connsiteY6" fmla="*/ 374650 h 393758"/>
              <a:gd name="connsiteX7" fmla="*/ 16979 w 169379"/>
              <a:gd name="connsiteY7" fmla="*/ 393700 h 3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379" h="393758">
                <a:moveTo>
                  <a:pt x="169379" y="0"/>
                </a:moveTo>
                <a:cubicBezTo>
                  <a:pt x="165145" y="20108"/>
                  <a:pt x="160912" y="40217"/>
                  <a:pt x="156679" y="63500"/>
                </a:cubicBezTo>
                <a:cubicBezTo>
                  <a:pt x="152446" y="86783"/>
                  <a:pt x="155621" y="118533"/>
                  <a:pt x="143979" y="139700"/>
                </a:cubicBezTo>
                <a:cubicBezTo>
                  <a:pt x="132337" y="160867"/>
                  <a:pt x="101646" y="176742"/>
                  <a:pt x="86829" y="190500"/>
                </a:cubicBezTo>
                <a:cubicBezTo>
                  <a:pt x="72012" y="204258"/>
                  <a:pt x="68837" y="209550"/>
                  <a:pt x="55079" y="222250"/>
                </a:cubicBezTo>
                <a:cubicBezTo>
                  <a:pt x="41321" y="234950"/>
                  <a:pt x="12746" y="241300"/>
                  <a:pt x="4279" y="266700"/>
                </a:cubicBezTo>
                <a:cubicBezTo>
                  <a:pt x="-4188" y="292100"/>
                  <a:pt x="2162" y="353483"/>
                  <a:pt x="4279" y="374650"/>
                </a:cubicBezTo>
                <a:cubicBezTo>
                  <a:pt x="6396" y="395817"/>
                  <a:pt x="16979" y="393700"/>
                  <a:pt x="16979" y="3937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86" name="Полилиния 85"/>
          <p:cNvSpPr/>
          <p:nvPr/>
        </p:nvSpPr>
        <p:spPr>
          <a:xfrm>
            <a:off x="4572001" y="4563591"/>
            <a:ext cx="169379" cy="295319"/>
          </a:xfrm>
          <a:custGeom>
            <a:avLst/>
            <a:gdLst>
              <a:gd name="connsiteX0" fmla="*/ 169379 w 169379"/>
              <a:gd name="connsiteY0" fmla="*/ 0 h 393758"/>
              <a:gd name="connsiteX1" fmla="*/ 156679 w 169379"/>
              <a:gd name="connsiteY1" fmla="*/ 63500 h 393758"/>
              <a:gd name="connsiteX2" fmla="*/ 143979 w 169379"/>
              <a:gd name="connsiteY2" fmla="*/ 139700 h 393758"/>
              <a:gd name="connsiteX3" fmla="*/ 86829 w 169379"/>
              <a:gd name="connsiteY3" fmla="*/ 190500 h 393758"/>
              <a:gd name="connsiteX4" fmla="*/ 55079 w 169379"/>
              <a:gd name="connsiteY4" fmla="*/ 222250 h 393758"/>
              <a:gd name="connsiteX5" fmla="*/ 4279 w 169379"/>
              <a:gd name="connsiteY5" fmla="*/ 266700 h 393758"/>
              <a:gd name="connsiteX6" fmla="*/ 4279 w 169379"/>
              <a:gd name="connsiteY6" fmla="*/ 374650 h 393758"/>
              <a:gd name="connsiteX7" fmla="*/ 16979 w 169379"/>
              <a:gd name="connsiteY7" fmla="*/ 393700 h 3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379" h="393758">
                <a:moveTo>
                  <a:pt x="169379" y="0"/>
                </a:moveTo>
                <a:cubicBezTo>
                  <a:pt x="165145" y="20108"/>
                  <a:pt x="160912" y="40217"/>
                  <a:pt x="156679" y="63500"/>
                </a:cubicBezTo>
                <a:cubicBezTo>
                  <a:pt x="152446" y="86783"/>
                  <a:pt x="155621" y="118533"/>
                  <a:pt x="143979" y="139700"/>
                </a:cubicBezTo>
                <a:cubicBezTo>
                  <a:pt x="132337" y="160867"/>
                  <a:pt x="101646" y="176742"/>
                  <a:pt x="86829" y="190500"/>
                </a:cubicBezTo>
                <a:cubicBezTo>
                  <a:pt x="72012" y="204258"/>
                  <a:pt x="68837" y="209550"/>
                  <a:pt x="55079" y="222250"/>
                </a:cubicBezTo>
                <a:cubicBezTo>
                  <a:pt x="41321" y="234950"/>
                  <a:pt x="12746" y="241300"/>
                  <a:pt x="4279" y="266700"/>
                </a:cubicBezTo>
                <a:cubicBezTo>
                  <a:pt x="-4188" y="292100"/>
                  <a:pt x="2162" y="353483"/>
                  <a:pt x="4279" y="374650"/>
                </a:cubicBezTo>
                <a:cubicBezTo>
                  <a:pt x="6396" y="395817"/>
                  <a:pt x="16979" y="393700"/>
                  <a:pt x="16979" y="3937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87" name="Полилиния 86"/>
          <p:cNvSpPr/>
          <p:nvPr/>
        </p:nvSpPr>
        <p:spPr>
          <a:xfrm>
            <a:off x="4682109" y="4574734"/>
            <a:ext cx="169379" cy="295319"/>
          </a:xfrm>
          <a:custGeom>
            <a:avLst/>
            <a:gdLst>
              <a:gd name="connsiteX0" fmla="*/ 169379 w 169379"/>
              <a:gd name="connsiteY0" fmla="*/ 0 h 393758"/>
              <a:gd name="connsiteX1" fmla="*/ 156679 w 169379"/>
              <a:gd name="connsiteY1" fmla="*/ 63500 h 393758"/>
              <a:gd name="connsiteX2" fmla="*/ 143979 w 169379"/>
              <a:gd name="connsiteY2" fmla="*/ 139700 h 393758"/>
              <a:gd name="connsiteX3" fmla="*/ 86829 w 169379"/>
              <a:gd name="connsiteY3" fmla="*/ 190500 h 393758"/>
              <a:gd name="connsiteX4" fmla="*/ 55079 w 169379"/>
              <a:gd name="connsiteY4" fmla="*/ 222250 h 393758"/>
              <a:gd name="connsiteX5" fmla="*/ 4279 w 169379"/>
              <a:gd name="connsiteY5" fmla="*/ 266700 h 393758"/>
              <a:gd name="connsiteX6" fmla="*/ 4279 w 169379"/>
              <a:gd name="connsiteY6" fmla="*/ 374650 h 393758"/>
              <a:gd name="connsiteX7" fmla="*/ 16979 w 169379"/>
              <a:gd name="connsiteY7" fmla="*/ 393700 h 393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379" h="393758">
                <a:moveTo>
                  <a:pt x="169379" y="0"/>
                </a:moveTo>
                <a:cubicBezTo>
                  <a:pt x="165145" y="20108"/>
                  <a:pt x="160912" y="40217"/>
                  <a:pt x="156679" y="63500"/>
                </a:cubicBezTo>
                <a:cubicBezTo>
                  <a:pt x="152446" y="86783"/>
                  <a:pt x="155621" y="118533"/>
                  <a:pt x="143979" y="139700"/>
                </a:cubicBezTo>
                <a:cubicBezTo>
                  <a:pt x="132337" y="160867"/>
                  <a:pt x="101646" y="176742"/>
                  <a:pt x="86829" y="190500"/>
                </a:cubicBezTo>
                <a:cubicBezTo>
                  <a:pt x="72012" y="204258"/>
                  <a:pt x="68837" y="209550"/>
                  <a:pt x="55079" y="222250"/>
                </a:cubicBezTo>
                <a:cubicBezTo>
                  <a:pt x="41321" y="234950"/>
                  <a:pt x="12746" y="241300"/>
                  <a:pt x="4279" y="266700"/>
                </a:cubicBezTo>
                <a:cubicBezTo>
                  <a:pt x="-4188" y="292100"/>
                  <a:pt x="2162" y="353483"/>
                  <a:pt x="4279" y="374650"/>
                </a:cubicBezTo>
                <a:cubicBezTo>
                  <a:pt x="6396" y="395817"/>
                  <a:pt x="16979" y="393700"/>
                  <a:pt x="16979" y="393700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88" name="Блок-схема: узел 87"/>
          <p:cNvSpPr/>
          <p:nvPr/>
        </p:nvSpPr>
        <p:spPr>
          <a:xfrm>
            <a:off x="4574046" y="4818282"/>
            <a:ext cx="216124" cy="132000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92" name="AutoShape 19"/>
          <p:cNvSpPr>
            <a:spLocks noChangeArrowheads="1"/>
          </p:cNvSpPr>
          <p:nvPr/>
        </p:nvSpPr>
        <p:spPr bwMode="auto">
          <a:xfrm>
            <a:off x="3901357" y="4796633"/>
            <a:ext cx="628035" cy="17529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Мерке</a:t>
            </a:r>
          </a:p>
        </p:txBody>
      </p:sp>
      <p:sp>
        <p:nvSpPr>
          <p:cNvPr id="98" name="AutoShape 19"/>
          <p:cNvSpPr>
            <a:spLocks noChangeArrowheads="1"/>
          </p:cNvSpPr>
          <p:nvPr/>
        </p:nvSpPr>
        <p:spPr bwMode="auto">
          <a:xfrm>
            <a:off x="4897888" y="4256834"/>
            <a:ext cx="713354" cy="147066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Franklin Gothic Medium Cond" pitchFamily="34" charset="0"/>
                <a:cs typeface="Arial" pitchFamily="34" charset="0"/>
              </a:rPr>
              <a:t>Кұрты</a:t>
            </a:r>
            <a:endParaRPr lang="ru-RU" sz="1400" b="1" dirty="0">
              <a:solidFill>
                <a:prstClr val="black">
                  <a:lumMod val="75000"/>
                  <a:lumOff val="25000"/>
                </a:prstClr>
              </a:solidFill>
              <a:latin typeface="Franklin Gothic Medium Cond" pitchFamily="34" charset="0"/>
              <a:cs typeface="Arial" pitchFamily="34" charset="0"/>
            </a:endParaRPr>
          </a:p>
        </p:txBody>
      </p:sp>
      <p:cxnSp>
        <p:nvCxnSpPr>
          <p:cNvPr id="78" name="Прямая со стрелкой 77"/>
          <p:cNvCxnSpPr>
            <a:stCxn id="74" idx="3"/>
            <a:endCxn id="2050" idx="4"/>
          </p:cNvCxnSpPr>
          <p:nvPr/>
        </p:nvCxnSpPr>
        <p:spPr>
          <a:xfrm>
            <a:off x="3131841" y="3674501"/>
            <a:ext cx="1611609" cy="611749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>
            <a:stCxn id="105" idx="1"/>
            <a:endCxn id="127" idx="1"/>
          </p:cNvCxnSpPr>
          <p:nvPr/>
        </p:nvCxnSpPr>
        <p:spPr>
          <a:xfrm flipH="1" flipV="1">
            <a:off x="5891707" y="4196384"/>
            <a:ext cx="412719" cy="378474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Полилиния 63"/>
          <p:cNvSpPr/>
          <p:nvPr/>
        </p:nvSpPr>
        <p:spPr>
          <a:xfrm>
            <a:off x="4756150" y="3840788"/>
            <a:ext cx="681296" cy="289353"/>
          </a:xfrm>
          <a:custGeom>
            <a:avLst/>
            <a:gdLst>
              <a:gd name="connsiteX0" fmla="*/ 0 w 957532"/>
              <a:gd name="connsiteY0" fmla="*/ 0 h 621101"/>
              <a:gd name="connsiteX1" fmla="*/ 146649 w 957532"/>
              <a:gd name="connsiteY1" fmla="*/ 120769 h 621101"/>
              <a:gd name="connsiteX2" fmla="*/ 215661 w 957532"/>
              <a:gd name="connsiteY2" fmla="*/ 198407 h 621101"/>
              <a:gd name="connsiteX3" fmla="*/ 319177 w 957532"/>
              <a:gd name="connsiteY3" fmla="*/ 258792 h 621101"/>
              <a:gd name="connsiteX4" fmla="*/ 517585 w 957532"/>
              <a:gd name="connsiteY4" fmla="*/ 379562 h 621101"/>
              <a:gd name="connsiteX5" fmla="*/ 681487 w 957532"/>
              <a:gd name="connsiteY5" fmla="*/ 379562 h 621101"/>
              <a:gd name="connsiteX6" fmla="*/ 819510 w 957532"/>
              <a:gd name="connsiteY6" fmla="*/ 465826 h 621101"/>
              <a:gd name="connsiteX7" fmla="*/ 905774 w 957532"/>
              <a:gd name="connsiteY7" fmla="*/ 508958 h 621101"/>
              <a:gd name="connsiteX8" fmla="*/ 957532 w 957532"/>
              <a:gd name="connsiteY8" fmla="*/ 621101 h 621101"/>
              <a:gd name="connsiteX0" fmla="*/ 0 w 905774"/>
              <a:gd name="connsiteY0" fmla="*/ 0 h 508958"/>
              <a:gd name="connsiteX1" fmla="*/ 146649 w 905774"/>
              <a:gd name="connsiteY1" fmla="*/ 120769 h 508958"/>
              <a:gd name="connsiteX2" fmla="*/ 215661 w 905774"/>
              <a:gd name="connsiteY2" fmla="*/ 198407 h 508958"/>
              <a:gd name="connsiteX3" fmla="*/ 319177 w 905774"/>
              <a:gd name="connsiteY3" fmla="*/ 258792 h 508958"/>
              <a:gd name="connsiteX4" fmla="*/ 517585 w 905774"/>
              <a:gd name="connsiteY4" fmla="*/ 379562 h 508958"/>
              <a:gd name="connsiteX5" fmla="*/ 681487 w 905774"/>
              <a:gd name="connsiteY5" fmla="*/ 379562 h 508958"/>
              <a:gd name="connsiteX6" fmla="*/ 819510 w 905774"/>
              <a:gd name="connsiteY6" fmla="*/ 465826 h 508958"/>
              <a:gd name="connsiteX7" fmla="*/ 905774 w 905774"/>
              <a:gd name="connsiteY7" fmla="*/ 508958 h 508958"/>
              <a:gd name="connsiteX0" fmla="*/ 0 w 819510"/>
              <a:gd name="connsiteY0" fmla="*/ 0 h 465826"/>
              <a:gd name="connsiteX1" fmla="*/ 146649 w 819510"/>
              <a:gd name="connsiteY1" fmla="*/ 120769 h 465826"/>
              <a:gd name="connsiteX2" fmla="*/ 215661 w 819510"/>
              <a:gd name="connsiteY2" fmla="*/ 198407 h 465826"/>
              <a:gd name="connsiteX3" fmla="*/ 319177 w 819510"/>
              <a:gd name="connsiteY3" fmla="*/ 258792 h 465826"/>
              <a:gd name="connsiteX4" fmla="*/ 517585 w 819510"/>
              <a:gd name="connsiteY4" fmla="*/ 379562 h 465826"/>
              <a:gd name="connsiteX5" fmla="*/ 681487 w 819510"/>
              <a:gd name="connsiteY5" fmla="*/ 379562 h 465826"/>
              <a:gd name="connsiteX6" fmla="*/ 819510 w 819510"/>
              <a:gd name="connsiteY6" fmla="*/ 465826 h 465826"/>
              <a:gd name="connsiteX0" fmla="*/ 0 w 681487"/>
              <a:gd name="connsiteY0" fmla="*/ 0 h 386045"/>
              <a:gd name="connsiteX1" fmla="*/ 146649 w 681487"/>
              <a:gd name="connsiteY1" fmla="*/ 120769 h 386045"/>
              <a:gd name="connsiteX2" fmla="*/ 215661 w 681487"/>
              <a:gd name="connsiteY2" fmla="*/ 198407 h 386045"/>
              <a:gd name="connsiteX3" fmla="*/ 319177 w 681487"/>
              <a:gd name="connsiteY3" fmla="*/ 258792 h 386045"/>
              <a:gd name="connsiteX4" fmla="*/ 517585 w 681487"/>
              <a:gd name="connsiteY4" fmla="*/ 379562 h 386045"/>
              <a:gd name="connsiteX5" fmla="*/ 681487 w 681487"/>
              <a:gd name="connsiteY5" fmla="*/ 379562 h 386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1487" h="386045">
                <a:moveTo>
                  <a:pt x="0" y="0"/>
                </a:moveTo>
                <a:cubicBezTo>
                  <a:pt x="55353" y="43850"/>
                  <a:pt x="110706" y="87701"/>
                  <a:pt x="146649" y="120769"/>
                </a:cubicBezTo>
                <a:cubicBezTo>
                  <a:pt x="182593" y="153837"/>
                  <a:pt x="186906" y="175403"/>
                  <a:pt x="215661" y="198407"/>
                </a:cubicBezTo>
                <a:cubicBezTo>
                  <a:pt x="244416" y="221411"/>
                  <a:pt x="319177" y="258792"/>
                  <a:pt x="319177" y="258792"/>
                </a:cubicBezTo>
                <a:cubicBezTo>
                  <a:pt x="369498" y="288985"/>
                  <a:pt x="457200" y="359434"/>
                  <a:pt x="517585" y="379562"/>
                </a:cubicBezTo>
                <a:cubicBezTo>
                  <a:pt x="577970" y="399690"/>
                  <a:pt x="631166" y="365185"/>
                  <a:pt x="681487" y="379562"/>
                </a:cubicBezTo>
              </a:path>
            </a:pathLst>
          </a:custGeom>
          <a:noFill/>
          <a:ln w="1905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Полилиния 20"/>
          <p:cNvSpPr/>
          <p:nvPr/>
        </p:nvSpPr>
        <p:spPr>
          <a:xfrm>
            <a:off x="4752975" y="3836194"/>
            <a:ext cx="971550" cy="431006"/>
          </a:xfrm>
          <a:custGeom>
            <a:avLst/>
            <a:gdLst>
              <a:gd name="connsiteX0" fmla="*/ 0 w 992037"/>
              <a:gd name="connsiteY0" fmla="*/ 0 h 603849"/>
              <a:gd name="connsiteX1" fmla="*/ 120770 w 992037"/>
              <a:gd name="connsiteY1" fmla="*/ 94891 h 603849"/>
              <a:gd name="connsiteX2" fmla="*/ 181154 w 992037"/>
              <a:gd name="connsiteY2" fmla="*/ 138023 h 603849"/>
              <a:gd name="connsiteX3" fmla="*/ 284671 w 992037"/>
              <a:gd name="connsiteY3" fmla="*/ 224287 h 603849"/>
              <a:gd name="connsiteX4" fmla="*/ 422694 w 992037"/>
              <a:gd name="connsiteY4" fmla="*/ 319177 h 603849"/>
              <a:gd name="connsiteX5" fmla="*/ 543464 w 992037"/>
              <a:gd name="connsiteY5" fmla="*/ 379562 h 603849"/>
              <a:gd name="connsiteX6" fmla="*/ 552090 w 992037"/>
              <a:gd name="connsiteY6" fmla="*/ 379562 h 603849"/>
              <a:gd name="connsiteX7" fmla="*/ 672860 w 992037"/>
              <a:gd name="connsiteY7" fmla="*/ 379562 h 603849"/>
              <a:gd name="connsiteX8" fmla="*/ 802256 w 992037"/>
              <a:gd name="connsiteY8" fmla="*/ 431321 h 603849"/>
              <a:gd name="connsiteX9" fmla="*/ 897147 w 992037"/>
              <a:gd name="connsiteY9" fmla="*/ 508958 h 603849"/>
              <a:gd name="connsiteX10" fmla="*/ 966158 w 992037"/>
              <a:gd name="connsiteY10" fmla="*/ 560717 h 603849"/>
              <a:gd name="connsiteX11" fmla="*/ 992037 w 992037"/>
              <a:gd name="connsiteY11" fmla="*/ 603849 h 603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92037" h="603849">
                <a:moveTo>
                  <a:pt x="0" y="0"/>
                </a:moveTo>
                <a:lnTo>
                  <a:pt x="120770" y="94891"/>
                </a:lnTo>
                <a:cubicBezTo>
                  <a:pt x="150962" y="117895"/>
                  <a:pt x="153837" y="116457"/>
                  <a:pt x="181154" y="138023"/>
                </a:cubicBezTo>
                <a:cubicBezTo>
                  <a:pt x="208471" y="159589"/>
                  <a:pt x="244414" y="194095"/>
                  <a:pt x="284671" y="224287"/>
                </a:cubicBezTo>
                <a:cubicBezTo>
                  <a:pt x="324928" y="254479"/>
                  <a:pt x="379562" y="293298"/>
                  <a:pt x="422694" y="319177"/>
                </a:cubicBezTo>
                <a:cubicBezTo>
                  <a:pt x="465826" y="345056"/>
                  <a:pt x="521898" y="369498"/>
                  <a:pt x="543464" y="379562"/>
                </a:cubicBezTo>
                <a:cubicBezTo>
                  <a:pt x="565030" y="389626"/>
                  <a:pt x="552090" y="379562"/>
                  <a:pt x="552090" y="379562"/>
                </a:cubicBezTo>
                <a:cubicBezTo>
                  <a:pt x="573656" y="379562"/>
                  <a:pt x="631166" y="370935"/>
                  <a:pt x="672860" y="379562"/>
                </a:cubicBezTo>
                <a:cubicBezTo>
                  <a:pt x="714554" y="388189"/>
                  <a:pt x="764875" y="409755"/>
                  <a:pt x="802256" y="431321"/>
                </a:cubicBezTo>
                <a:cubicBezTo>
                  <a:pt x="839637" y="452887"/>
                  <a:pt x="869830" y="487392"/>
                  <a:pt x="897147" y="508958"/>
                </a:cubicBezTo>
                <a:cubicBezTo>
                  <a:pt x="924464" y="530524"/>
                  <a:pt x="950343" y="544902"/>
                  <a:pt x="966158" y="560717"/>
                </a:cubicBezTo>
                <a:cubicBezTo>
                  <a:pt x="981973" y="576532"/>
                  <a:pt x="987005" y="590190"/>
                  <a:pt x="992037" y="603849"/>
                </a:cubicBezTo>
              </a:path>
            </a:pathLst>
          </a:custGeom>
          <a:noFill/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4" name="Полилиния 53"/>
          <p:cNvSpPr/>
          <p:nvPr/>
        </p:nvSpPr>
        <p:spPr>
          <a:xfrm>
            <a:off x="4803775" y="3813573"/>
            <a:ext cx="992188" cy="453628"/>
          </a:xfrm>
          <a:custGeom>
            <a:avLst/>
            <a:gdLst>
              <a:gd name="connsiteX0" fmla="*/ 0 w 992037"/>
              <a:gd name="connsiteY0" fmla="*/ 0 h 603849"/>
              <a:gd name="connsiteX1" fmla="*/ 120770 w 992037"/>
              <a:gd name="connsiteY1" fmla="*/ 94891 h 603849"/>
              <a:gd name="connsiteX2" fmla="*/ 181154 w 992037"/>
              <a:gd name="connsiteY2" fmla="*/ 138023 h 603849"/>
              <a:gd name="connsiteX3" fmla="*/ 284671 w 992037"/>
              <a:gd name="connsiteY3" fmla="*/ 224287 h 603849"/>
              <a:gd name="connsiteX4" fmla="*/ 422694 w 992037"/>
              <a:gd name="connsiteY4" fmla="*/ 319177 h 603849"/>
              <a:gd name="connsiteX5" fmla="*/ 543464 w 992037"/>
              <a:gd name="connsiteY5" fmla="*/ 379562 h 603849"/>
              <a:gd name="connsiteX6" fmla="*/ 552090 w 992037"/>
              <a:gd name="connsiteY6" fmla="*/ 379562 h 603849"/>
              <a:gd name="connsiteX7" fmla="*/ 672860 w 992037"/>
              <a:gd name="connsiteY7" fmla="*/ 379562 h 603849"/>
              <a:gd name="connsiteX8" fmla="*/ 802256 w 992037"/>
              <a:gd name="connsiteY8" fmla="*/ 431321 h 603849"/>
              <a:gd name="connsiteX9" fmla="*/ 897147 w 992037"/>
              <a:gd name="connsiteY9" fmla="*/ 508958 h 603849"/>
              <a:gd name="connsiteX10" fmla="*/ 966158 w 992037"/>
              <a:gd name="connsiteY10" fmla="*/ 560717 h 603849"/>
              <a:gd name="connsiteX11" fmla="*/ 992037 w 992037"/>
              <a:gd name="connsiteY11" fmla="*/ 603849 h 603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92037" h="603849">
                <a:moveTo>
                  <a:pt x="0" y="0"/>
                </a:moveTo>
                <a:lnTo>
                  <a:pt x="120770" y="94891"/>
                </a:lnTo>
                <a:cubicBezTo>
                  <a:pt x="150962" y="117895"/>
                  <a:pt x="153837" y="116457"/>
                  <a:pt x="181154" y="138023"/>
                </a:cubicBezTo>
                <a:cubicBezTo>
                  <a:pt x="208471" y="159589"/>
                  <a:pt x="244414" y="194095"/>
                  <a:pt x="284671" y="224287"/>
                </a:cubicBezTo>
                <a:cubicBezTo>
                  <a:pt x="324928" y="254479"/>
                  <a:pt x="379562" y="293298"/>
                  <a:pt x="422694" y="319177"/>
                </a:cubicBezTo>
                <a:cubicBezTo>
                  <a:pt x="465826" y="345056"/>
                  <a:pt x="521898" y="369498"/>
                  <a:pt x="543464" y="379562"/>
                </a:cubicBezTo>
                <a:cubicBezTo>
                  <a:pt x="565030" y="389626"/>
                  <a:pt x="552090" y="379562"/>
                  <a:pt x="552090" y="379562"/>
                </a:cubicBezTo>
                <a:cubicBezTo>
                  <a:pt x="573656" y="379562"/>
                  <a:pt x="631166" y="370935"/>
                  <a:pt x="672860" y="379562"/>
                </a:cubicBezTo>
                <a:cubicBezTo>
                  <a:pt x="714554" y="388189"/>
                  <a:pt x="764875" y="409755"/>
                  <a:pt x="802256" y="431321"/>
                </a:cubicBezTo>
                <a:cubicBezTo>
                  <a:pt x="839637" y="452887"/>
                  <a:pt x="869830" y="487392"/>
                  <a:pt x="897147" y="508958"/>
                </a:cubicBezTo>
                <a:cubicBezTo>
                  <a:pt x="924464" y="530524"/>
                  <a:pt x="950343" y="544902"/>
                  <a:pt x="966158" y="560717"/>
                </a:cubicBezTo>
                <a:cubicBezTo>
                  <a:pt x="981973" y="576532"/>
                  <a:pt x="987005" y="590190"/>
                  <a:pt x="992037" y="603849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4716464" y="3868341"/>
            <a:ext cx="992187" cy="452438"/>
          </a:xfrm>
          <a:custGeom>
            <a:avLst/>
            <a:gdLst>
              <a:gd name="connsiteX0" fmla="*/ 0 w 992037"/>
              <a:gd name="connsiteY0" fmla="*/ 0 h 603849"/>
              <a:gd name="connsiteX1" fmla="*/ 120770 w 992037"/>
              <a:gd name="connsiteY1" fmla="*/ 94891 h 603849"/>
              <a:gd name="connsiteX2" fmla="*/ 181154 w 992037"/>
              <a:gd name="connsiteY2" fmla="*/ 138023 h 603849"/>
              <a:gd name="connsiteX3" fmla="*/ 284671 w 992037"/>
              <a:gd name="connsiteY3" fmla="*/ 224287 h 603849"/>
              <a:gd name="connsiteX4" fmla="*/ 422694 w 992037"/>
              <a:gd name="connsiteY4" fmla="*/ 319177 h 603849"/>
              <a:gd name="connsiteX5" fmla="*/ 543464 w 992037"/>
              <a:gd name="connsiteY5" fmla="*/ 379562 h 603849"/>
              <a:gd name="connsiteX6" fmla="*/ 552090 w 992037"/>
              <a:gd name="connsiteY6" fmla="*/ 379562 h 603849"/>
              <a:gd name="connsiteX7" fmla="*/ 672860 w 992037"/>
              <a:gd name="connsiteY7" fmla="*/ 379562 h 603849"/>
              <a:gd name="connsiteX8" fmla="*/ 802256 w 992037"/>
              <a:gd name="connsiteY8" fmla="*/ 431321 h 603849"/>
              <a:gd name="connsiteX9" fmla="*/ 897147 w 992037"/>
              <a:gd name="connsiteY9" fmla="*/ 508958 h 603849"/>
              <a:gd name="connsiteX10" fmla="*/ 966158 w 992037"/>
              <a:gd name="connsiteY10" fmla="*/ 560717 h 603849"/>
              <a:gd name="connsiteX11" fmla="*/ 992037 w 992037"/>
              <a:gd name="connsiteY11" fmla="*/ 603849 h 603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92037" h="603849">
                <a:moveTo>
                  <a:pt x="0" y="0"/>
                </a:moveTo>
                <a:lnTo>
                  <a:pt x="120770" y="94891"/>
                </a:lnTo>
                <a:cubicBezTo>
                  <a:pt x="150962" y="117895"/>
                  <a:pt x="153837" y="116457"/>
                  <a:pt x="181154" y="138023"/>
                </a:cubicBezTo>
                <a:cubicBezTo>
                  <a:pt x="208471" y="159589"/>
                  <a:pt x="244414" y="194095"/>
                  <a:pt x="284671" y="224287"/>
                </a:cubicBezTo>
                <a:cubicBezTo>
                  <a:pt x="324928" y="254479"/>
                  <a:pt x="379562" y="293298"/>
                  <a:pt x="422694" y="319177"/>
                </a:cubicBezTo>
                <a:cubicBezTo>
                  <a:pt x="465826" y="345056"/>
                  <a:pt x="521898" y="369498"/>
                  <a:pt x="543464" y="379562"/>
                </a:cubicBezTo>
                <a:cubicBezTo>
                  <a:pt x="565030" y="389626"/>
                  <a:pt x="552090" y="379562"/>
                  <a:pt x="552090" y="379562"/>
                </a:cubicBezTo>
                <a:cubicBezTo>
                  <a:pt x="573656" y="379562"/>
                  <a:pt x="631166" y="370935"/>
                  <a:pt x="672860" y="379562"/>
                </a:cubicBezTo>
                <a:cubicBezTo>
                  <a:pt x="714554" y="388189"/>
                  <a:pt x="764875" y="409755"/>
                  <a:pt x="802256" y="431321"/>
                </a:cubicBezTo>
                <a:cubicBezTo>
                  <a:pt x="839637" y="452887"/>
                  <a:pt x="869830" y="487392"/>
                  <a:pt x="897147" y="508958"/>
                </a:cubicBezTo>
                <a:cubicBezTo>
                  <a:pt x="924464" y="530524"/>
                  <a:pt x="950343" y="544902"/>
                  <a:pt x="966158" y="560717"/>
                </a:cubicBezTo>
                <a:cubicBezTo>
                  <a:pt x="981973" y="576532"/>
                  <a:pt x="987005" y="590190"/>
                  <a:pt x="992037" y="603849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94" name="Блок-схема: узел 93"/>
          <p:cNvSpPr/>
          <p:nvPr/>
        </p:nvSpPr>
        <p:spPr>
          <a:xfrm>
            <a:off x="4716463" y="3806429"/>
            <a:ext cx="216124" cy="132000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73" name="Блок-схема: узел 172"/>
          <p:cNvSpPr/>
          <p:nvPr/>
        </p:nvSpPr>
        <p:spPr>
          <a:xfrm>
            <a:off x="5611242" y="4224338"/>
            <a:ext cx="216124" cy="132000"/>
          </a:xfrm>
          <a:prstGeom prst="flowChartConnector">
            <a:avLst/>
          </a:prstGeom>
          <a:solidFill>
            <a:srgbClr val="FF0000"/>
          </a:solidFill>
          <a:ln w="190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60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103" name="Прямая со стрелкой 102"/>
          <p:cNvCxnSpPr>
            <a:stCxn id="89" idx="1"/>
            <a:endCxn id="54" idx="5"/>
          </p:cNvCxnSpPr>
          <p:nvPr/>
        </p:nvCxnSpPr>
        <p:spPr>
          <a:xfrm flipH="1">
            <a:off x="5347322" y="3399763"/>
            <a:ext cx="957104" cy="698947"/>
          </a:xfrm>
          <a:prstGeom prst="straightConnector1">
            <a:avLst/>
          </a:prstGeom>
          <a:ln w="2222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Заголовок 5"/>
          <p:cNvSpPr>
            <a:spLocks/>
          </p:cNvSpPr>
          <p:nvPr/>
        </p:nvSpPr>
        <p:spPr bwMode="auto">
          <a:xfrm>
            <a:off x="-34290" y="-38099"/>
            <a:ext cx="9163050" cy="555526"/>
          </a:xfrm>
          <a:prstGeom prst="roundRect">
            <a:avLst>
              <a:gd name="adj" fmla="val 8801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10087" tIns="55043" rIns="110087" bIns="55043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00" dirty="0">
                <a:solidFill>
                  <a:srgbClr val="002060"/>
                </a:solidFill>
                <a:latin typeface="Impact" pitchFamily="34" charset="0"/>
              </a:rPr>
              <a:t> </a:t>
            </a:r>
            <a:r>
              <a:rPr lang="ru-RU" altLang="ko-KR" sz="1500" b="1" dirty="0">
                <a:solidFill>
                  <a:srgbClr val="002060"/>
                </a:solidFill>
                <a:latin typeface="Arial" pitchFamily="34" charset="0"/>
              </a:rPr>
              <a:t>«ОРТАЛЫҚ-ОҢТҮСТІК» ДӘЛІЗІНІН «ҚАРАҒАНДЫ-БАЛҚАШ-БҰРЫЛБАЙТАЛ-ҚҰРТЫ-ҚАПШАҒАЙ» ЖӘНЕ «МЕРКЕ - БҰРЫЛБАЙТАЛ» ЖОЛДАРЫН РЕКОНСТРУКЦИЯЛАУ</a:t>
            </a: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12954" y="462252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/>
              <a:t>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5106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2" t="10668" r="19115" b="24669"/>
          <a:stretch/>
        </p:blipFill>
        <p:spPr>
          <a:xfrm>
            <a:off x="526190" y="113103"/>
            <a:ext cx="6610456" cy="5030397"/>
          </a:xfrm>
          <a:prstGeom prst="rect">
            <a:avLst/>
          </a:prstGeom>
          <a:noFill/>
          <a:ln w="60325">
            <a:noFill/>
          </a:ln>
        </p:spPr>
      </p:pic>
      <p:sp>
        <p:nvSpPr>
          <p:cNvPr id="4" name="Полилиния 3"/>
          <p:cNvSpPr/>
          <p:nvPr/>
        </p:nvSpPr>
        <p:spPr>
          <a:xfrm>
            <a:off x="3969630" y="743485"/>
            <a:ext cx="443363" cy="547205"/>
          </a:xfrm>
          <a:custGeom>
            <a:avLst/>
            <a:gdLst>
              <a:gd name="connsiteX0" fmla="*/ 0 w 342900"/>
              <a:gd name="connsiteY0" fmla="*/ 469106 h 469106"/>
              <a:gd name="connsiteX1" fmla="*/ 50007 w 342900"/>
              <a:gd name="connsiteY1" fmla="*/ 442912 h 469106"/>
              <a:gd name="connsiteX2" fmla="*/ 76200 w 342900"/>
              <a:gd name="connsiteY2" fmla="*/ 428625 h 469106"/>
              <a:gd name="connsiteX3" fmla="*/ 100013 w 342900"/>
              <a:gd name="connsiteY3" fmla="*/ 414337 h 469106"/>
              <a:gd name="connsiteX4" fmla="*/ 114300 w 342900"/>
              <a:gd name="connsiteY4" fmla="*/ 402431 h 469106"/>
              <a:gd name="connsiteX5" fmla="*/ 121444 w 342900"/>
              <a:gd name="connsiteY5" fmla="*/ 395287 h 469106"/>
              <a:gd name="connsiteX6" fmla="*/ 123825 w 342900"/>
              <a:gd name="connsiteY6" fmla="*/ 369093 h 469106"/>
              <a:gd name="connsiteX7" fmla="*/ 123825 w 342900"/>
              <a:gd name="connsiteY7" fmla="*/ 333375 h 469106"/>
              <a:gd name="connsiteX8" fmla="*/ 123825 w 342900"/>
              <a:gd name="connsiteY8" fmla="*/ 302418 h 469106"/>
              <a:gd name="connsiteX9" fmla="*/ 123825 w 342900"/>
              <a:gd name="connsiteY9" fmla="*/ 273843 h 469106"/>
              <a:gd name="connsiteX10" fmla="*/ 128588 w 342900"/>
              <a:gd name="connsiteY10" fmla="*/ 247650 h 469106"/>
              <a:gd name="connsiteX11" fmla="*/ 135732 w 342900"/>
              <a:gd name="connsiteY11" fmla="*/ 221456 h 469106"/>
              <a:gd name="connsiteX12" fmla="*/ 145257 w 342900"/>
              <a:gd name="connsiteY12" fmla="*/ 207168 h 469106"/>
              <a:gd name="connsiteX13" fmla="*/ 171450 w 342900"/>
              <a:gd name="connsiteY13" fmla="*/ 178593 h 469106"/>
              <a:gd name="connsiteX14" fmla="*/ 202407 w 342900"/>
              <a:gd name="connsiteY14" fmla="*/ 157162 h 469106"/>
              <a:gd name="connsiteX15" fmla="*/ 221457 w 342900"/>
              <a:gd name="connsiteY15" fmla="*/ 135731 h 469106"/>
              <a:gd name="connsiteX16" fmla="*/ 235744 w 342900"/>
              <a:gd name="connsiteY16" fmla="*/ 114300 h 469106"/>
              <a:gd name="connsiteX17" fmla="*/ 254794 w 342900"/>
              <a:gd name="connsiteY17" fmla="*/ 95250 h 469106"/>
              <a:gd name="connsiteX18" fmla="*/ 278607 w 342900"/>
              <a:gd name="connsiteY18" fmla="*/ 76200 h 469106"/>
              <a:gd name="connsiteX19" fmla="*/ 314325 w 342900"/>
              <a:gd name="connsiteY19" fmla="*/ 61912 h 469106"/>
              <a:gd name="connsiteX20" fmla="*/ 323850 w 342900"/>
              <a:gd name="connsiteY20" fmla="*/ 47625 h 469106"/>
              <a:gd name="connsiteX21" fmla="*/ 335757 w 342900"/>
              <a:gd name="connsiteY21" fmla="*/ 23812 h 469106"/>
              <a:gd name="connsiteX22" fmla="*/ 335757 w 342900"/>
              <a:gd name="connsiteY22" fmla="*/ 19050 h 469106"/>
              <a:gd name="connsiteX23" fmla="*/ 340519 w 342900"/>
              <a:gd name="connsiteY23" fmla="*/ 4762 h 469106"/>
              <a:gd name="connsiteX24" fmla="*/ 342900 w 342900"/>
              <a:gd name="connsiteY24" fmla="*/ 0 h 46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42900" h="469106">
                <a:moveTo>
                  <a:pt x="0" y="469106"/>
                </a:moveTo>
                <a:lnTo>
                  <a:pt x="50007" y="442912"/>
                </a:lnTo>
                <a:cubicBezTo>
                  <a:pt x="62707" y="436165"/>
                  <a:pt x="67866" y="433387"/>
                  <a:pt x="76200" y="428625"/>
                </a:cubicBezTo>
                <a:cubicBezTo>
                  <a:pt x="84534" y="423863"/>
                  <a:pt x="93663" y="418703"/>
                  <a:pt x="100013" y="414337"/>
                </a:cubicBezTo>
                <a:cubicBezTo>
                  <a:pt x="106363" y="409971"/>
                  <a:pt x="110728" y="405606"/>
                  <a:pt x="114300" y="402431"/>
                </a:cubicBezTo>
                <a:cubicBezTo>
                  <a:pt x="117872" y="399256"/>
                  <a:pt x="119857" y="400843"/>
                  <a:pt x="121444" y="395287"/>
                </a:cubicBezTo>
                <a:cubicBezTo>
                  <a:pt x="123031" y="389731"/>
                  <a:pt x="123428" y="379412"/>
                  <a:pt x="123825" y="369093"/>
                </a:cubicBezTo>
                <a:cubicBezTo>
                  <a:pt x="124222" y="358774"/>
                  <a:pt x="123825" y="333375"/>
                  <a:pt x="123825" y="333375"/>
                </a:cubicBezTo>
                <a:lnTo>
                  <a:pt x="123825" y="302418"/>
                </a:lnTo>
                <a:cubicBezTo>
                  <a:pt x="123825" y="292496"/>
                  <a:pt x="123031" y="282971"/>
                  <a:pt x="123825" y="273843"/>
                </a:cubicBezTo>
                <a:cubicBezTo>
                  <a:pt x="124619" y="264715"/>
                  <a:pt x="126604" y="256381"/>
                  <a:pt x="128588" y="247650"/>
                </a:cubicBezTo>
                <a:cubicBezTo>
                  <a:pt x="130572" y="238919"/>
                  <a:pt x="132954" y="228203"/>
                  <a:pt x="135732" y="221456"/>
                </a:cubicBezTo>
                <a:cubicBezTo>
                  <a:pt x="138510" y="214709"/>
                  <a:pt x="139304" y="214312"/>
                  <a:pt x="145257" y="207168"/>
                </a:cubicBezTo>
                <a:cubicBezTo>
                  <a:pt x="151210" y="200024"/>
                  <a:pt x="161925" y="186927"/>
                  <a:pt x="171450" y="178593"/>
                </a:cubicBezTo>
                <a:cubicBezTo>
                  <a:pt x="180975" y="170259"/>
                  <a:pt x="194073" y="164306"/>
                  <a:pt x="202407" y="157162"/>
                </a:cubicBezTo>
                <a:cubicBezTo>
                  <a:pt x="210741" y="150018"/>
                  <a:pt x="215901" y="142875"/>
                  <a:pt x="221457" y="135731"/>
                </a:cubicBezTo>
                <a:cubicBezTo>
                  <a:pt x="227013" y="128587"/>
                  <a:pt x="230188" y="121047"/>
                  <a:pt x="235744" y="114300"/>
                </a:cubicBezTo>
                <a:cubicBezTo>
                  <a:pt x="241300" y="107553"/>
                  <a:pt x="247650" y="101600"/>
                  <a:pt x="254794" y="95250"/>
                </a:cubicBezTo>
                <a:cubicBezTo>
                  <a:pt x="261938" y="88900"/>
                  <a:pt x="268685" y="81756"/>
                  <a:pt x="278607" y="76200"/>
                </a:cubicBezTo>
                <a:cubicBezTo>
                  <a:pt x="288529" y="70644"/>
                  <a:pt x="306785" y="66674"/>
                  <a:pt x="314325" y="61912"/>
                </a:cubicBezTo>
                <a:cubicBezTo>
                  <a:pt x="321866" y="57149"/>
                  <a:pt x="320278" y="53975"/>
                  <a:pt x="323850" y="47625"/>
                </a:cubicBezTo>
                <a:cubicBezTo>
                  <a:pt x="327422" y="41275"/>
                  <a:pt x="333773" y="28574"/>
                  <a:pt x="335757" y="23812"/>
                </a:cubicBezTo>
                <a:cubicBezTo>
                  <a:pt x="337741" y="19050"/>
                  <a:pt x="334963" y="22225"/>
                  <a:pt x="335757" y="19050"/>
                </a:cubicBezTo>
                <a:cubicBezTo>
                  <a:pt x="336551" y="15875"/>
                  <a:pt x="339329" y="7937"/>
                  <a:pt x="340519" y="4762"/>
                </a:cubicBezTo>
                <a:cubicBezTo>
                  <a:pt x="341709" y="1587"/>
                  <a:pt x="340519" y="0"/>
                  <a:pt x="342900" y="0"/>
                </a:cubicBezTo>
              </a:path>
            </a:pathLst>
          </a:custGeom>
          <a:noFill/>
          <a:ln w="1143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15" name="Полилиния 14"/>
          <p:cNvSpPr/>
          <p:nvPr/>
        </p:nvSpPr>
        <p:spPr>
          <a:xfrm>
            <a:off x="3445382" y="1290690"/>
            <a:ext cx="525426" cy="1678531"/>
          </a:xfrm>
          <a:custGeom>
            <a:avLst/>
            <a:gdLst>
              <a:gd name="connsiteX0" fmla="*/ 376534 w 376534"/>
              <a:gd name="connsiteY0" fmla="*/ 0 h 1371600"/>
              <a:gd name="connsiteX1" fmla="*/ 314622 w 376534"/>
              <a:gd name="connsiteY1" fmla="*/ 33338 h 1371600"/>
              <a:gd name="connsiteX2" fmla="*/ 302716 w 376534"/>
              <a:gd name="connsiteY2" fmla="*/ 47625 h 1371600"/>
              <a:gd name="connsiteX3" fmla="*/ 276522 w 376534"/>
              <a:gd name="connsiteY3" fmla="*/ 69056 h 1371600"/>
              <a:gd name="connsiteX4" fmla="*/ 259853 w 376534"/>
              <a:gd name="connsiteY4" fmla="*/ 83344 h 1371600"/>
              <a:gd name="connsiteX5" fmla="*/ 238422 w 376534"/>
              <a:gd name="connsiteY5" fmla="*/ 100013 h 1371600"/>
              <a:gd name="connsiteX6" fmla="*/ 224134 w 376534"/>
              <a:gd name="connsiteY6" fmla="*/ 114300 h 1371600"/>
              <a:gd name="connsiteX7" fmla="*/ 205084 w 376534"/>
              <a:gd name="connsiteY7" fmla="*/ 130969 h 1371600"/>
              <a:gd name="connsiteX8" fmla="*/ 195559 w 376534"/>
              <a:gd name="connsiteY8" fmla="*/ 140494 h 1371600"/>
              <a:gd name="connsiteX9" fmla="*/ 186034 w 376534"/>
              <a:gd name="connsiteY9" fmla="*/ 154781 h 1371600"/>
              <a:gd name="connsiteX10" fmla="*/ 178891 w 376534"/>
              <a:gd name="connsiteY10" fmla="*/ 169069 h 1371600"/>
              <a:gd name="connsiteX11" fmla="*/ 169366 w 376534"/>
              <a:gd name="connsiteY11" fmla="*/ 190500 h 1371600"/>
              <a:gd name="connsiteX12" fmla="*/ 162222 w 376534"/>
              <a:gd name="connsiteY12" fmla="*/ 202406 h 1371600"/>
              <a:gd name="connsiteX13" fmla="*/ 152697 w 376534"/>
              <a:gd name="connsiteY13" fmla="*/ 216694 h 1371600"/>
              <a:gd name="connsiteX14" fmla="*/ 143172 w 376534"/>
              <a:gd name="connsiteY14" fmla="*/ 242888 h 1371600"/>
              <a:gd name="connsiteX15" fmla="*/ 136028 w 376534"/>
              <a:gd name="connsiteY15" fmla="*/ 257175 h 1371600"/>
              <a:gd name="connsiteX16" fmla="*/ 133647 w 376534"/>
              <a:gd name="connsiteY16" fmla="*/ 264319 h 1371600"/>
              <a:gd name="connsiteX17" fmla="*/ 121741 w 376534"/>
              <a:gd name="connsiteY17" fmla="*/ 280988 h 1371600"/>
              <a:gd name="connsiteX18" fmla="*/ 112216 w 376534"/>
              <a:gd name="connsiteY18" fmla="*/ 290513 h 1371600"/>
              <a:gd name="connsiteX19" fmla="*/ 100309 w 376534"/>
              <a:gd name="connsiteY19" fmla="*/ 307181 h 1371600"/>
              <a:gd name="connsiteX20" fmla="*/ 90784 w 376534"/>
              <a:gd name="connsiteY20" fmla="*/ 321469 h 1371600"/>
              <a:gd name="connsiteX21" fmla="*/ 83641 w 376534"/>
              <a:gd name="connsiteY21" fmla="*/ 338138 h 1371600"/>
              <a:gd name="connsiteX22" fmla="*/ 86022 w 376534"/>
              <a:gd name="connsiteY22" fmla="*/ 350044 h 1371600"/>
              <a:gd name="connsiteX23" fmla="*/ 86022 w 376534"/>
              <a:gd name="connsiteY23" fmla="*/ 369094 h 1371600"/>
              <a:gd name="connsiteX24" fmla="*/ 93166 w 376534"/>
              <a:gd name="connsiteY24" fmla="*/ 388144 h 1371600"/>
              <a:gd name="connsiteX25" fmla="*/ 100309 w 376534"/>
              <a:gd name="connsiteY25" fmla="*/ 402431 h 1371600"/>
              <a:gd name="connsiteX26" fmla="*/ 102691 w 376534"/>
              <a:gd name="connsiteY26" fmla="*/ 414338 h 1371600"/>
              <a:gd name="connsiteX27" fmla="*/ 112216 w 376534"/>
              <a:gd name="connsiteY27" fmla="*/ 428625 h 1371600"/>
              <a:gd name="connsiteX28" fmla="*/ 119359 w 376534"/>
              <a:gd name="connsiteY28" fmla="*/ 438150 h 1371600"/>
              <a:gd name="connsiteX29" fmla="*/ 124122 w 376534"/>
              <a:gd name="connsiteY29" fmla="*/ 445294 h 1371600"/>
              <a:gd name="connsiteX30" fmla="*/ 131266 w 376534"/>
              <a:gd name="connsiteY30" fmla="*/ 464344 h 1371600"/>
              <a:gd name="connsiteX31" fmla="*/ 124122 w 376534"/>
              <a:gd name="connsiteY31" fmla="*/ 478631 h 1371600"/>
              <a:gd name="connsiteX32" fmla="*/ 112216 w 376534"/>
              <a:gd name="connsiteY32" fmla="*/ 488156 h 1371600"/>
              <a:gd name="connsiteX33" fmla="*/ 102691 w 376534"/>
              <a:gd name="connsiteY33" fmla="*/ 495300 h 1371600"/>
              <a:gd name="connsiteX34" fmla="*/ 95547 w 376534"/>
              <a:gd name="connsiteY34" fmla="*/ 507206 h 1371600"/>
              <a:gd name="connsiteX35" fmla="*/ 95547 w 376534"/>
              <a:gd name="connsiteY35" fmla="*/ 521494 h 1371600"/>
              <a:gd name="connsiteX36" fmla="*/ 97928 w 376534"/>
              <a:gd name="connsiteY36" fmla="*/ 540544 h 1371600"/>
              <a:gd name="connsiteX37" fmla="*/ 81259 w 376534"/>
              <a:gd name="connsiteY37" fmla="*/ 550069 h 1371600"/>
              <a:gd name="connsiteX38" fmla="*/ 64591 w 376534"/>
              <a:gd name="connsiteY38" fmla="*/ 557213 h 1371600"/>
              <a:gd name="connsiteX39" fmla="*/ 43159 w 376534"/>
              <a:gd name="connsiteY39" fmla="*/ 631031 h 1371600"/>
              <a:gd name="connsiteX40" fmla="*/ 36016 w 376534"/>
              <a:gd name="connsiteY40" fmla="*/ 666750 h 1371600"/>
              <a:gd name="connsiteX41" fmla="*/ 28872 w 376534"/>
              <a:gd name="connsiteY41" fmla="*/ 681038 h 1371600"/>
              <a:gd name="connsiteX42" fmla="*/ 21728 w 376534"/>
              <a:gd name="connsiteY42" fmla="*/ 695325 h 1371600"/>
              <a:gd name="connsiteX43" fmla="*/ 9822 w 376534"/>
              <a:gd name="connsiteY43" fmla="*/ 719138 h 1371600"/>
              <a:gd name="connsiteX44" fmla="*/ 9822 w 376534"/>
              <a:gd name="connsiteY44" fmla="*/ 738188 h 1371600"/>
              <a:gd name="connsiteX45" fmla="*/ 2678 w 376534"/>
              <a:gd name="connsiteY45" fmla="*/ 754856 h 1371600"/>
              <a:gd name="connsiteX46" fmla="*/ 297 w 376534"/>
              <a:gd name="connsiteY46" fmla="*/ 776288 h 1371600"/>
              <a:gd name="connsiteX47" fmla="*/ 297 w 376534"/>
              <a:gd name="connsiteY47" fmla="*/ 790575 h 1371600"/>
              <a:gd name="connsiteX48" fmla="*/ 2678 w 376534"/>
              <a:gd name="connsiteY48" fmla="*/ 802481 h 1371600"/>
              <a:gd name="connsiteX49" fmla="*/ 7441 w 376534"/>
              <a:gd name="connsiteY49" fmla="*/ 819150 h 1371600"/>
              <a:gd name="connsiteX50" fmla="*/ 12203 w 376534"/>
              <a:gd name="connsiteY50" fmla="*/ 821531 h 1371600"/>
              <a:gd name="connsiteX51" fmla="*/ 19347 w 376534"/>
              <a:gd name="connsiteY51" fmla="*/ 831056 h 1371600"/>
              <a:gd name="connsiteX52" fmla="*/ 24109 w 376534"/>
              <a:gd name="connsiteY52" fmla="*/ 842963 h 1371600"/>
              <a:gd name="connsiteX53" fmla="*/ 33634 w 376534"/>
              <a:gd name="connsiteY53" fmla="*/ 859631 h 1371600"/>
              <a:gd name="connsiteX54" fmla="*/ 33634 w 376534"/>
              <a:gd name="connsiteY54" fmla="*/ 871538 h 1371600"/>
              <a:gd name="connsiteX55" fmla="*/ 36016 w 376534"/>
              <a:gd name="connsiteY55" fmla="*/ 892969 h 1371600"/>
              <a:gd name="connsiteX56" fmla="*/ 36016 w 376534"/>
              <a:gd name="connsiteY56" fmla="*/ 919163 h 1371600"/>
              <a:gd name="connsiteX57" fmla="*/ 36016 w 376534"/>
              <a:gd name="connsiteY57" fmla="*/ 926306 h 1371600"/>
              <a:gd name="connsiteX58" fmla="*/ 36016 w 376534"/>
              <a:gd name="connsiteY58" fmla="*/ 945356 h 1371600"/>
              <a:gd name="connsiteX59" fmla="*/ 36016 w 376534"/>
              <a:gd name="connsiteY59" fmla="*/ 957263 h 1371600"/>
              <a:gd name="connsiteX60" fmla="*/ 36016 w 376534"/>
              <a:gd name="connsiteY60" fmla="*/ 966788 h 1371600"/>
              <a:gd name="connsiteX61" fmla="*/ 43159 w 376534"/>
              <a:gd name="connsiteY61" fmla="*/ 985838 h 1371600"/>
              <a:gd name="connsiteX62" fmla="*/ 50303 w 376534"/>
              <a:gd name="connsiteY62" fmla="*/ 997744 h 1371600"/>
              <a:gd name="connsiteX63" fmla="*/ 59828 w 376534"/>
              <a:gd name="connsiteY63" fmla="*/ 1007269 h 1371600"/>
              <a:gd name="connsiteX64" fmla="*/ 66972 w 376534"/>
              <a:gd name="connsiteY64" fmla="*/ 1014413 h 1371600"/>
              <a:gd name="connsiteX65" fmla="*/ 74116 w 376534"/>
              <a:gd name="connsiteY65" fmla="*/ 1023938 h 1371600"/>
              <a:gd name="connsiteX66" fmla="*/ 88403 w 376534"/>
              <a:gd name="connsiteY66" fmla="*/ 1038225 h 1371600"/>
              <a:gd name="connsiteX67" fmla="*/ 97928 w 376534"/>
              <a:gd name="connsiteY67" fmla="*/ 1042988 h 1371600"/>
              <a:gd name="connsiteX68" fmla="*/ 105072 w 376534"/>
              <a:gd name="connsiteY68" fmla="*/ 1057275 h 1371600"/>
              <a:gd name="connsiteX69" fmla="*/ 119359 w 376534"/>
              <a:gd name="connsiteY69" fmla="*/ 1066800 h 1371600"/>
              <a:gd name="connsiteX70" fmla="*/ 138409 w 376534"/>
              <a:gd name="connsiteY70" fmla="*/ 1085850 h 1371600"/>
              <a:gd name="connsiteX71" fmla="*/ 150316 w 376534"/>
              <a:gd name="connsiteY71" fmla="*/ 1092994 h 1371600"/>
              <a:gd name="connsiteX72" fmla="*/ 162222 w 376534"/>
              <a:gd name="connsiteY72" fmla="*/ 1112044 h 1371600"/>
              <a:gd name="connsiteX73" fmla="*/ 171747 w 376534"/>
              <a:gd name="connsiteY73" fmla="*/ 1116806 h 1371600"/>
              <a:gd name="connsiteX74" fmla="*/ 183653 w 376534"/>
              <a:gd name="connsiteY74" fmla="*/ 1126331 h 1371600"/>
              <a:gd name="connsiteX75" fmla="*/ 193178 w 376534"/>
              <a:gd name="connsiteY75" fmla="*/ 1135856 h 1371600"/>
              <a:gd name="connsiteX76" fmla="*/ 207466 w 376534"/>
              <a:gd name="connsiteY76" fmla="*/ 1164431 h 1371600"/>
              <a:gd name="connsiteX77" fmla="*/ 212228 w 376534"/>
              <a:gd name="connsiteY77" fmla="*/ 1173956 h 1371600"/>
              <a:gd name="connsiteX78" fmla="*/ 212228 w 376534"/>
              <a:gd name="connsiteY78" fmla="*/ 1231106 h 1371600"/>
              <a:gd name="connsiteX79" fmla="*/ 209847 w 376534"/>
              <a:gd name="connsiteY79" fmla="*/ 1259681 h 1371600"/>
              <a:gd name="connsiteX80" fmla="*/ 205084 w 376534"/>
              <a:gd name="connsiteY80" fmla="*/ 1269206 h 1371600"/>
              <a:gd name="connsiteX81" fmla="*/ 202703 w 376534"/>
              <a:gd name="connsiteY81" fmla="*/ 1300163 h 1371600"/>
              <a:gd name="connsiteX82" fmla="*/ 202703 w 376534"/>
              <a:gd name="connsiteY82" fmla="*/ 1328738 h 1371600"/>
              <a:gd name="connsiteX83" fmla="*/ 212228 w 376534"/>
              <a:gd name="connsiteY83" fmla="*/ 1350169 h 1371600"/>
              <a:gd name="connsiteX84" fmla="*/ 226516 w 376534"/>
              <a:gd name="connsiteY84" fmla="*/ 1371600 h 1371600"/>
              <a:gd name="connsiteX0" fmla="*/ 376237 w 376237"/>
              <a:gd name="connsiteY0" fmla="*/ 0 h 1438966"/>
              <a:gd name="connsiteX1" fmla="*/ 314325 w 376237"/>
              <a:gd name="connsiteY1" fmla="*/ 33338 h 1438966"/>
              <a:gd name="connsiteX2" fmla="*/ 302419 w 376237"/>
              <a:gd name="connsiteY2" fmla="*/ 47625 h 1438966"/>
              <a:gd name="connsiteX3" fmla="*/ 276225 w 376237"/>
              <a:gd name="connsiteY3" fmla="*/ 69056 h 1438966"/>
              <a:gd name="connsiteX4" fmla="*/ 259556 w 376237"/>
              <a:gd name="connsiteY4" fmla="*/ 83344 h 1438966"/>
              <a:gd name="connsiteX5" fmla="*/ 238125 w 376237"/>
              <a:gd name="connsiteY5" fmla="*/ 100013 h 1438966"/>
              <a:gd name="connsiteX6" fmla="*/ 223837 w 376237"/>
              <a:gd name="connsiteY6" fmla="*/ 114300 h 1438966"/>
              <a:gd name="connsiteX7" fmla="*/ 204787 w 376237"/>
              <a:gd name="connsiteY7" fmla="*/ 130969 h 1438966"/>
              <a:gd name="connsiteX8" fmla="*/ 195262 w 376237"/>
              <a:gd name="connsiteY8" fmla="*/ 140494 h 1438966"/>
              <a:gd name="connsiteX9" fmla="*/ 185737 w 376237"/>
              <a:gd name="connsiteY9" fmla="*/ 154781 h 1438966"/>
              <a:gd name="connsiteX10" fmla="*/ 178594 w 376237"/>
              <a:gd name="connsiteY10" fmla="*/ 169069 h 1438966"/>
              <a:gd name="connsiteX11" fmla="*/ 169069 w 376237"/>
              <a:gd name="connsiteY11" fmla="*/ 190500 h 1438966"/>
              <a:gd name="connsiteX12" fmla="*/ 161925 w 376237"/>
              <a:gd name="connsiteY12" fmla="*/ 202406 h 1438966"/>
              <a:gd name="connsiteX13" fmla="*/ 152400 w 376237"/>
              <a:gd name="connsiteY13" fmla="*/ 216694 h 1438966"/>
              <a:gd name="connsiteX14" fmla="*/ 142875 w 376237"/>
              <a:gd name="connsiteY14" fmla="*/ 242888 h 1438966"/>
              <a:gd name="connsiteX15" fmla="*/ 135731 w 376237"/>
              <a:gd name="connsiteY15" fmla="*/ 257175 h 1438966"/>
              <a:gd name="connsiteX16" fmla="*/ 133350 w 376237"/>
              <a:gd name="connsiteY16" fmla="*/ 264319 h 1438966"/>
              <a:gd name="connsiteX17" fmla="*/ 121444 w 376237"/>
              <a:gd name="connsiteY17" fmla="*/ 280988 h 1438966"/>
              <a:gd name="connsiteX18" fmla="*/ 111919 w 376237"/>
              <a:gd name="connsiteY18" fmla="*/ 290513 h 1438966"/>
              <a:gd name="connsiteX19" fmla="*/ 100012 w 376237"/>
              <a:gd name="connsiteY19" fmla="*/ 307181 h 1438966"/>
              <a:gd name="connsiteX20" fmla="*/ 90487 w 376237"/>
              <a:gd name="connsiteY20" fmla="*/ 321469 h 1438966"/>
              <a:gd name="connsiteX21" fmla="*/ 83344 w 376237"/>
              <a:gd name="connsiteY21" fmla="*/ 338138 h 1438966"/>
              <a:gd name="connsiteX22" fmla="*/ 85725 w 376237"/>
              <a:gd name="connsiteY22" fmla="*/ 350044 h 1438966"/>
              <a:gd name="connsiteX23" fmla="*/ 85725 w 376237"/>
              <a:gd name="connsiteY23" fmla="*/ 369094 h 1438966"/>
              <a:gd name="connsiteX24" fmla="*/ 92869 w 376237"/>
              <a:gd name="connsiteY24" fmla="*/ 388144 h 1438966"/>
              <a:gd name="connsiteX25" fmla="*/ 100012 w 376237"/>
              <a:gd name="connsiteY25" fmla="*/ 402431 h 1438966"/>
              <a:gd name="connsiteX26" fmla="*/ 102394 w 376237"/>
              <a:gd name="connsiteY26" fmla="*/ 414338 h 1438966"/>
              <a:gd name="connsiteX27" fmla="*/ 111919 w 376237"/>
              <a:gd name="connsiteY27" fmla="*/ 428625 h 1438966"/>
              <a:gd name="connsiteX28" fmla="*/ 119062 w 376237"/>
              <a:gd name="connsiteY28" fmla="*/ 438150 h 1438966"/>
              <a:gd name="connsiteX29" fmla="*/ 123825 w 376237"/>
              <a:gd name="connsiteY29" fmla="*/ 445294 h 1438966"/>
              <a:gd name="connsiteX30" fmla="*/ 130969 w 376237"/>
              <a:gd name="connsiteY30" fmla="*/ 464344 h 1438966"/>
              <a:gd name="connsiteX31" fmla="*/ 123825 w 376237"/>
              <a:gd name="connsiteY31" fmla="*/ 478631 h 1438966"/>
              <a:gd name="connsiteX32" fmla="*/ 111919 w 376237"/>
              <a:gd name="connsiteY32" fmla="*/ 488156 h 1438966"/>
              <a:gd name="connsiteX33" fmla="*/ 102394 w 376237"/>
              <a:gd name="connsiteY33" fmla="*/ 495300 h 1438966"/>
              <a:gd name="connsiteX34" fmla="*/ 95250 w 376237"/>
              <a:gd name="connsiteY34" fmla="*/ 507206 h 1438966"/>
              <a:gd name="connsiteX35" fmla="*/ 95250 w 376237"/>
              <a:gd name="connsiteY35" fmla="*/ 521494 h 1438966"/>
              <a:gd name="connsiteX36" fmla="*/ 97631 w 376237"/>
              <a:gd name="connsiteY36" fmla="*/ 540544 h 1438966"/>
              <a:gd name="connsiteX37" fmla="*/ 80962 w 376237"/>
              <a:gd name="connsiteY37" fmla="*/ 550069 h 1438966"/>
              <a:gd name="connsiteX38" fmla="*/ 64294 w 376237"/>
              <a:gd name="connsiteY38" fmla="*/ 557213 h 1438966"/>
              <a:gd name="connsiteX39" fmla="*/ 42862 w 376237"/>
              <a:gd name="connsiteY39" fmla="*/ 631031 h 1438966"/>
              <a:gd name="connsiteX40" fmla="*/ 35719 w 376237"/>
              <a:gd name="connsiteY40" fmla="*/ 666750 h 1438966"/>
              <a:gd name="connsiteX41" fmla="*/ 28575 w 376237"/>
              <a:gd name="connsiteY41" fmla="*/ 681038 h 1438966"/>
              <a:gd name="connsiteX42" fmla="*/ 21431 w 376237"/>
              <a:gd name="connsiteY42" fmla="*/ 695325 h 1438966"/>
              <a:gd name="connsiteX43" fmla="*/ 9525 w 376237"/>
              <a:gd name="connsiteY43" fmla="*/ 719138 h 1438966"/>
              <a:gd name="connsiteX44" fmla="*/ 9525 w 376237"/>
              <a:gd name="connsiteY44" fmla="*/ 738188 h 1438966"/>
              <a:gd name="connsiteX45" fmla="*/ 2381 w 376237"/>
              <a:gd name="connsiteY45" fmla="*/ 754856 h 1438966"/>
              <a:gd name="connsiteX46" fmla="*/ 0 w 376237"/>
              <a:gd name="connsiteY46" fmla="*/ 776288 h 1438966"/>
              <a:gd name="connsiteX47" fmla="*/ 0 w 376237"/>
              <a:gd name="connsiteY47" fmla="*/ 790575 h 1438966"/>
              <a:gd name="connsiteX48" fmla="*/ 2381 w 376237"/>
              <a:gd name="connsiteY48" fmla="*/ 802481 h 1438966"/>
              <a:gd name="connsiteX49" fmla="*/ 7144 w 376237"/>
              <a:gd name="connsiteY49" fmla="*/ 819150 h 1438966"/>
              <a:gd name="connsiteX50" fmla="*/ 11906 w 376237"/>
              <a:gd name="connsiteY50" fmla="*/ 821531 h 1438966"/>
              <a:gd name="connsiteX51" fmla="*/ 19050 w 376237"/>
              <a:gd name="connsiteY51" fmla="*/ 831056 h 1438966"/>
              <a:gd name="connsiteX52" fmla="*/ 23812 w 376237"/>
              <a:gd name="connsiteY52" fmla="*/ 842963 h 1438966"/>
              <a:gd name="connsiteX53" fmla="*/ 33337 w 376237"/>
              <a:gd name="connsiteY53" fmla="*/ 859631 h 1438966"/>
              <a:gd name="connsiteX54" fmla="*/ 33337 w 376237"/>
              <a:gd name="connsiteY54" fmla="*/ 871538 h 1438966"/>
              <a:gd name="connsiteX55" fmla="*/ 35719 w 376237"/>
              <a:gd name="connsiteY55" fmla="*/ 892969 h 1438966"/>
              <a:gd name="connsiteX56" fmla="*/ 35719 w 376237"/>
              <a:gd name="connsiteY56" fmla="*/ 919163 h 1438966"/>
              <a:gd name="connsiteX57" fmla="*/ 35719 w 376237"/>
              <a:gd name="connsiteY57" fmla="*/ 926306 h 1438966"/>
              <a:gd name="connsiteX58" fmla="*/ 35719 w 376237"/>
              <a:gd name="connsiteY58" fmla="*/ 945356 h 1438966"/>
              <a:gd name="connsiteX59" fmla="*/ 35719 w 376237"/>
              <a:gd name="connsiteY59" fmla="*/ 957263 h 1438966"/>
              <a:gd name="connsiteX60" fmla="*/ 35719 w 376237"/>
              <a:gd name="connsiteY60" fmla="*/ 966788 h 1438966"/>
              <a:gd name="connsiteX61" fmla="*/ 42862 w 376237"/>
              <a:gd name="connsiteY61" fmla="*/ 985838 h 1438966"/>
              <a:gd name="connsiteX62" fmla="*/ 50006 w 376237"/>
              <a:gd name="connsiteY62" fmla="*/ 997744 h 1438966"/>
              <a:gd name="connsiteX63" fmla="*/ 59531 w 376237"/>
              <a:gd name="connsiteY63" fmla="*/ 1007269 h 1438966"/>
              <a:gd name="connsiteX64" fmla="*/ 66675 w 376237"/>
              <a:gd name="connsiteY64" fmla="*/ 1014413 h 1438966"/>
              <a:gd name="connsiteX65" fmla="*/ 73819 w 376237"/>
              <a:gd name="connsiteY65" fmla="*/ 1023938 h 1438966"/>
              <a:gd name="connsiteX66" fmla="*/ 88106 w 376237"/>
              <a:gd name="connsiteY66" fmla="*/ 1038225 h 1438966"/>
              <a:gd name="connsiteX67" fmla="*/ 97631 w 376237"/>
              <a:gd name="connsiteY67" fmla="*/ 1042988 h 1438966"/>
              <a:gd name="connsiteX68" fmla="*/ 104775 w 376237"/>
              <a:gd name="connsiteY68" fmla="*/ 1057275 h 1438966"/>
              <a:gd name="connsiteX69" fmla="*/ 119062 w 376237"/>
              <a:gd name="connsiteY69" fmla="*/ 1066800 h 1438966"/>
              <a:gd name="connsiteX70" fmla="*/ 138112 w 376237"/>
              <a:gd name="connsiteY70" fmla="*/ 1085850 h 1438966"/>
              <a:gd name="connsiteX71" fmla="*/ 150019 w 376237"/>
              <a:gd name="connsiteY71" fmla="*/ 1092994 h 1438966"/>
              <a:gd name="connsiteX72" fmla="*/ 161925 w 376237"/>
              <a:gd name="connsiteY72" fmla="*/ 1112044 h 1438966"/>
              <a:gd name="connsiteX73" fmla="*/ 171450 w 376237"/>
              <a:gd name="connsiteY73" fmla="*/ 1116806 h 1438966"/>
              <a:gd name="connsiteX74" fmla="*/ 183356 w 376237"/>
              <a:gd name="connsiteY74" fmla="*/ 1126331 h 1438966"/>
              <a:gd name="connsiteX75" fmla="*/ 192881 w 376237"/>
              <a:gd name="connsiteY75" fmla="*/ 1135856 h 1438966"/>
              <a:gd name="connsiteX76" fmla="*/ 207169 w 376237"/>
              <a:gd name="connsiteY76" fmla="*/ 1164431 h 1438966"/>
              <a:gd name="connsiteX77" fmla="*/ 211931 w 376237"/>
              <a:gd name="connsiteY77" fmla="*/ 1173956 h 1438966"/>
              <a:gd name="connsiteX78" fmla="*/ 211931 w 376237"/>
              <a:gd name="connsiteY78" fmla="*/ 1231106 h 1438966"/>
              <a:gd name="connsiteX79" fmla="*/ 209550 w 376237"/>
              <a:gd name="connsiteY79" fmla="*/ 1259681 h 1438966"/>
              <a:gd name="connsiteX80" fmla="*/ 204787 w 376237"/>
              <a:gd name="connsiteY80" fmla="*/ 1269206 h 1438966"/>
              <a:gd name="connsiteX81" fmla="*/ 202406 w 376237"/>
              <a:gd name="connsiteY81" fmla="*/ 1300163 h 1438966"/>
              <a:gd name="connsiteX82" fmla="*/ 202406 w 376237"/>
              <a:gd name="connsiteY82" fmla="*/ 1328738 h 1438966"/>
              <a:gd name="connsiteX83" fmla="*/ 211931 w 376237"/>
              <a:gd name="connsiteY83" fmla="*/ 1350169 h 1438966"/>
              <a:gd name="connsiteX84" fmla="*/ 264868 w 376237"/>
              <a:gd name="connsiteY84" fmla="*/ 1438966 h 1438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76237" h="1438966">
                <a:moveTo>
                  <a:pt x="376237" y="0"/>
                </a:moveTo>
                <a:cubicBezTo>
                  <a:pt x="351432" y="12700"/>
                  <a:pt x="326628" y="25401"/>
                  <a:pt x="314325" y="33338"/>
                </a:cubicBezTo>
                <a:cubicBezTo>
                  <a:pt x="302022" y="41275"/>
                  <a:pt x="308769" y="41672"/>
                  <a:pt x="302419" y="47625"/>
                </a:cubicBezTo>
                <a:cubicBezTo>
                  <a:pt x="296069" y="53578"/>
                  <a:pt x="283369" y="63103"/>
                  <a:pt x="276225" y="69056"/>
                </a:cubicBezTo>
                <a:cubicBezTo>
                  <a:pt x="269081" y="75009"/>
                  <a:pt x="265906" y="78185"/>
                  <a:pt x="259556" y="83344"/>
                </a:cubicBezTo>
                <a:cubicBezTo>
                  <a:pt x="253206" y="88503"/>
                  <a:pt x="244078" y="94854"/>
                  <a:pt x="238125" y="100013"/>
                </a:cubicBezTo>
                <a:cubicBezTo>
                  <a:pt x="232172" y="105172"/>
                  <a:pt x="229393" y="109141"/>
                  <a:pt x="223837" y="114300"/>
                </a:cubicBezTo>
                <a:cubicBezTo>
                  <a:pt x="218281" y="119459"/>
                  <a:pt x="209549" y="126603"/>
                  <a:pt x="204787" y="130969"/>
                </a:cubicBezTo>
                <a:cubicBezTo>
                  <a:pt x="200025" y="135335"/>
                  <a:pt x="198437" y="136525"/>
                  <a:pt x="195262" y="140494"/>
                </a:cubicBezTo>
                <a:cubicBezTo>
                  <a:pt x="192087" y="144463"/>
                  <a:pt x="188515" y="150019"/>
                  <a:pt x="185737" y="154781"/>
                </a:cubicBezTo>
                <a:cubicBezTo>
                  <a:pt x="182959" y="159543"/>
                  <a:pt x="181372" y="163116"/>
                  <a:pt x="178594" y="169069"/>
                </a:cubicBezTo>
                <a:cubicBezTo>
                  <a:pt x="175816" y="175022"/>
                  <a:pt x="171847" y="184944"/>
                  <a:pt x="169069" y="190500"/>
                </a:cubicBezTo>
                <a:cubicBezTo>
                  <a:pt x="166291" y="196056"/>
                  <a:pt x="164703" y="198040"/>
                  <a:pt x="161925" y="202406"/>
                </a:cubicBezTo>
                <a:cubicBezTo>
                  <a:pt x="159147" y="206772"/>
                  <a:pt x="155575" y="209947"/>
                  <a:pt x="152400" y="216694"/>
                </a:cubicBezTo>
                <a:cubicBezTo>
                  <a:pt x="149225" y="223441"/>
                  <a:pt x="145653" y="236141"/>
                  <a:pt x="142875" y="242888"/>
                </a:cubicBezTo>
                <a:cubicBezTo>
                  <a:pt x="140097" y="249635"/>
                  <a:pt x="137318" y="253603"/>
                  <a:pt x="135731" y="257175"/>
                </a:cubicBezTo>
                <a:cubicBezTo>
                  <a:pt x="134143" y="260747"/>
                  <a:pt x="135731" y="260350"/>
                  <a:pt x="133350" y="264319"/>
                </a:cubicBezTo>
                <a:cubicBezTo>
                  <a:pt x="130969" y="268288"/>
                  <a:pt x="125016" y="276623"/>
                  <a:pt x="121444" y="280988"/>
                </a:cubicBezTo>
                <a:cubicBezTo>
                  <a:pt x="117872" y="285353"/>
                  <a:pt x="115491" y="286148"/>
                  <a:pt x="111919" y="290513"/>
                </a:cubicBezTo>
                <a:cubicBezTo>
                  <a:pt x="108347" y="294878"/>
                  <a:pt x="103584" y="302022"/>
                  <a:pt x="100012" y="307181"/>
                </a:cubicBezTo>
                <a:cubicBezTo>
                  <a:pt x="96440" y="312340"/>
                  <a:pt x="93265" y="316310"/>
                  <a:pt x="90487" y="321469"/>
                </a:cubicBezTo>
                <a:cubicBezTo>
                  <a:pt x="87709" y="326628"/>
                  <a:pt x="84138" y="333376"/>
                  <a:pt x="83344" y="338138"/>
                </a:cubicBezTo>
                <a:cubicBezTo>
                  <a:pt x="82550" y="342900"/>
                  <a:pt x="85328" y="344885"/>
                  <a:pt x="85725" y="350044"/>
                </a:cubicBezTo>
                <a:cubicBezTo>
                  <a:pt x="86122" y="355203"/>
                  <a:pt x="84534" y="362744"/>
                  <a:pt x="85725" y="369094"/>
                </a:cubicBezTo>
                <a:cubicBezTo>
                  <a:pt x="86916" y="375444"/>
                  <a:pt x="90488" y="382588"/>
                  <a:pt x="92869" y="388144"/>
                </a:cubicBezTo>
                <a:cubicBezTo>
                  <a:pt x="95250" y="393700"/>
                  <a:pt x="98425" y="398065"/>
                  <a:pt x="100012" y="402431"/>
                </a:cubicBezTo>
                <a:cubicBezTo>
                  <a:pt x="101599" y="406797"/>
                  <a:pt x="100410" y="409972"/>
                  <a:pt x="102394" y="414338"/>
                </a:cubicBezTo>
                <a:cubicBezTo>
                  <a:pt x="104378" y="418704"/>
                  <a:pt x="109141" y="424656"/>
                  <a:pt x="111919" y="428625"/>
                </a:cubicBezTo>
                <a:cubicBezTo>
                  <a:pt x="114697" y="432594"/>
                  <a:pt x="117078" y="435372"/>
                  <a:pt x="119062" y="438150"/>
                </a:cubicBezTo>
                <a:cubicBezTo>
                  <a:pt x="121046" y="440928"/>
                  <a:pt x="121841" y="440928"/>
                  <a:pt x="123825" y="445294"/>
                </a:cubicBezTo>
                <a:cubicBezTo>
                  <a:pt x="125809" y="449660"/>
                  <a:pt x="130969" y="458788"/>
                  <a:pt x="130969" y="464344"/>
                </a:cubicBezTo>
                <a:cubicBezTo>
                  <a:pt x="130969" y="469900"/>
                  <a:pt x="127000" y="474662"/>
                  <a:pt x="123825" y="478631"/>
                </a:cubicBezTo>
                <a:cubicBezTo>
                  <a:pt x="120650" y="482600"/>
                  <a:pt x="115491" y="485378"/>
                  <a:pt x="111919" y="488156"/>
                </a:cubicBezTo>
                <a:cubicBezTo>
                  <a:pt x="108347" y="490934"/>
                  <a:pt x="105172" y="492125"/>
                  <a:pt x="102394" y="495300"/>
                </a:cubicBezTo>
                <a:cubicBezTo>
                  <a:pt x="99616" y="498475"/>
                  <a:pt x="96441" y="502840"/>
                  <a:pt x="95250" y="507206"/>
                </a:cubicBezTo>
                <a:cubicBezTo>
                  <a:pt x="94059" y="511572"/>
                  <a:pt x="94853" y="515938"/>
                  <a:pt x="95250" y="521494"/>
                </a:cubicBezTo>
                <a:cubicBezTo>
                  <a:pt x="95647" y="527050"/>
                  <a:pt x="100012" y="535782"/>
                  <a:pt x="97631" y="540544"/>
                </a:cubicBezTo>
                <a:cubicBezTo>
                  <a:pt x="95250" y="545306"/>
                  <a:pt x="86518" y="547291"/>
                  <a:pt x="80962" y="550069"/>
                </a:cubicBezTo>
                <a:cubicBezTo>
                  <a:pt x="75406" y="552847"/>
                  <a:pt x="70644" y="543719"/>
                  <a:pt x="64294" y="557213"/>
                </a:cubicBezTo>
                <a:cubicBezTo>
                  <a:pt x="57944" y="570707"/>
                  <a:pt x="47624" y="612775"/>
                  <a:pt x="42862" y="631031"/>
                </a:cubicBezTo>
                <a:cubicBezTo>
                  <a:pt x="38100" y="649287"/>
                  <a:pt x="38100" y="658416"/>
                  <a:pt x="35719" y="666750"/>
                </a:cubicBezTo>
                <a:cubicBezTo>
                  <a:pt x="33338" y="675084"/>
                  <a:pt x="28575" y="681038"/>
                  <a:pt x="28575" y="681038"/>
                </a:cubicBezTo>
                <a:lnTo>
                  <a:pt x="21431" y="695325"/>
                </a:lnTo>
                <a:cubicBezTo>
                  <a:pt x="18256" y="701675"/>
                  <a:pt x="11509" y="711994"/>
                  <a:pt x="9525" y="719138"/>
                </a:cubicBezTo>
                <a:cubicBezTo>
                  <a:pt x="7541" y="726282"/>
                  <a:pt x="10716" y="732235"/>
                  <a:pt x="9525" y="738188"/>
                </a:cubicBezTo>
                <a:cubicBezTo>
                  <a:pt x="8334" y="744141"/>
                  <a:pt x="3968" y="748506"/>
                  <a:pt x="2381" y="754856"/>
                </a:cubicBezTo>
                <a:cubicBezTo>
                  <a:pt x="793" y="761206"/>
                  <a:pt x="397" y="770335"/>
                  <a:pt x="0" y="776288"/>
                </a:cubicBezTo>
                <a:cubicBezTo>
                  <a:pt x="-397" y="782241"/>
                  <a:pt x="-397" y="786210"/>
                  <a:pt x="0" y="790575"/>
                </a:cubicBezTo>
                <a:cubicBezTo>
                  <a:pt x="397" y="794940"/>
                  <a:pt x="1190" y="797719"/>
                  <a:pt x="2381" y="802481"/>
                </a:cubicBezTo>
                <a:cubicBezTo>
                  <a:pt x="3572" y="807243"/>
                  <a:pt x="5557" y="815975"/>
                  <a:pt x="7144" y="819150"/>
                </a:cubicBezTo>
                <a:cubicBezTo>
                  <a:pt x="8731" y="822325"/>
                  <a:pt x="9922" y="819547"/>
                  <a:pt x="11906" y="821531"/>
                </a:cubicBezTo>
                <a:cubicBezTo>
                  <a:pt x="13890" y="823515"/>
                  <a:pt x="17066" y="827484"/>
                  <a:pt x="19050" y="831056"/>
                </a:cubicBezTo>
                <a:cubicBezTo>
                  <a:pt x="21034" y="834628"/>
                  <a:pt x="21431" y="838201"/>
                  <a:pt x="23812" y="842963"/>
                </a:cubicBezTo>
                <a:cubicBezTo>
                  <a:pt x="26193" y="847725"/>
                  <a:pt x="31750" y="854869"/>
                  <a:pt x="33337" y="859631"/>
                </a:cubicBezTo>
                <a:cubicBezTo>
                  <a:pt x="34924" y="864393"/>
                  <a:pt x="32940" y="865982"/>
                  <a:pt x="33337" y="871538"/>
                </a:cubicBezTo>
                <a:cubicBezTo>
                  <a:pt x="33734" y="877094"/>
                  <a:pt x="35322" y="885032"/>
                  <a:pt x="35719" y="892969"/>
                </a:cubicBezTo>
                <a:cubicBezTo>
                  <a:pt x="36116" y="900906"/>
                  <a:pt x="35719" y="919163"/>
                  <a:pt x="35719" y="919163"/>
                </a:cubicBezTo>
                <a:lnTo>
                  <a:pt x="35719" y="926306"/>
                </a:lnTo>
                <a:lnTo>
                  <a:pt x="35719" y="945356"/>
                </a:lnTo>
                <a:lnTo>
                  <a:pt x="35719" y="957263"/>
                </a:lnTo>
                <a:cubicBezTo>
                  <a:pt x="35719" y="960835"/>
                  <a:pt x="34528" y="962025"/>
                  <a:pt x="35719" y="966788"/>
                </a:cubicBezTo>
                <a:cubicBezTo>
                  <a:pt x="36910" y="971551"/>
                  <a:pt x="40481" y="980679"/>
                  <a:pt x="42862" y="985838"/>
                </a:cubicBezTo>
                <a:cubicBezTo>
                  <a:pt x="45243" y="990997"/>
                  <a:pt x="47228" y="994172"/>
                  <a:pt x="50006" y="997744"/>
                </a:cubicBezTo>
                <a:cubicBezTo>
                  <a:pt x="52784" y="1001316"/>
                  <a:pt x="59531" y="1007269"/>
                  <a:pt x="59531" y="1007269"/>
                </a:cubicBezTo>
                <a:cubicBezTo>
                  <a:pt x="62309" y="1010047"/>
                  <a:pt x="64294" y="1011635"/>
                  <a:pt x="66675" y="1014413"/>
                </a:cubicBezTo>
                <a:cubicBezTo>
                  <a:pt x="69056" y="1017191"/>
                  <a:pt x="70247" y="1019969"/>
                  <a:pt x="73819" y="1023938"/>
                </a:cubicBezTo>
                <a:cubicBezTo>
                  <a:pt x="77391" y="1027907"/>
                  <a:pt x="84137" y="1035050"/>
                  <a:pt x="88106" y="1038225"/>
                </a:cubicBezTo>
                <a:cubicBezTo>
                  <a:pt x="92075" y="1041400"/>
                  <a:pt x="94853" y="1039813"/>
                  <a:pt x="97631" y="1042988"/>
                </a:cubicBezTo>
                <a:cubicBezTo>
                  <a:pt x="100409" y="1046163"/>
                  <a:pt x="101203" y="1053306"/>
                  <a:pt x="104775" y="1057275"/>
                </a:cubicBezTo>
                <a:cubicBezTo>
                  <a:pt x="108347" y="1061244"/>
                  <a:pt x="113506" y="1062038"/>
                  <a:pt x="119062" y="1066800"/>
                </a:cubicBezTo>
                <a:cubicBezTo>
                  <a:pt x="124618" y="1071562"/>
                  <a:pt x="132952" y="1081484"/>
                  <a:pt x="138112" y="1085850"/>
                </a:cubicBezTo>
                <a:cubicBezTo>
                  <a:pt x="143271" y="1090216"/>
                  <a:pt x="146050" y="1088628"/>
                  <a:pt x="150019" y="1092994"/>
                </a:cubicBezTo>
                <a:cubicBezTo>
                  <a:pt x="153988" y="1097360"/>
                  <a:pt x="158353" y="1108075"/>
                  <a:pt x="161925" y="1112044"/>
                </a:cubicBezTo>
                <a:cubicBezTo>
                  <a:pt x="165497" y="1116013"/>
                  <a:pt x="167878" y="1114425"/>
                  <a:pt x="171450" y="1116806"/>
                </a:cubicBezTo>
                <a:cubicBezTo>
                  <a:pt x="175022" y="1119187"/>
                  <a:pt x="179784" y="1123156"/>
                  <a:pt x="183356" y="1126331"/>
                </a:cubicBezTo>
                <a:cubicBezTo>
                  <a:pt x="186928" y="1129506"/>
                  <a:pt x="188912" y="1129506"/>
                  <a:pt x="192881" y="1135856"/>
                </a:cubicBezTo>
                <a:cubicBezTo>
                  <a:pt x="196850" y="1142206"/>
                  <a:pt x="207169" y="1164431"/>
                  <a:pt x="207169" y="1164431"/>
                </a:cubicBezTo>
                <a:cubicBezTo>
                  <a:pt x="210344" y="1170781"/>
                  <a:pt x="211137" y="1162844"/>
                  <a:pt x="211931" y="1173956"/>
                </a:cubicBezTo>
                <a:cubicBezTo>
                  <a:pt x="212725" y="1185068"/>
                  <a:pt x="212328" y="1216819"/>
                  <a:pt x="211931" y="1231106"/>
                </a:cubicBezTo>
                <a:cubicBezTo>
                  <a:pt x="211534" y="1245393"/>
                  <a:pt x="210741" y="1253331"/>
                  <a:pt x="209550" y="1259681"/>
                </a:cubicBezTo>
                <a:cubicBezTo>
                  <a:pt x="208359" y="1266031"/>
                  <a:pt x="205978" y="1262459"/>
                  <a:pt x="204787" y="1269206"/>
                </a:cubicBezTo>
                <a:cubicBezTo>
                  <a:pt x="203596" y="1275953"/>
                  <a:pt x="202803" y="1290241"/>
                  <a:pt x="202406" y="1300163"/>
                </a:cubicBezTo>
                <a:cubicBezTo>
                  <a:pt x="202009" y="1310085"/>
                  <a:pt x="200819" y="1320404"/>
                  <a:pt x="202406" y="1328738"/>
                </a:cubicBezTo>
                <a:cubicBezTo>
                  <a:pt x="203993" y="1337072"/>
                  <a:pt x="207962" y="1343026"/>
                  <a:pt x="211931" y="1350169"/>
                </a:cubicBezTo>
                <a:cubicBezTo>
                  <a:pt x="215900" y="1357312"/>
                  <a:pt x="264868" y="1438966"/>
                  <a:pt x="264868" y="1438966"/>
                </a:cubicBezTo>
              </a:path>
            </a:pathLst>
          </a:custGeom>
          <a:noFill/>
          <a:ln w="1143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5" name="Полилиния 24"/>
          <p:cNvSpPr/>
          <p:nvPr/>
        </p:nvSpPr>
        <p:spPr>
          <a:xfrm>
            <a:off x="3969630" y="730523"/>
            <a:ext cx="443363" cy="547205"/>
          </a:xfrm>
          <a:custGeom>
            <a:avLst/>
            <a:gdLst>
              <a:gd name="connsiteX0" fmla="*/ 0 w 342900"/>
              <a:gd name="connsiteY0" fmla="*/ 469106 h 469106"/>
              <a:gd name="connsiteX1" fmla="*/ 50007 w 342900"/>
              <a:gd name="connsiteY1" fmla="*/ 442912 h 469106"/>
              <a:gd name="connsiteX2" fmla="*/ 76200 w 342900"/>
              <a:gd name="connsiteY2" fmla="*/ 428625 h 469106"/>
              <a:gd name="connsiteX3" fmla="*/ 100013 w 342900"/>
              <a:gd name="connsiteY3" fmla="*/ 414337 h 469106"/>
              <a:gd name="connsiteX4" fmla="*/ 114300 w 342900"/>
              <a:gd name="connsiteY4" fmla="*/ 402431 h 469106"/>
              <a:gd name="connsiteX5" fmla="*/ 121444 w 342900"/>
              <a:gd name="connsiteY5" fmla="*/ 395287 h 469106"/>
              <a:gd name="connsiteX6" fmla="*/ 123825 w 342900"/>
              <a:gd name="connsiteY6" fmla="*/ 369093 h 469106"/>
              <a:gd name="connsiteX7" fmla="*/ 123825 w 342900"/>
              <a:gd name="connsiteY7" fmla="*/ 333375 h 469106"/>
              <a:gd name="connsiteX8" fmla="*/ 123825 w 342900"/>
              <a:gd name="connsiteY8" fmla="*/ 302418 h 469106"/>
              <a:gd name="connsiteX9" fmla="*/ 123825 w 342900"/>
              <a:gd name="connsiteY9" fmla="*/ 273843 h 469106"/>
              <a:gd name="connsiteX10" fmla="*/ 128588 w 342900"/>
              <a:gd name="connsiteY10" fmla="*/ 247650 h 469106"/>
              <a:gd name="connsiteX11" fmla="*/ 135732 w 342900"/>
              <a:gd name="connsiteY11" fmla="*/ 221456 h 469106"/>
              <a:gd name="connsiteX12" fmla="*/ 145257 w 342900"/>
              <a:gd name="connsiteY12" fmla="*/ 207168 h 469106"/>
              <a:gd name="connsiteX13" fmla="*/ 171450 w 342900"/>
              <a:gd name="connsiteY13" fmla="*/ 178593 h 469106"/>
              <a:gd name="connsiteX14" fmla="*/ 202407 w 342900"/>
              <a:gd name="connsiteY14" fmla="*/ 157162 h 469106"/>
              <a:gd name="connsiteX15" fmla="*/ 221457 w 342900"/>
              <a:gd name="connsiteY15" fmla="*/ 135731 h 469106"/>
              <a:gd name="connsiteX16" fmla="*/ 235744 w 342900"/>
              <a:gd name="connsiteY16" fmla="*/ 114300 h 469106"/>
              <a:gd name="connsiteX17" fmla="*/ 254794 w 342900"/>
              <a:gd name="connsiteY17" fmla="*/ 95250 h 469106"/>
              <a:gd name="connsiteX18" fmla="*/ 278607 w 342900"/>
              <a:gd name="connsiteY18" fmla="*/ 76200 h 469106"/>
              <a:gd name="connsiteX19" fmla="*/ 314325 w 342900"/>
              <a:gd name="connsiteY19" fmla="*/ 61912 h 469106"/>
              <a:gd name="connsiteX20" fmla="*/ 323850 w 342900"/>
              <a:gd name="connsiteY20" fmla="*/ 47625 h 469106"/>
              <a:gd name="connsiteX21" fmla="*/ 335757 w 342900"/>
              <a:gd name="connsiteY21" fmla="*/ 23812 h 469106"/>
              <a:gd name="connsiteX22" fmla="*/ 335757 w 342900"/>
              <a:gd name="connsiteY22" fmla="*/ 19050 h 469106"/>
              <a:gd name="connsiteX23" fmla="*/ 340519 w 342900"/>
              <a:gd name="connsiteY23" fmla="*/ 4762 h 469106"/>
              <a:gd name="connsiteX24" fmla="*/ 342900 w 342900"/>
              <a:gd name="connsiteY24" fmla="*/ 0 h 46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342900" h="469106">
                <a:moveTo>
                  <a:pt x="0" y="469106"/>
                </a:moveTo>
                <a:lnTo>
                  <a:pt x="50007" y="442912"/>
                </a:lnTo>
                <a:cubicBezTo>
                  <a:pt x="62707" y="436165"/>
                  <a:pt x="67866" y="433387"/>
                  <a:pt x="76200" y="428625"/>
                </a:cubicBezTo>
                <a:cubicBezTo>
                  <a:pt x="84534" y="423863"/>
                  <a:pt x="93663" y="418703"/>
                  <a:pt x="100013" y="414337"/>
                </a:cubicBezTo>
                <a:cubicBezTo>
                  <a:pt x="106363" y="409971"/>
                  <a:pt x="110728" y="405606"/>
                  <a:pt x="114300" y="402431"/>
                </a:cubicBezTo>
                <a:cubicBezTo>
                  <a:pt x="117872" y="399256"/>
                  <a:pt x="119857" y="400843"/>
                  <a:pt x="121444" y="395287"/>
                </a:cubicBezTo>
                <a:cubicBezTo>
                  <a:pt x="123031" y="389731"/>
                  <a:pt x="123428" y="379412"/>
                  <a:pt x="123825" y="369093"/>
                </a:cubicBezTo>
                <a:cubicBezTo>
                  <a:pt x="124222" y="358774"/>
                  <a:pt x="123825" y="333375"/>
                  <a:pt x="123825" y="333375"/>
                </a:cubicBezTo>
                <a:lnTo>
                  <a:pt x="123825" y="302418"/>
                </a:lnTo>
                <a:cubicBezTo>
                  <a:pt x="123825" y="292496"/>
                  <a:pt x="123031" y="282971"/>
                  <a:pt x="123825" y="273843"/>
                </a:cubicBezTo>
                <a:cubicBezTo>
                  <a:pt x="124619" y="264715"/>
                  <a:pt x="126604" y="256381"/>
                  <a:pt x="128588" y="247650"/>
                </a:cubicBezTo>
                <a:cubicBezTo>
                  <a:pt x="130572" y="238919"/>
                  <a:pt x="132954" y="228203"/>
                  <a:pt x="135732" y="221456"/>
                </a:cubicBezTo>
                <a:cubicBezTo>
                  <a:pt x="138510" y="214709"/>
                  <a:pt x="139304" y="214312"/>
                  <a:pt x="145257" y="207168"/>
                </a:cubicBezTo>
                <a:cubicBezTo>
                  <a:pt x="151210" y="200024"/>
                  <a:pt x="161925" y="186927"/>
                  <a:pt x="171450" y="178593"/>
                </a:cubicBezTo>
                <a:cubicBezTo>
                  <a:pt x="180975" y="170259"/>
                  <a:pt x="194073" y="164306"/>
                  <a:pt x="202407" y="157162"/>
                </a:cubicBezTo>
                <a:cubicBezTo>
                  <a:pt x="210741" y="150018"/>
                  <a:pt x="215901" y="142875"/>
                  <a:pt x="221457" y="135731"/>
                </a:cubicBezTo>
                <a:cubicBezTo>
                  <a:pt x="227013" y="128587"/>
                  <a:pt x="230188" y="121047"/>
                  <a:pt x="235744" y="114300"/>
                </a:cubicBezTo>
                <a:cubicBezTo>
                  <a:pt x="241300" y="107553"/>
                  <a:pt x="247650" y="101600"/>
                  <a:pt x="254794" y="95250"/>
                </a:cubicBezTo>
                <a:cubicBezTo>
                  <a:pt x="261938" y="88900"/>
                  <a:pt x="268685" y="81756"/>
                  <a:pt x="278607" y="76200"/>
                </a:cubicBezTo>
                <a:cubicBezTo>
                  <a:pt x="288529" y="70644"/>
                  <a:pt x="306785" y="66674"/>
                  <a:pt x="314325" y="61912"/>
                </a:cubicBezTo>
                <a:cubicBezTo>
                  <a:pt x="321866" y="57149"/>
                  <a:pt x="320278" y="53975"/>
                  <a:pt x="323850" y="47625"/>
                </a:cubicBezTo>
                <a:cubicBezTo>
                  <a:pt x="327422" y="41275"/>
                  <a:pt x="333773" y="28574"/>
                  <a:pt x="335757" y="23812"/>
                </a:cubicBezTo>
                <a:cubicBezTo>
                  <a:pt x="337741" y="19050"/>
                  <a:pt x="334963" y="22225"/>
                  <a:pt x="335757" y="19050"/>
                </a:cubicBezTo>
                <a:cubicBezTo>
                  <a:pt x="336551" y="15875"/>
                  <a:pt x="339329" y="7937"/>
                  <a:pt x="340519" y="4762"/>
                </a:cubicBezTo>
                <a:cubicBezTo>
                  <a:pt x="341709" y="1587"/>
                  <a:pt x="340519" y="0"/>
                  <a:pt x="342900" y="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9" name="AutoShape 19"/>
          <p:cNvSpPr>
            <a:spLocks noChangeArrowheads="1"/>
          </p:cNvSpPr>
          <p:nvPr/>
        </p:nvSpPr>
        <p:spPr bwMode="auto">
          <a:xfrm>
            <a:off x="6902545" y="2341835"/>
            <a:ext cx="1092741" cy="14059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йқапшағай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3953954" y="1314523"/>
            <a:ext cx="2886522" cy="1033301"/>
          </a:xfrm>
          <a:custGeom>
            <a:avLst/>
            <a:gdLst>
              <a:gd name="connsiteX0" fmla="*/ 2066925 w 2066925"/>
              <a:gd name="connsiteY0" fmla="*/ 806450 h 885825"/>
              <a:gd name="connsiteX1" fmla="*/ 2019300 w 2066925"/>
              <a:gd name="connsiteY1" fmla="*/ 755650 h 885825"/>
              <a:gd name="connsiteX2" fmla="*/ 1993900 w 2066925"/>
              <a:gd name="connsiteY2" fmla="*/ 749300 h 885825"/>
              <a:gd name="connsiteX3" fmla="*/ 1981200 w 2066925"/>
              <a:gd name="connsiteY3" fmla="*/ 742950 h 885825"/>
              <a:gd name="connsiteX4" fmla="*/ 1965325 w 2066925"/>
              <a:gd name="connsiteY4" fmla="*/ 742950 h 885825"/>
              <a:gd name="connsiteX5" fmla="*/ 1943100 w 2066925"/>
              <a:gd name="connsiteY5" fmla="*/ 742950 h 885825"/>
              <a:gd name="connsiteX6" fmla="*/ 1908175 w 2066925"/>
              <a:gd name="connsiteY6" fmla="*/ 736600 h 885825"/>
              <a:gd name="connsiteX7" fmla="*/ 1885950 w 2066925"/>
              <a:gd name="connsiteY7" fmla="*/ 717550 h 885825"/>
              <a:gd name="connsiteX8" fmla="*/ 1857375 w 2066925"/>
              <a:gd name="connsiteY8" fmla="*/ 717550 h 885825"/>
              <a:gd name="connsiteX9" fmla="*/ 1828800 w 2066925"/>
              <a:gd name="connsiteY9" fmla="*/ 749300 h 885825"/>
              <a:gd name="connsiteX10" fmla="*/ 1803400 w 2066925"/>
              <a:gd name="connsiteY10" fmla="*/ 771525 h 885825"/>
              <a:gd name="connsiteX11" fmla="*/ 1768475 w 2066925"/>
              <a:gd name="connsiteY11" fmla="*/ 812800 h 885825"/>
              <a:gd name="connsiteX12" fmla="*/ 1762125 w 2066925"/>
              <a:gd name="connsiteY12" fmla="*/ 835025 h 885825"/>
              <a:gd name="connsiteX13" fmla="*/ 1743075 w 2066925"/>
              <a:gd name="connsiteY13" fmla="*/ 860425 h 885825"/>
              <a:gd name="connsiteX14" fmla="*/ 1736725 w 2066925"/>
              <a:gd name="connsiteY14" fmla="*/ 873125 h 885825"/>
              <a:gd name="connsiteX15" fmla="*/ 1724025 w 2066925"/>
              <a:gd name="connsiteY15" fmla="*/ 885825 h 885825"/>
              <a:gd name="connsiteX16" fmla="*/ 1704975 w 2066925"/>
              <a:gd name="connsiteY16" fmla="*/ 873125 h 885825"/>
              <a:gd name="connsiteX17" fmla="*/ 1685925 w 2066925"/>
              <a:gd name="connsiteY17" fmla="*/ 863600 h 885825"/>
              <a:gd name="connsiteX18" fmla="*/ 1654175 w 2066925"/>
              <a:gd name="connsiteY18" fmla="*/ 854075 h 885825"/>
              <a:gd name="connsiteX19" fmla="*/ 1616075 w 2066925"/>
              <a:gd name="connsiteY19" fmla="*/ 844550 h 885825"/>
              <a:gd name="connsiteX20" fmla="*/ 1593850 w 2066925"/>
              <a:gd name="connsiteY20" fmla="*/ 835025 h 885825"/>
              <a:gd name="connsiteX21" fmla="*/ 1571625 w 2066925"/>
              <a:gd name="connsiteY21" fmla="*/ 825500 h 885825"/>
              <a:gd name="connsiteX22" fmla="*/ 1543050 w 2066925"/>
              <a:gd name="connsiteY22" fmla="*/ 815975 h 885825"/>
              <a:gd name="connsiteX23" fmla="*/ 1511300 w 2066925"/>
              <a:gd name="connsiteY23" fmla="*/ 806450 h 885825"/>
              <a:gd name="connsiteX24" fmla="*/ 1482725 w 2066925"/>
              <a:gd name="connsiteY24" fmla="*/ 800100 h 885825"/>
              <a:gd name="connsiteX25" fmla="*/ 1476375 w 2066925"/>
              <a:gd name="connsiteY25" fmla="*/ 800100 h 885825"/>
              <a:gd name="connsiteX26" fmla="*/ 1444625 w 2066925"/>
              <a:gd name="connsiteY26" fmla="*/ 815975 h 885825"/>
              <a:gd name="connsiteX27" fmla="*/ 1422400 w 2066925"/>
              <a:gd name="connsiteY27" fmla="*/ 822325 h 885825"/>
              <a:gd name="connsiteX28" fmla="*/ 1400175 w 2066925"/>
              <a:gd name="connsiteY28" fmla="*/ 825500 h 885825"/>
              <a:gd name="connsiteX29" fmla="*/ 1381125 w 2066925"/>
              <a:gd name="connsiteY29" fmla="*/ 825500 h 885825"/>
              <a:gd name="connsiteX30" fmla="*/ 1355725 w 2066925"/>
              <a:gd name="connsiteY30" fmla="*/ 825500 h 885825"/>
              <a:gd name="connsiteX31" fmla="*/ 1336675 w 2066925"/>
              <a:gd name="connsiteY31" fmla="*/ 815975 h 885825"/>
              <a:gd name="connsiteX32" fmla="*/ 1317625 w 2066925"/>
              <a:gd name="connsiteY32" fmla="*/ 812800 h 885825"/>
              <a:gd name="connsiteX33" fmla="*/ 1279525 w 2066925"/>
              <a:gd name="connsiteY33" fmla="*/ 796925 h 885825"/>
              <a:gd name="connsiteX34" fmla="*/ 1241425 w 2066925"/>
              <a:gd name="connsiteY34" fmla="*/ 784225 h 885825"/>
              <a:gd name="connsiteX35" fmla="*/ 1196975 w 2066925"/>
              <a:gd name="connsiteY35" fmla="*/ 774700 h 885825"/>
              <a:gd name="connsiteX36" fmla="*/ 1174750 w 2066925"/>
              <a:gd name="connsiteY36" fmla="*/ 774700 h 885825"/>
              <a:gd name="connsiteX37" fmla="*/ 1152525 w 2066925"/>
              <a:gd name="connsiteY37" fmla="*/ 774700 h 885825"/>
              <a:gd name="connsiteX38" fmla="*/ 1139825 w 2066925"/>
              <a:gd name="connsiteY38" fmla="*/ 774700 h 885825"/>
              <a:gd name="connsiteX39" fmla="*/ 1104900 w 2066925"/>
              <a:gd name="connsiteY39" fmla="*/ 781050 h 885825"/>
              <a:gd name="connsiteX40" fmla="*/ 1069975 w 2066925"/>
              <a:gd name="connsiteY40" fmla="*/ 787400 h 885825"/>
              <a:gd name="connsiteX41" fmla="*/ 1041400 w 2066925"/>
              <a:gd name="connsiteY41" fmla="*/ 796925 h 885825"/>
              <a:gd name="connsiteX42" fmla="*/ 1003300 w 2066925"/>
              <a:gd name="connsiteY42" fmla="*/ 796925 h 885825"/>
              <a:gd name="connsiteX43" fmla="*/ 974725 w 2066925"/>
              <a:gd name="connsiteY43" fmla="*/ 774700 h 885825"/>
              <a:gd name="connsiteX44" fmla="*/ 946150 w 2066925"/>
              <a:gd name="connsiteY44" fmla="*/ 746125 h 885825"/>
              <a:gd name="connsiteX45" fmla="*/ 936625 w 2066925"/>
              <a:gd name="connsiteY45" fmla="*/ 733425 h 885825"/>
              <a:gd name="connsiteX46" fmla="*/ 914400 w 2066925"/>
              <a:gd name="connsiteY46" fmla="*/ 708025 h 885825"/>
              <a:gd name="connsiteX47" fmla="*/ 879475 w 2066925"/>
              <a:gd name="connsiteY47" fmla="*/ 695325 h 885825"/>
              <a:gd name="connsiteX48" fmla="*/ 850900 w 2066925"/>
              <a:gd name="connsiteY48" fmla="*/ 682625 h 885825"/>
              <a:gd name="connsiteX49" fmla="*/ 825500 w 2066925"/>
              <a:gd name="connsiteY49" fmla="*/ 679450 h 885825"/>
              <a:gd name="connsiteX50" fmla="*/ 784225 w 2066925"/>
              <a:gd name="connsiteY50" fmla="*/ 660400 h 885825"/>
              <a:gd name="connsiteX51" fmla="*/ 768350 w 2066925"/>
              <a:gd name="connsiteY51" fmla="*/ 654050 h 885825"/>
              <a:gd name="connsiteX52" fmla="*/ 730250 w 2066925"/>
              <a:gd name="connsiteY52" fmla="*/ 635000 h 885825"/>
              <a:gd name="connsiteX53" fmla="*/ 701675 w 2066925"/>
              <a:gd name="connsiteY53" fmla="*/ 612775 h 885825"/>
              <a:gd name="connsiteX54" fmla="*/ 679450 w 2066925"/>
              <a:gd name="connsiteY54" fmla="*/ 587375 h 885825"/>
              <a:gd name="connsiteX55" fmla="*/ 644525 w 2066925"/>
              <a:gd name="connsiteY55" fmla="*/ 549275 h 885825"/>
              <a:gd name="connsiteX56" fmla="*/ 631825 w 2066925"/>
              <a:gd name="connsiteY56" fmla="*/ 520700 h 885825"/>
              <a:gd name="connsiteX57" fmla="*/ 625475 w 2066925"/>
              <a:gd name="connsiteY57" fmla="*/ 488950 h 885825"/>
              <a:gd name="connsiteX58" fmla="*/ 615950 w 2066925"/>
              <a:gd name="connsiteY58" fmla="*/ 473075 h 885825"/>
              <a:gd name="connsiteX59" fmla="*/ 600075 w 2066925"/>
              <a:gd name="connsiteY59" fmla="*/ 457200 h 885825"/>
              <a:gd name="connsiteX60" fmla="*/ 584200 w 2066925"/>
              <a:gd name="connsiteY60" fmla="*/ 450850 h 885825"/>
              <a:gd name="connsiteX61" fmla="*/ 561975 w 2066925"/>
              <a:gd name="connsiteY61" fmla="*/ 431800 h 885825"/>
              <a:gd name="connsiteX62" fmla="*/ 552450 w 2066925"/>
              <a:gd name="connsiteY62" fmla="*/ 409575 h 885825"/>
              <a:gd name="connsiteX63" fmla="*/ 536575 w 2066925"/>
              <a:gd name="connsiteY63" fmla="*/ 381000 h 885825"/>
              <a:gd name="connsiteX64" fmla="*/ 517525 w 2066925"/>
              <a:gd name="connsiteY64" fmla="*/ 374650 h 885825"/>
              <a:gd name="connsiteX65" fmla="*/ 492125 w 2066925"/>
              <a:gd name="connsiteY65" fmla="*/ 361950 h 885825"/>
              <a:gd name="connsiteX66" fmla="*/ 469900 w 2066925"/>
              <a:gd name="connsiteY66" fmla="*/ 346075 h 885825"/>
              <a:gd name="connsiteX67" fmla="*/ 444500 w 2066925"/>
              <a:gd name="connsiteY67" fmla="*/ 330200 h 885825"/>
              <a:gd name="connsiteX68" fmla="*/ 431800 w 2066925"/>
              <a:gd name="connsiteY68" fmla="*/ 311150 h 885825"/>
              <a:gd name="connsiteX69" fmla="*/ 412750 w 2066925"/>
              <a:gd name="connsiteY69" fmla="*/ 292100 h 885825"/>
              <a:gd name="connsiteX70" fmla="*/ 400050 w 2066925"/>
              <a:gd name="connsiteY70" fmla="*/ 282575 h 885825"/>
              <a:gd name="connsiteX71" fmla="*/ 374650 w 2066925"/>
              <a:gd name="connsiteY71" fmla="*/ 263525 h 885825"/>
              <a:gd name="connsiteX72" fmla="*/ 339725 w 2066925"/>
              <a:gd name="connsiteY72" fmla="*/ 250825 h 885825"/>
              <a:gd name="connsiteX73" fmla="*/ 288925 w 2066925"/>
              <a:gd name="connsiteY73" fmla="*/ 231775 h 885825"/>
              <a:gd name="connsiteX74" fmla="*/ 247650 w 2066925"/>
              <a:gd name="connsiteY74" fmla="*/ 200025 h 885825"/>
              <a:gd name="connsiteX75" fmla="*/ 228600 w 2066925"/>
              <a:gd name="connsiteY75" fmla="*/ 180975 h 885825"/>
              <a:gd name="connsiteX76" fmla="*/ 212725 w 2066925"/>
              <a:gd name="connsiteY76" fmla="*/ 161925 h 885825"/>
              <a:gd name="connsiteX77" fmla="*/ 196850 w 2066925"/>
              <a:gd name="connsiteY77" fmla="*/ 146050 h 885825"/>
              <a:gd name="connsiteX78" fmla="*/ 190500 w 2066925"/>
              <a:gd name="connsiteY78" fmla="*/ 117475 h 885825"/>
              <a:gd name="connsiteX79" fmla="*/ 184150 w 2066925"/>
              <a:gd name="connsiteY79" fmla="*/ 85725 h 885825"/>
              <a:gd name="connsiteX80" fmla="*/ 184150 w 2066925"/>
              <a:gd name="connsiteY80" fmla="*/ 60325 h 885825"/>
              <a:gd name="connsiteX81" fmla="*/ 168275 w 2066925"/>
              <a:gd name="connsiteY81" fmla="*/ 41275 h 885825"/>
              <a:gd name="connsiteX82" fmla="*/ 142875 w 2066925"/>
              <a:gd name="connsiteY82" fmla="*/ 28575 h 885825"/>
              <a:gd name="connsiteX83" fmla="*/ 130175 w 2066925"/>
              <a:gd name="connsiteY83" fmla="*/ 22225 h 885825"/>
              <a:gd name="connsiteX84" fmla="*/ 95250 w 2066925"/>
              <a:gd name="connsiteY84" fmla="*/ 19050 h 885825"/>
              <a:gd name="connsiteX85" fmla="*/ 73025 w 2066925"/>
              <a:gd name="connsiteY85" fmla="*/ 15875 h 885825"/>
              <a:gd name="connsiteX86" fmla="*/ 57150 w 2066925"/>
              <a:gd name="connsiteY86" fmla="*/ 15875 h 885825"/>
              <a:gd name="connsiteX87" fmla="*/ 25400 w 2066925"/>
              <a:gd name="connsiteY87" fmla="*/ 12700 h 885825"/>
              <a:gd name="connsiteX88" fmla="*/ 15875 w 2066925"/>
              <a:gd name="connsiteY88" fmla="*/ 9525 h 885825"/>
              <a:gd name="connsiteX89" fmla="*/ 0 w 2066925"/>
              <a:gd name="connsiteY89" fmla="*/ 0 h 88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</a:cxnLst>
            <a:rect l="l" t="t" r="r" b="b"/>
            <a:pathLst>
              <a:path w="2066925" h="885825">
                <a:moveTo>
                  <a:pt x="2066925" y="806450"/>
                </a:moveTo>
                <a:cubicBezTo>
                  <a:pt x="2049198" y="785812"/>
                  <a:pt x="2031471" y="765175"/>
                  <a:pt x="2019300" y="755650"/>
                </a:cubicBezTo>
                <a:cubicBezTo>
                  <a:pt x="2007129" y="746125"/>
                  <a:pt x="2000250" y="751417"/>
                  <a:pt x="1993900" y="749300"/>
                </a:cubicBezTo>
                <a:cubicBezTo>
                  <a:pt x="1987550" y="747183"/>
                  <a:pt x="1985962" y="744008"/>
                  <a:pt x="1981200" y="742950"/>
                </a:cubicBezTo>
                <a:cubicBezTo>
                  <a:pt x="1976438" y="741892"/>
                  <a:pt x="1965325" y="742950"/>
                  <a:pt x="1965325" y="742950"/>
                </a:cubicBezTo>
                <a:cubicBezTo>
                  <a:pt x="1958975" y="742950"/>
                  <a:pt x="1952625" y="744008"/>
                  <a:pt x="1943100" y="742950"/>
                </a:cubicBezTo>
                <a:cubicBezTo>
                  <a:pt x="1933575" y="741892"/>
                  <a:pt x="1917700" y="740833"/>
                  <a:pt x="1908175" y="736600"/>
                </a:cubicBezTo>
                <a:cubicBezTo>
                  <a:pt x="1898650" y="732367"/>
                  <a:pt x="1894417" y="720725"/>
                  <a:pt x="1885950" y="717550"/>
                </a:cubicBezTo>
                <a:cubicBezTo>
                  <a:pt x="1877483" y="714375"/>
                  <a:pt x="1866900" y="712258"/>
                  <a:pt x="1857375" y="717550"/>
                </a:cubicBezTo>
                <a:cubicBezTo>
                  <a:pt x="1847850" y="722842"/>
                  <a:pt x="1837796" y="740304"/>
                  <a:pt x="1828800" y="749300"/>
                </a:cubicBezTo>
                <a:cubicBezTo>
                  <a:pt x="1819804" y="758296"/>
                  <a:pt x="1813454" y="760942"/>
                  <a:pt x="1803400" y="771525"/>
                </a:cubicBezTo>
                <a:cubicBezTo>
                  <a:pt x="1793346" y="782108"/>
                  <a:pt x="1775354" y="802217"/>
                  <a:pt x="1768475" y="812800"/>
                </a:cubicBezTo>
                <a:cubicBezTo>
                  <a:pt x="1761596" y="823383"/>
                  <a:pt x="1766358" y="827088"/>
                  <a:pt x="1762125" y="835025"/>
                </a:cubicBezTo>
                <a:cubicBezTo>
                  <a:pt x="1757892" y="842962"/>
                  <a:pt x="1747308" y="854075"/>
                  <a:pt x="1743075" y="860425"/>
                </a:cubicBezTo>
                <a:cubicBezTo>
                  <a:pt x="1738842" y="866775"/>
                  <a:pt x="1739900" y="868892"/>
                  <a:pt x="1736725" y="873125"/>
                </a:cubicBezTo>
                <a:cubicBezTo>
                  <a:pt x="1733550" y="877358"/>
                  <a:pt x="1729317" y="885825"/>
                  <a:pt x="1724025" y="885825"/>
                </a:cubicBezTo>
                <a:cubicBezTo>
                  <a:pt x="1718733" y="885825"/>
                  <a:pt x="1711325" y="876829"/>
                  <a:pt x="1704975" y="873125"/>
                </a:cubicBezTo>
                <a:cubicBezTo>
                  <a:pt x="1698625" y="869421"/>
                  <a:pt x="1694392" y="866775"/>
                  <a:pt x="1685925" y="863600"/>
                </a:cubicBezTo>
                <a:cubicBezTo>
                  <a:pt x="1677458" y="860425"/>
                  <a:pt x="1665817" y="857250"/>
                  <a:pt x="1654175" y="854075"/>
                </a:cubicBezTo>
                <a:cubicBezTo>
                  <a:pt x="1642533" y="850900"/>
                  <a:pt x="1626129" y="847725"/>
                  <a:pt x="1616075" y="844550"/>
                </a:cubicBezTo>
                <a:cubicBezTo>
                  <a:pt x="1606021" y="841375"/>
                  <a:pt x="1593850" y="835025"/>
                  <a:pt x="1593850" y="835025"/>
                </a:cubicBezTo>
                <a:cubicBezTo>
                  <a:pt x="1586442" y="831850"/>
                  <a:pt x="1580092" y="828675"/>
                  <a:pt x="1571625" y="825500"/>
                </a:cubicBezTo>
                <a:cubicBezTo>
                  <a:pt x="1563158" y="822325"/>
                  <a:pt x="1553104" y="819150"/>
                  <a:pt x="1543050" y="815975"/>
                </a:cubicBezTo>
                <a:cubicBezTo>
                  <a:pt x="1532996" y="812800"/>
                  <a:pt x="1521354" y="809096"/>
                  <a:pt x="1511300" y="806450"/>
                </a:cubicBezTo>
                <a:cubicBezTo>
                  <a:pt x="1501246" y="803804"/>
                  <a:pt x="1488546" y="801158"/>
                  <a:pt x="1482725" y="800100"/>
                </a:cubicBezTo>
                <a:cubicBezTo>
                  <a:pt x="1476904" y="799042"/>
                  <a:pt x="1482725" y="797454"/>
                  <a:pt x="1476375" y="800100"/>
                </a:cubicBezTo>
                <a:cubicBezTo>
                  <a:pt x="1470025" y="802746"/>
                  <a:pt x="1453621" y="812271"/>
                  <a:pt x="1444625" y="815975"/>
                </a:cubicBezTo>
                <a:cubicBezTo>
                  <a:pt x="1435629" y="819679"/>
                  <a:pt x="1429808" y="820738"/>
                  <a:pt x="1422400" y="822325"/>
                </a:cubicBezTo>
                <a:cubicBezTo>
                  <a:pt x="1414992" y="823912"/>
                  <a:pt x="1407054" y="824971"/>
                  <a:pt x="1400175" y="825500"/>
                </a:cubicBezTo>
                <a:cubicBezTo>
                  <a:pt x="1393296" y="826029"/>
                  <a:pt x="1381125" y="825500"/>
                  <a:pt x="1381125" y="825500"/>
                </a:cubicBezTo>
                <a:cubicBezTo>
                  <a:pt x="1373717" y="825500"/>
                  <a:pt x="1363133" y="827087"/>
                  <a:pt x="1355725" y="825500"/>
                </a:cubicBezTo>
                <a:cubicBezTo>
                  <a:pt x="1348317" y="823913"/>
                  <a:pt x="1343025" y="818092"/>
                  <a:pt x="1336675" y="815975"/>
                </a:cubicBezTo>
                <a:cubicBezTo>
                  <a:pt x="1330325" y="813858"/>
                  <a:pt x="1327150" y="815975"/>
                  <a:pt x="1317625" y="812800"/>
                </a:cubicBezTo>
                <a:cubicBezTo>
                  <a:pt x="1308100" y="809625"/>
                  <a:pt x="1292225" y="801688"/>
                  <a:pt x="1279525" y="796925"/>
                </a:cubicBezTo>
                <a:cubicBezTo>
                  <a:pt x="1266825" y="792162"/>
                  <a:pt x="1255183" y="787929"/>
                  <a:pt x="1241425" y="784225"/>
                </a:cubicBezTo>
                <a:cubicBezTo>
                  <a:pt x="1227667" y="780521"/>
                  <a:pt x="1208087" y="776287"/>
                  <a:pt x="1196975" y="774700"/>
                </a:cubicBezTo>
                <a:cubicBezTo>
                  <a:pt x="1185863" y="773113"/>
                  <a:pt x="1174750" y="774700"/>
                  <a:pt x="1174750" y="774700"/>
                </a:cubicBezTo>
                <a:lnTo>
                  <a:pt x="1152525" y="774700"/>
                </a:lnTo>
                <a:cubicBezTo>
                  <a:pt x="1146704" y="774700"/>
                  <a:pt x="1147762" y="773642"/>
                  <a:pt x="1139825" y="774700"/>
                </a:cubicBezTo>
                <a:cubicBezTo>
                  <a:pt x="1131888" y="775758"/>
                  <a:pt x="1104900" y="781050"/>
                  <a:pt x="1104900" y="781050"/>
                </a:cubicBezTo>
                <a:cubicBezTo>
                  <a:pt x="1093258" y="783167"/>
                  <a:pt x="1080558" y="784754"/>
                  <a:pt x="1069975" y="787400"/>
                </a:cubicBezTo>
                <a:cubicBezTo>
                  <a:pt x="1059392" y="790046"/>
                  <a:pt x="1052512" y="795338"/>
                  <a:pt x="1041400" y="796925"/>
                </a:cubicBezTo>
                <a:cubicBezTo>
                  <a:pt x="1030288" y="798512"/>
                  <a:pt x="1014412" y="800629"/>
                  <a:pt x="1003300" y="796925"/>
                </a:cubicBezTo>
                <a:cubicBezTo>
                  <a:pt x="992188" y="793221"/>
                  <a:pt x="984250" y="783167"/>
                  <a:pt x="974725" y="774700"/>
                </a:cubicBezTo>
                <a:cubicBezTo>
                  <a:pt x="965200" y="766233"/>
                  <a:pt x="952500" y="753004"/>
                  <a:pt x="946150" y="746125"/>
                </a:cubicBezTo>
                <a:cubicBezTo>
                  <a:pt x="939800" y="739246"/>
                  <a:pt x="941917" y="739775"/>
                  <a:pt x="936625" y="733425"/>
                </a:cubicBezTo>
                <a:cubicBezTo>
                  <a:pt x="931333" y="727075"/>
                  <a:pt x="923925" y="714375"/>
                  <a:pt x="914400" y="708025"/>
                </a:cubicBezTo>
                <a:cubicBezTo>
                  <a:pt x="904875" y="701675"/>
                  <a:pt x="890058" y="699558"/>
                  <a:pt x="879475" y="695325"/>
                </a:cubicBezTo>
                <a:cubicBezTo>
                  <a:pt x="868892" y="691092"/>
                  <a:pt x="859896" y="685271"/>
                  <a:pt x="850900" y="682625"/>
                </a:cubicBezTo>
                <a:cubicBezTo>
                  <a:pt x="841904" y="679979"/>
                  <a:pt x="836612" y="683154"/>
                  <a:pt x="825500" y="679450"/>
                </a:cubicBezTo>
                <a:cubicBezTo>
                  <a:pt x="814388" y="675746"/>
                  <a:pt x="793750" y="664633"/>
                  <a:pt x="784225" y="660400"/>
                </a:cubicBezTo>
                <a:cubicBezTo>
                  <a:pt x="774700" y="656167"/>
                  <a:pt x="777346" y="658283"/>
                  <a:pt x="768350" y="654050"/>
                </a:cubicBezTo>
                <a:cubicBezTo>
                  <a:pt x="759354" y="649817"/>
                  <a:pt x="741362" y="641879"/>
                  <a:pt x="730250" y="635000"/>
                </a:cubicBezTo>
                <a:cubicBezTo>
                  <a:pt x="719138" y="628121"/>
                  <a:pt x="710142" y="620712"/>
                  <a:pt x="701675" y="612775"/>
                </a:cubicBezTo>
                <a:cubicBezTo>
                  <a:pt x="693208" y="604837"/>
                  <a:pt x="688975" y="597958"/>
                  <a:pt x="679450" y="587375"/>
                </a:cubicBezTo>
                <a:cubicBezTo>
                  <a:pt x="669925" y="576792"/>
                  <a:pt x="652462" y="560387"/>
                  <a:pt x="644525" y="549275"/>
                </a:cubicBezTo>
                <a:cubicBezTo>
                  <a:pt x="636587" y="538162"/>
                  <a:pt x="635000" y="530754"/>
                  <a:pt x="631825" y="520700"/>
                </a:cubicBezTo>
                <a:cubicBezTo>
                  <a:pt x="628650" y="510646"/>
                  <a:pt x="628121" y="496887"/>
                  <a:pt x="625475" y="488950"/>
                </a:cubicBezTo>
                <a:cubicBezTo>
                  <a:pt x="622829" y="481013"/>
                  <a:pt x="620183" y="478367"/>
                  <a:pt x="615950" y="473075"/>
                </a:cubicBezTo>
                <a:cubicBezTo>
                  <a:pt x="611717" y="467783"/>
                  <a:pt x="605367" y="460904"/>
                  <a:pt x="600075" y="457200"/>
                </a:cubicBezTo>
                <a:cubicBezTo>
                  <a:pt x="594783" y="453496"/>
                  <a:pt x="590550" y="455083"/>
                  <a:pt x="584200" y="450850"/>
                </a:cubicBezTo>
                <a:cubicBezTo>
                  <a:pt x="577850" y="446617"/>
                  <a:pt x="567267" y="438679"/>
                  <a:pt x="561975" y="431800"/>
                </a:cubicBezTo>
                <a:cubicBezTo>
                  <a:pt x="556683" y="424921"/>
                  <a:pt x="556683" y="418042"/>
                  <a:pt x="552450" y="409575"/>
                </a:cubicBezTo>
                <a:cubicBezTo>
                  <a:pt x="548217" y="401108"/>
                  <a:pt x="542396" y="386821"/>
                  <a:pt x="536575" y="381000"/>
                </a:cubicBezTo>
                <a:cubicBezTo>
                  <a:pt x="530754" y="375179"/>
                  <a:pt x="524933" y="377825"/>
                  <a:pt x="517525" y="374650"/>
                </a:cubicBezTo>
                <a:cubicBezTo>
                  <a:pt x="510117" y="371475"/>
                  <a:pt x="500062" y="366712"/>
                  <a:pt x="492125" y="361950"/>
                </a:cubicBezTo>
                <a:cubicBezTo>
                  <a:pt x="484187" y="357187"/>
                  <a:pt x="477837" y="351367"/>
                  <a:pt x="469900" y="346075"/>
                </a:cubicBezTo>
                <a:cubicBezTo>
                  <a:pt x="461963" y="340783"/>
                  <a:pt x="450850" y="336021"/>
                  <a:pt x="444500" y="330200"/>
                </a:cubicBezTo>
                <a:cubicBezTo>
                  <a:pt x="438150" y="324379"/>
                  <a:pt x="437092" y="317500"/>
                  <a:pt x="431800" y="311150"/>
                </a:cubicBezTo>
                <a:cubicBezTo>
                  <a:pt x="426508" y="304800"/>
                  <a:pt x="418042" y="296862"/>
                  <a:pt x="412750" y="292100"/>
                </a:cubicBezTo>
                <a:cubicBezTo>
                  <a:pt x="407458" y="287337"/>
                  <a:pt x="400050" y="282575"/>
                  <a:pt x="400050" y="282575"/>
                </a:cubicBezTo>
                <a:cubicBezTo>
                  <a:pt x="393700" y="277813"/>
                  <a:pt x="384704" y="268817"/>
                  <a:pt x="374650" y="263525"/>
                </a:cubicBezTo>
                <a:cubicBezTo>
                  <a:pt x="364596" y="258233"/>
                  <a:pt x="339725" y="250825"/>
                  <a:pt x="339725" y="250825"/>
                </a:cubicBezTo>
                <a:cubicBezTo>
                  <a:pt x="325438" y="245533"/>
                  <a:pt x="304271" y="240242"/>
                  <a:pt x="288925" y="231775"/>
                </a:cubicBezTo>
                <a:cubicBezTo>
                  <a:pt x="273579" y="223308"/>
                  <a:pt x="257704" y="208492"/>
                  <a:pt x="247650" y="200025"/>
                </a:cubicBezTo>
                <a:cubicBezTo>
                  <a:pt x="237596" y="191558"/>
                  <a:pt x="234421" y="187325"/>
                  <a:pt x="228600" y="180975"/>
                </a:cubicBezTo>
                <a:cubicBezTo>
                  <a:pt x="222779" y="174625"/>
                  <a:pt x="218017" y="167746"/>
                  <a:pt x="212725" y="161925"/>
                </a:cubicBezTo>
                <a:cubicBezTo>
                  <a:pt x="207433" y="156104"/>
                  <a:pt x="200554" y="153458"/>
                  <a:pt x="196850" y="146050"/>
                </a:cubicBezTo>
                <a:cubicBezTo>
                  <a:pt x="193146" y="138642"/>
                  <a:pt x="192617" y="127529"/>
                  <a:pt x="190500" y="117475"/>
                </a:cubicBezTo>
                <a:cubicBezTo>
                  <a:pt x="188383" y="107421"/>
                  <a:pt x="185208" y="95250"/>
                  <a:pt x="184150" y="85725"/>
                </a:cubicBezTo>
                <a:cubicBezTo>
                  <a:pt x="183092" y="76200"/>
                  <a:pt x="186796" y="67733"/>
                  <a:pt x="184150" y="60325"/>
                </a:cubicBezTo>
                <a:cubicBezTo>
                  <a:pt x="181504" y="52917"/>
                  <a:pt x="175154" y="46567"/>
                  <a:pt x="168275" y="41275"/>
                </a:cubicBezTo>
                <a:cubicBezTo>
                  <a:pt x="161396" y="35983"/>
                  <a:pt x="142875" y="28575"/>
                  <a:pt x="142875" y="28575"/>
                </a:cubicBezTo>
                <a:cubicBezTo>
                  <a:pt x="136525" y="25400"/>
                  <a:pt x="138113" y="23813"/>
                  <a:pt x="130175" y="22225"/>
                </a:cubicBezTo>
                <a:cubicBezTo>
                  <a:pt x="122237" y="20637"/>
                  <a:pt x="104775" y="20108"/>
                  <a:pt x="95250" y="19050"/>
                </a:cubicBezTo>
                <a:cubicBezTo>
                  <a:pt x="85725" y="17992"/>
                  <a:pt x="79375" y="16404"/>
                  <a:pt x="73025" y="15875"/>
                </a:cubicBezTo>
                <a:cubicBezTo>
                  <a:pt x="66675" y="15346"/>
                  <a:pt x="65087" y="16404"/>
                  <a:pt x="57150" y="15875"/>
                </a:cubicBezTo>
                <a:cubicBezTo>
                  <a:pt x="49212" y="15346"/>
                  <a:pt x="32279" y="13758"/>
                  <a:pt x="25400" y="12700"/>
                </a:cubicBezTo>
                <a:cubicBezTo>
                  <a:pt x="18521" y="11642"/>
                  <a:pt x="20108" y="11642"/>
                  <a:pt x="15875" y="9525"/>
                </a:cubicBezTo>
                <a:cubicBezTo>
                  <a:pt x="11642" y="7408"/>
                  <a:pt x="5821" y="3704"/>
                  <a:pt x="0" y="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6" name="Полилиния 5"/>
          <p:cNvSpPr/>
          <p:nvPr/>
        </p:nvSpPr>
        <p:spPr>
          <a:xfrm>
            <a:off x="3648609" y="1195167"/>
            <a:ext cx="216552" cy="89521"/>
          </a:xfrm>
          <a:custGeom>
            <a:avLst/>
            <a:gdLst>
              <a:gd name="connsiteX0" fmla="*/ 0 w 152400"/>
              <a:gd name="connsiteY0" fmla="*/ 0 h 78581"/>
              <a:gd name="connsiteX1" fmla="*/ 45244 w 152400"/>
              <a:gd name="connsiteY1" fmla="*/ 26194 h 78581"/>
              <a:gd name="connsiteX2" fmla="*/ 61912 w 152400"/>
              <a:gd name="connsiteY2" fmla="*/ 21431 h 78581"/>
              <a:gd name="connsiteX3" fmla="*/ 78581 w 152400"/>
              <a:gd name="connsiteY3" fmla="*/ 23812 h 78581"/>
              <a:gd name="connsiteX4" fmla="*/ 92869 w 152400"/>
              <a:gd name="connsiteY4" fmla="*/ 38100 h 78581"/>
              <a:gd name="connsiteX5" fmla="*/ 102394 w 152400"/>
              <a:gd name="connsiteY5" fmla="*/ 50006 h 78581"/>
              <a:gd name="connsiteX6" fmla="*/ 126206 w 152400"/>
              <a:gd name="connsiteY6" fmla="*/ 61912 h 78581"/>
              <a:gd name="connsiteX7" fmla="*/ 142875 w 152400"/>
              <a:gd name="connsiteY7" fmla="*/ 71437 h 78581"/>
              <a:gd name="connsiteX8" fmla="*/ 152400 w 152400"/>
              <a:gd name="connsiteY8" fmla="*/ 78581 h 785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2400" h="78581">
                <a:moveTo>
                  <a:pt x="0" y="0"/>
                </a:moveTo>
                <a:cubicBezTo>
                  <a:pt x="17462" y="11311"/>
                  <a:pt x="34925" y="22622"/>
                  <a:pt x="45244" y="26194"/>
                </a:cubicBezTo>
                <a:cubicBezTo>
                  <a:pt x="55563" y="29766"/>
                  <a:pt x="56356" y="21828"/>
                  <a:pt x="61912" y="21431"/>
                </a:cubicBezTo>
                <a:cubicBezTo>
                  <a:pt x="67468" y="21034"/>
                  <a:pt x="73422" y="21034"/>
                  <a:pt x="78581" y="23812"/>
                </a:cubicBezTo>
                <a:cubicBezTo>
                  <a:pt x="83741" y="26590"/>
                  <a:pt x="88900" y="33734"/>
                  <a:pt x="92869" y="38100"/>
                </a:cubicBezTo>
                <a:cubicBezTo>
                  <a:pt x="96838" y="42466"/>
                  <a:pt x="96838" y="46037"/>
                  <a:pt x="102394" y="50006"/>
                </a:cubicBezTo>
                <a:cubicBezTo>
                  <a:pt x="107950" y="53975"/>
                  <a:pt x="119459" y="58340"/>
                  <a:pt x="126206" y="61912"/>
                </a:cubicBezTo>
                <a:cubicBezTo>
                  <a:pt x="132953" y="65484"/>
                  <a:pt x="138509" y="68659"/>
                  <a:pt x="142875" y="71437"/>
                </a:cubicBezTo>
                <a:cubicBezTo>
                  <a:pt x="147241" y="74215"/>
                  <a:pt x="150813" y="76994"/>
                  <a:pt x="152400" y="78581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69" name="Полилиния 68"/>
          <p:cNvSpPr/>
          <p:nvPr/>
        </p:nvSpPr>
        <p:spPr>
          <a:xfrm>
            <a:off x="3105565" y="662933"/>
            <a:ext cx="1238406" cy="169091"/>
          </a:xfrm>
          <a:custGeom>
            <a:avLst/>
            <a:gdLst>
              <a:gd name="connsiteX0" fmla="*/ 0 w 871537"/>
              <a:gd name="connsiteY0" fmla="*/ 42772 h 148428"/>
              <a:gd name="connsiteX1" fmla="*/ 178593 w 871537"/>
              <a:gd name="connsiteY1" fmla="*/ 9435 h 148428"/>
              <a:gd name="connsiteX2" fmla="*/ 209550 w 871537"/>
              <a:gd name="connsiteY2" fmla="*/ 38010 h 148428"/>
              <a:gd name="connsiteX3" fmla="*/ 254793 w 871537"/>
              <a:gd name="connsiteY3" fmla="*/ 64203 h 148428"/>
              <a:gd name="connsiteX4" fmla="*/ 280987 w 871537"/>
              <a:gd name="connsiteY4" fmla="*/ 85635 h 148428"/>
              <a:gd name="connsiteX5" fmla="*/ 297656 w 871537"/>
              <a:gd name="connsiteY5" fmla="*/ 114210 h 148428"/>
              <a:gd name="connsiteX6" fmla="*/ 311943 w 871537"/>
              <a:gd name="connsiteY6" fmla="*/ 128497 h 148428"/>
              <a:gd name="connsiteX7" fmla="*/ 340518 w 871537"/>
              <a:gd name="connsiteY7" fmla="*/ 142785 h 148428"/>
              <a:gd name="connsiteX8" fmla="*/ 354806 w 871537"/>
              <a:gd name="connsiteY8" fmla="*/ 147547 h 148428"/>
              <a:gd name="connsiteX9" fmla="*/ 390525 w 871537"/>
              <a:gd name="connsiteY9" fmla="*/ 147547 h 148428"/>
              <a:gd name="connsiteX10" fmla="*/ 416718 w 871537"/>
              <a:gd name="connsiteY10" fmla="*/ 147547 h 148428"/>
              <a:gd name="connsiteX11" fmla="*/ 426243 w 871537"/>
              <a:gd name="connsiteY11" fmla="*/ 135641 h 148428"/>
              <a:gd name="connsiteX12" fmla="*/ 450056 w 871537"/>
              <a:gd name="connsiteY12" fmla="*/ 107066 h 148428"/>
              <a:gd name="connsiteX13" fmla="*/ 497681 w 871537"/>
              <a:gd name="connsiteY13" fmla="*/ 76110 h 148428"/>
              <a:gd name="connsiteX14" fmla="*/ 528637 w 871537"/>
              <a:gd name="connsiteY14" fmla="*/ 61822 h 148428"/>
              <a:gd name="connsiteX15" fmla="*/ 576262 w 871537"/>
              <a:gd name="connsiteY15" fmla="*/ 35628 h 148428"/>
              <a:gd name="connsiteX16" fmla="*/ 602456 w 871537"/>
              <a:gd name="connsiteY16" fmla="*/ 23722 h 148428"/>
              <a:gd name="connsiteX17" fmla="*/ 633412 w 871537"/>
              <a:gd name="connsiteY17" fmla="*/ 14197 h 148428"/>
              <a:gd name="connsiteX18" fmla="*/ 659606 w 871537"/>
              <a:gd name="connsiteY18" fmla="*/ 2291 h 148428"/>
              <a:gd name="connsiteX19" fmla="*/ 688181 w 871537"/>
              <a:gd name="connsiteY19" fmla="*/ 2291 h 148428"/>
              <a:gd name="connsiteX20" fmla="*/ 721518 w 871537"/>
              <a:gd name="connsiteY20" fmla="*/ 26103 h 148428"/>
              <a:gd name="connsiteX21" fmla="*/ 759618 w 871537"/>
              <a:gd name="connsiteY21" fmla="*/ 38010 h 148428"/>
              <a:gd name="connsiteX22" fmla="*/ 792956 w 871537"/>
              <a:gd name="connsiteY22" fmla="*/ 54678 h 148428"/>
              <a:gd name="connsiteX23" fmla="*/ 819150 w 871537"/>
              <a:gd name="connsiteY23" fmla="*/ 76110 h 148428"/>
              <a:gd name="connsiteX24" fmla="*/ 842962 w 871537"/>
              <a:gd name="connsiteY24" fmla="*/ 83253 h 148428"/>
              <a:gd name="connsiteX25" fmla="*/ 857250 w 871537"/>
              <a:gd name="connsiteY25" fmla="*/ 90397 h 148428"/>
              <a:gd name="connsiteX26" fmla="*/ 871537 w 871537"/>
              <a:gd name="connsiteY26" fmla="*/ 97541 h 148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871537" h="148428">
                <a:moveTo>
                  <a:pt x="0" y="42772"/>
                </a:moveTo>
                <a:cubicBezTo>
                  <a:pt x="71834" y="26500"/>
                  <a:pt x="143668" y="10229"/>
                  <a:pt x="178593" y="9435"/>
                </a:cubicBezTo>
                <a:cubicBezTo>
                  <a:pt x="213518" y="8641"/>
                  <a:pt x="196850" y="28882"/>
                  <a:pt x="209550" y="38010"/>
                </a:cubicBezTo>
                <a:cubicBezTo>
                  <a:pt x="222250" y="47138"/>
                  <a:pt x="242887" y="56266"/>
                  <a:pt x="254793" y="64203"/>
                </a:cubicBezTo>
                <a:cubicBezTo>
                  <a:pt x="266699" y="72140"/>
                  <a:pt x="273843" y="77300"/>
                  <a:pt x="280987" y="85635"/>
                </a:cubicBezTo>
                <a:cubicBezTo>
                  <a:pt x="288131" y="93970"/>
                  <a:pt x="292497" y="107066"/>
                  <a:pt x="297656" y="114210"/>
                </a:cubicBezTo>
                <a:cubicBezTo>
                  <a:pt x="302815" y="121354"/>
                  <a:pt x="304799" y="123735"/>
                  <a:pt x="311943" y="128497"/>
                </a:cubicBezTo>
                <a:cubicBezTo>
                  <a:pt x="319087" y="133259"/>
                  <a:pt x="333374" y="139610"/>
                  <a:pt x="340518" y="142785"/>
                </a:cubicBezTo>
                <a:cubicBezTo>
                  <a:pt x="347662" y="145960"/>
                  <a:pt x="346472" y="146753"/>
                  <a:pt x="354806" y="147547"/>
                </a:cubicBezTo>
                <a:cubicBezTo>
                  <a:pt x="363140" y="148341"/>
                  <a:pt x="390525" y="147547"/>
                  <a:pt x="390525" y="147547"/>
                </a:cubicBezTo>
                <a:cubicBezTo>
                  <a:pt x="400844" y="147547"/>
                  <a:pt x="410765" y="149531"/>
                  <a:pt x="416718" y="147547"/>
                </a:cubicBezTo>
                <a:cubicBezTo>
                  <a:pt x="422671" y="145563"/>
                  <a:pt x="420687" y="142388"/>
                  <a:pt x="426243" y="135641"/>
                </a:cubicBezTo>
                <a:cubicBezTo>
                  <a:pt x="431799" y="128894"/>
                  <a:pt x="438150" y="116988"/>
                  <a:pt x="450056" y="107066"/>
                </a:cubicBezTo>
                <a:cubicBezTo>
                  <a:pt x="461962" y="97144"/>
                  <a:pt x="484584" y="83651"/>
                  <a:pt x="497681" y="76110"/>
                </a:cubicBezTo>
                <a:cubicBezTo>
                  <a:pt x="510778" y="68569"/>
                  <a:pt x="515540" y="68569"/>
                  <a:pt x="528637" y="61822"/>
                </a:cubicBezTo>
                <a:cubicBezTo>
                  <a:pt x="541734" y="55075"/>
                  <a:pt x="563959" y="41978"/>
                  <a:pt x="576262" y="35628"/>
                </a:cubicBezTo>
                <a:cubicBezTo>
                  <a:pt x="588565" y="29278"/>
                  <a:pt x="592931" y="27294"/>
                  <a:pt x="602456" y="23722"/>
                </a:cubicBezTo>
                <a:cubicBezTo>
                  <a:pt x="611981" y="20150"/>
                  <a:pt x="623887" y="17769"/>
                  <a:pt x="633412" y="14197"/>
                </a:cubicBezTo>
                <a:cubicBezTo>
                  <a:pt x="642937" y="10625"/>
                  <a:pt x="650478" y="4275"/>
                  <a:pt x="659606" y="2291"/>
                </a:cubicBezTo>
                <a:cubicBezTo>
                  <a:pt x="668734" y="307"/>
                  <a:pt x="677862" y="-1678"/>
                  <a:pt x="688181" y="2291"/>
                </a:cubicBezTo>
                <a:cubicBezTo>
                  <a:pt x="698500" y="6260"/>
                  <a:pt x="709612" y="20150"/>
                  <a:pt x="721518" y="26103"/>
                </a:cubicBezTo>
                <a:cubicBezTo>
                  <a:pt x="733424" y="32056"/>
                  <a:pt x="747712" y="33248"/>
                  <a:pt x="759618" y="38010"/>
                </a:cubicBezTo>
                <a:cubicBezTo>
                  <a:pt x="771524" y="42772"/>
                  <a:pt x="783034" y="48328"/>
                  <a:pt x="792956" y="54678"/>
                </a:cubicBezTo>
                <a:cubicBezTo>
                  <a:pt x="802878" y="61028"/>
                  <a:pt x="810816" y="71348"/>
                  <a:pt x="819150" y="76110"/>
                </a:cubicBezTo>
                <a:cubicBezTo>
                  <a:pt x="827484" y="80872"/>
                  <a:pt x="836612" y="80872"/>
                  <a:pt x="842962" y="83253"/>
                </a:cubicBezTo>
                <a:cubicBezTo>
                  <a:pt x="849312" y="85634"/>
                  <a:pt x="857250" y="90397"/>
                  <a:pt x="857250" y="90397"/>
                </a:cubicBezTo>
                <a:lnTo>
                  <a:pt x="871537" y="97541"/>
                </a:ln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0" name="Полилиния 69"/>
          <p:cNvSpPr/>
          <p:nvPr/>
        </p:nvSpPr>
        <p:spPr>
          <a:xfrm>
            <a:off x="2955004" y="-44949"/>
            <a:ext cx="359557" cy="678188"/>
          </a:xfrm>
          <a:custGeom>
            <a:avLst/>
            <a:gdLst>
              <a:gd name="connsiteX0" fmla="*/ 253041 w 253041"/>
              <a:gd name="connsiteY0" fmla="*/ 0 h 595313"/>
              <a:gd name="connsiteX1" fmla="*/ 248279 w 253041"/>
              <a:gd name="connsiteY1" fmla="*/ 111919 h 595313"/>
              <a:gd name="connsiteX2" fmla="*/ 236372 w 253041"/>
              <a:gd name="connsiteY2" fmla="*/ 176213 h 595313"/>
              <a:gd name="connsiteX3" fmla="*/ 224466 w 253041"/>
              <a:gd name="connsiteY3" fmla="*/ 219075 h 595313"/>
              <a:gd name="connsiteX4" fmla="*/ 214941 w 253041"/>
              <a:gd name="connsiteY4" fmla="*/ 257175 h 595313"/>
              <a:gd name="connsiteX5" fmla="*/ 198272 w 253041"/>
              <a:gd name="connsiteY5" fmla="*/ 311944 h 595313"/>
              <a:gd name="connsiteX6" fmla="*/ 183985 w 253041"/>
              <a:gd name="connsiteY6" fmla="*/ 347663 h 595313"/>
              <a:gd name="connsiteX7" fmla="*/ 167316 w 253041"/>
              <a:gd name="connsiteY7" fmla="*/ 381000 h 595313"/>
              <a:gd name="connsiteX8" fmla="*/ 143504 w 253041"/>
              <a:gd name="connsiteY8" fmla="*/ 395288 h 595313"/>
              <a:gd name="connsiteX9" fmla="*/ 122072 w 253041"/>
              <a:gd name="connsiteY9" fmla="*/ 409575 h 595313"/>
              <a:gd name="connsiteX10" fmla="*/ 83972 w 253041"/>
              <a:gd name="connsiteY10" fmla="*/ 433388 h 595313"/>
              <a:gd name="connsiteX11" fmla="*/ 62541 w 253041"/>
              <a:gd name="connsiteY11" fmla="*/ 440531 h 595313"/>
              <a:gd name="connsiteX12" fmla="*/ 33966 w 253041"/>
              <a:gd name="connsiteY12" fmla="*/ 461963 h 595313"/>
              <a:gd name="connsiteX13" fmla="*/ 19679 w 253041"/>
              <a:gd name="connsiteY13" fmla="*/ 485775 h 595313"/>
              <a:gd name="connsiteX14" fmla="*/ 7772 w 253041"/>
              <a:gd name="connsiteY14" fmla="*/ 519113 h 595313"/>
              <a:gd name="connsiteX15" fmla="*/ 629 w 253041"/>
              <a:gd name="connsiteY15" fmla="*/ 552450 h 595313"/>
              <a:gd name="connsiteX16" fmla="*/ 629 w 253041"/>
              <a:gd name="connsiteY16" fmla="*/ 573881 h 595313"/>
              <a:gd name="connsiteX17" fmla="*/ 3010 w 253041"/>
              <a:gd name="connsiteY17" fmla="*/ 595313 h 5953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253041" h="595313">
                <a:moveTo>
                  <a:pt x="253041" y="0"/>
                </a:moveTo>
                <a:cubicBezTo>
                  <a:pt x="252049" y="41275"/>
                  <a:pt x="251057" y="82550"/>
                  <a:pt x="248279" y="111919"/>
                </a:cubicBezTo>
                <a:cubicBezTo>
                  <a:pt x="245501" y="141288"/>
                  <a:pt x="240341" y="158354"/>
                  <a:pt x="236372" y="176213"/>
                </a:cubicBezTo>
                <a:cubicBezTo>
                  <a:pt x="232403" y="194072"/>
                  <a:pt x="228038" y="205581"/>
                  <a:pt x="224466" y="219075"/>
                </a:cubicBezTo>
                <a:cubicBezTo>
                  <a:pt x="220894" y="232569"/>
                  <a:pt x="219307" y="241697"/>
                  <a:pt x="214941" y="257175"/>
                </a:cubicBezTo>
                <a:cubicBezTo>
                  <a:pt x="210575" y="272653"/>
                  <a:pt x="203431" y="296863"/>
                  <a:pt x="198272" y="311944"/>
                </a:cubicBezTo>
                <a:cubicBezTo>
                  <a:pt x="193113" y="327025"/>
                  <a:pt x="189144" y="336154"/>
                  <a:pt x="183985" y="347663"/>
                </a:cubicBezTo>
                <a:cubicBezTo>
                  <a:pt x="178826" y="359172"/>
                  <a:pt x="174063" y="373063"/>
                  <a:pt x="167316" y="381000"/>
                </a:cubicBezTo>
                <a:cubicBezTo>
                  <a:pt x="160569" y="388938"/>
                  <a:pt x="151045" y="390526"/>
                  <a:pt x="143504" y="395288"/>
                </a:cubicBezTo>
                <a:cubicBezTo>
                  <a:pt x="135963" y="400050"/>
                  <a:pt x="131994" y="403225"/>
                  <a:pt x="122072" y="409575"/>
                </a:cubicBezTo>
                <a:cubicBezTo>
                  <a:pt x="112150" y="415925"/>
                  <a:pt x="93894" y="428229"/>
                  <a:pt x="83972" y="433388"/>
                </a:cubicBezTo>
                <a:cubicBezTo>
                  <a:pt x="74050" y="438547"/>
                  <a:pt x="70875" y="435769"/>
                  <a:pt x="62541" y="440531"/>
                </a:cubicBezTo>
                <a:cubicBezTo>
                  <a:pt x="54207" y="445293"/>
                  <a:pt x="41110" y="454422"/>
                  <a:pt x="33966" y="461963"/>
                </a:cubicBezTo>
                <a:cubicBezTo>
                  <a:pt x="26822" y="469504"/>
                  <a:pt x="24045" y="476250"/>
                  <a:pt x="19679" y="485775"/>
                </a:cubicBezTo>
                <a:cubicBezTo>
                  <a:pt x="15313" y="495300"/>
                  <a:pt x="10947" y="508000"/>
                  <a:pt x="7772" y="519113"/>
                </a:cubicBezTo>
                <a:cubicBezTo>
                  <a:pt x="4597" y="530226"/>
                  <a:pt x="1820" y="543322"/>
                  <a:pt x="629" y="552450"/>
                </a:cubicBezTo>
                <a:cubicBezTo>
                  <a:pt x="-562" y="561578"/>
                  <a:pt x="232" y="566737"/>
                  <a:pt x="629" y="573881"/>
                </a:cubicBezTo>
                <a:cubicBezTo>
                  <a:pt x="1026" y="581025"/>
                  <a:pt x="3010" y="595313"/>
                  <a:pt x="3010" y="595313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4" name="Полилиния 73"/>
          <p:cNvSpPr/>
          <p:nvPr/>
        </p:nvSpPr>
        <p:spPr>
          <a:xfrm>
            <a:off x="1456794" y="660366"/>
            <a:ext cx="1488952" cy="1312970"/>
          </a:xfrm>
          <a:custGeom>
            <a:avLst/>
            <a:gdLst>
              <a:gd name="connsiteX0" fmla="*/ 1047861 w 1047861"/>
              <a:gd name="connsiteY0" fmla="*/ 0 h 1152525"/>
              <a:gd name="connsiteX1" fmla="*/ 1016905 w 1047861"/>
              <a:gd name="connsiteY1" fmla="*/ 52388 h 1152525"/>
              <a:gd name="connsiteX2" fmla="*/ 981186 w 1047861"/>
              <a:gd name="connsiteY2" fmla="*/ 92869 h 1152525"/>
              <a:gd name="connsiteX3" fmla="*/ 940705 w 1047861"/>
              <a:gd name="connsiteY3" fmla="*/ 126206 h 1152525"/>
              <a:gd name="connsiteX4" fmla="*/ 900223 w 1047861"/>
              <a:gd name="connsiteY4" fmla="*/ 154781 h 1152525"/>
              <a:gd name="connsiteX5" fmla="*/ 878792 w 1047861"/>
              <a:gd name="connsiteY5" fmla="*/ 173831 h 1152525"/>
              <a:gd name="connsiteX6" fmla="*/ 859742 w 1047861"/>
              <a:gd name="connsiteY6" fmla="*/ 183356 h 1152525"/>
              <a:gd name="connsiteX7" fmla="*/ 847836 w 1047861"/>
              <a:gd name="connsiteY7" fmla="*/ 214313 h 1152525"/>
              <a:gd name="connsiteX8" fmla="*/ 814498 w 1047861"/>
              <a:gd name="connsiteY8" fmla="*/ 285750 h 1152525"/>
              <a:gd name="connsiteX9" fmla="*/ 764492 w 1047861"/>
              <a:gd name="connsiteY9" fmla="*/ 347663 h 1152525"/>
              <a:gd name="connsiteX10" fmla="*/ 740680 w 1047861"/>
              <a:gd name="connsiteY10" fmla="*/ 371475 h 1152525"/>
              <a:gd name="connsiteX11" fmla="*/ 709723 w 1047861"/>
              <a:gd name="connsiteY11" fmla="*/ 402431 h 1152525"/>
              <a:gd name="connsiteX12" fmla="*/ 681148 w 1047861"/>
              <a:gd name="connsiteY12" fmla="*/ 426244 h 1152525"/>
              <a:gd name="connsiteX13" fmla="*/ 654955 w 1047861"/>
              <a:gd name="connsiteY13" fmla="*/ 450056 h 1152525"/>
              <a:gd name="connsiteX14" fmla="*/ 633523 w 1047861"/>
              <a:gd name="connsiteY14" fmla="*/ 469106 h 1152525"/>
              <a:gd name="connsiteX15" fmla="*/ 602567 w 1047861"/>
              <a:gd name="connsiteY15" fmla="*/ 500063 h 1152525"/>
              <a:gd name="connsiteX16" fmla="*/ 562086 w 1047861"/>
              <a:gd name="connsiteY16" fmla="*/ 526256 h 1152525"/>
              <a:gd name="connsiteX17" fmla="*/ 547798 w 1047861"/>
              <a:gd name="connsiteY17" fmla="*/ 542925 h 1152525"/>
              <a:gd name="connsiteX18" fmla="*/ 538273 w 1047861"/>
              <a:gd name="connsiteY18" fmla="*/ 566738 h 1152525"/>
              <a:gd name="connsiteX19" fmla="*/ 540655 w 1047861"/>
              <a:gd name="connsiteY19" fmla="*/ 631031 h 1152525"/>
              <a:gd name="connsiteX20" fmla="*/ 531130 w 1047861"/>
              <a:gd name="connsiteY20" fmla="*/ 671513 h 1152525"/>
              <a:gd name="connsiteX21" fmla="*/ 528748 w 1047861"/>
              <a:gd name="connsiteY21" fmla="*/ 702469 h 1152525"/>
              <a:gd name="connsiteX22" fmla="*/ 523986 w 1047861"/>
              <a:gd name="connsiteY22" fmla="*/ 742950 h 1152525"/>
              <a:gd name="connsiteX23" fmla="*/ 502555 w 1047861"/>
              <a:gd name="connsiteY23" fmla="*/ 785813 h 1152525"/>
              <a:gd name="connsiteX24" fmla="*/ 481123 w 1047861"/>
              <a:gd name="connsiteY24" fmla="*/ 828675 h 1152525"/>
              <a:gd name="connsiteX25" fmla="*/ 459692 w 1047861"/>
              <a:gd name="connsiteY25" fmla="*/ 857250 h 1152525"/>
              <a:gd name="connsiteX26" fmla="*/ 428736 w 1047861"/>
              <a:gd name="connsiteY26" fmla="*/ 864394 h 1152525"/>
              <a:gd name="connsiteX27" fmla="*/ 381111 w 1047861"/>
              <a:gd name="connsiteY27" fmla="*/ 869156 h 1152525"/>
              <a:gd name="connsiteX28" fmla="*/ 333486 w 1047861"/>
              <a:gd name="connsiteY28" fmla="*/ 857250 h 1152525"/>
              <a:gd name="connsiteX29" fmla="*/ 309673 w 1047861"/>
              <a:gd name="connsiteY29" fmla="*/ 840581 h 1152525"/>
              <a:gd name="connsiteX30" fmla="*/ 273955 w 1047861"/>
              <a:gd name="connsiteY30" fmla="*/ 823913 h 1152525"/>
              <a:gd name="connsiteX31" fmla="*/ 223948 w 1047861"/>
              <a:gd name="connsiteY31" fmla="*/ 814388 h 1152525"/>
              <a:gd name="connsiteX32" fmla="*/ 176323 w 1047861"/>
              <a:gd name="connsiteY32" fmla="*/ 840581 h 1152525"/>
              <a:gd name="connsiteX33" fmla="*/ 147748 w 1047861"/>
              <a:gd name="connsiteY33" fmla="*/ 873919 h 1152525"/>
              <a:gd name="connsiteX34" fmla="*/ 116792 w 1047861"/>
              <a:gd name="connsiteY34" fmla="*/ 897731 h 1152525"/>
              <a:gd name="connsiteX35" fmla="*/ 88217 w 1047861"/>
              <a:gd name="connsiteY35" fmla="*/ 923925 h 1152525"/>
              <a:gd name="connsiteX36" fmla="*/ 64405 w 1047861"/>
              <a:gd name="connsiteY36" fmla="*/ 947738 h 1152525"/>
              <a:gd name="connsiteX37" fmla="*/ 45355 w 1047861"/>
              <a:gd name="connsiteY37" fmla="*/ 966788 h 1152525"/>
              <a:gd name="connsiteX38" fmla="*/ 26305 w 1047861"/>
              <a:gd name="connsiteY38" fmla="*/ 981075 h 1152525"/>
              <a:gd name="connsiteX39" fmla="*/ 12017 w 1047861"/>
              <a:gd name="connsiteY39" fmla="*/ 990600 h 1152525"/>
              <a:gd name="connsiteX40" fmla="*/ 111 w 1047861"/>
              <a:gd name="connsiteY40" fmla="*/ 1002506 h 1152525"/>
              <a:gd name="connsiteX41" fmla="*/ 7255 w 1047861"/>
              <a:gd name="connsiteY41" fmla="*/ 1028700 h 1152525"/>
              <a:gd name="connsiteX42" fmla="*/ 26305 w 1047861"/>
              <a:gd name="connsiteY42" fmla="*/ 1047750 h 1152525"/>
              <a:gd name="connsiteX43" fmla="*/ 45355 w 1047861"/>
              <a:gd name="connsiteY43" fmla="*/ 1071563 h 1152525"/>
              <a:gd name="connsiteX44" fmla="*/ 73930 w 1047861"/>
              <a:gd name="connsiteY44" fmla="*/ 1097756 h 1152525"/>
              <a:gd name="connsiteX45" fmla="*/ 104886 w 1047861"/>
              <a:gd name="connsiteY45" fmla="*/ 1107281 h 1152525"/>
              <a:gd name="connsiteX46" fmla="*/ 138223 w 1047861"/>
              <a:gd name="connsiteY46" fmla="*/ 1119188 h 1152525"/>
              <a:gd name="connsiteX47" fmla="*/ 171561 w 1047861"/>
              <a:gd name="connsiteY47" fmla="*/ 1123950 h 1152525"/>
              <a:gd name="connsiteX48" fmla="*/ 216805 w 1047861"/>
              <a:gd name="connsiteY48" fmla="*/ 1143000 h 1152525"/>
              <a:gd name="connsiteX49" fmla="*/ 233473 w 1047861"/>
              <a:gd name="connsiteY49" fmla="*/ 1152525 h 115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</a:cxnLst>
            <a:rect l="l" t="t" r="r" b="b"/>
            <a:pathLst>
              <a:path w="1047861" h="1152525">
                <a:moveTo>
                  <a:pt x="1047861" y="0"/>
                </a:moveTo>
                <a:cubicBezTo>
                  <a:pt x="1037939" y="18455"/>
                  <a:pt x="1028017" y="36910"/>
                  <a:pt x="1016905" y="52388"/>
                </a:cubicBezTo>
                <a:cubicBezTo>
                  <a:pt x="1005792" y="67866"/>
                  <a:pt x="993886" y="80566"/>
                  <a:pt x="981186" y="92869"/>
                </a:cubicBezTo>
                <a:cubicBezTo>
                  <a:pt x="968486" y="105172"/>
                  <a:pt x="954199" y="115887"/>
                  <a:pt x="940705" y="126206"/>
                </a:cubicBezTo>
                <a:cubicBezTo>
                  <a:pt x="927211" y="136525"/>
                  <a:pt x="910542" y="146844"/>
                  <a:pt x="900223" y="154781"/>
                </a:cubicBezTo>
                <a:cubicBezTo>
                  <a:pt x="889904" y="162718"/>
                  <a:pt x="885539" y="169069"/>
                  <a:pt x="878792" y="173831"/>
                </a:cubicBezTo>
                <a:cubicBezTo>
                  <a:pt x="872045" y="178593"/>
                  <a:pt x="864901" y="176609"/>
                  <a:pt x="859742" y="183356"/>
                </a:cubicBezTo>
                <a:cubicBezTo>
                  <a:pt x="854583" y="190103"/>
                  <a:pt x="855377" y="197247"/>
                  <a:pt x="847836" y="214313"/>
                </a:cubicBezTo>
                <a:cubicBezTo>
                  <a:pt x="840295" y="231379"/>
                  <a:pt x="828389" y="263525"/>
                  <a:pt x="814498" y="285750"/>
                </a:cubicBezTo>
                <a:cubicBezTo>
                  <a:pt x="800607" y="307975"/>
                  <a:pt x="776795" y="333376"/>
                  <a:pt x="764492" y="347663"/>
                </a:cubicBezTo>
                <a:cubicBezTo>
                  <a:pt x="752189" y="361951"/>
                  <a:pt x="740680" y="371475"/>
                  <a:pt x="740680" y="371475"/>
                </a:cubicBezTo>
                <a:cubicBezTo>
                  <a:pt x="731552" y="380603"/>
                  <a:pt x="719645" y="393303"/>
                  <a:pt x="709723" y="402431"/>
                </a:cubicBezTo>
                <a:cubicBezTo>
                  <a:pt x="699801" y="411559"/>
                  <a:pt x="690276" y="418306"/>
                  <a:pt x="681148" y="426244"/>
                </a:cubicBezTo>
                <a:cubicBezTo>
                  <a:pt x="672020" y="434182"/>
                  <a:pt x="662892" y="442912"/>
                  <a:pt x="654955" y="450056"/>
                </a:cubicBezTo>
                <a:cubicBezTo>
                  <a:pt x="647018" y="457200"/>
                  <a:pt x="642254" y="460772"/>
                  <a:pt x="633523" y="469106"/>
                </a:cubicBezTo>
                <a:cubicBezTo>
                  <a:pt x="624792" y="477440"/>
                  <a:pt x="614473" y="490538"/>
                  <a:pt x="602567" y="500063"/>
                </a:cubicBezTo>
                <a:cubicBezTo>
                  <a:pt x="590661" y="509588"/>
                  <a:pt x="571214" y="519112"/>
                  <a:pt x="562086" y="526256"/>
                </a:cubicBezTo>
                <a:cubicBezTo>
                  <a:pt x="552958" y="533400"/>
                  <a:pt x="551767" y="536178"/>
                  <a:pt x="547798" y="542925"/>
                </a:cubicBezTo>
                <a:cubicBezTo>
                  <a:pt x="543829" y="549672"/>
                  <a:pt x="539463" y="552054"/>
                  <a:pt x="538273" y="566738"/>
                </a:cubicBezTo>
                <a:cubicBezTo>
                  <a:pt x="537083" y="581422"/>
                  <a:pt x="541845" y="613569"/>
                  <a:pt x="540655" y="631031"/>
                </a:cubicBezTo>
                <a:cubicBezTo>
                  <a:pt x="539464" y="648494"/>
                  <a:pt x="533114" y="659607"/>
                  <a:pt x="531130" y="671513"/>
                </a:cubicBezTo>
                <a:cubicBezTo>
                  <a:pt x="529145" y="683419"/>
                  <a:pt x="529939" y="690563"/>
                  <a:pt x="528748" y="702469"/>
                </a:cubicBezTo>
                <a:cubicBezTo>
                  <a:pt x="527557" y="714375"/>
                  <a:pt x="528352" y="729059"/>
                  <a:pt x="523986" y="742950"/>
                </a:cubicBezTo>
                <a:cubicBezTo>
                  <a:pt x="519620" y="756841"/>
                  <a:pt x="502555" y="785813"/>
                  <a:pt x="502555" y="785813"/>
                </a:cubicBezTo>
                <a:cubicBezTo>
                  <a:pt x="495411" y="800101"/>
                  <a:pt x="488267" y="816769"/>
                  <a:pt x="481123" y="828675"/>
                </a:cubicBezTo>
                <a:cubicBezTo>
                  <a:pt x="473979" y="840581"/>
                  <a:pt x="468423" y="851297"/>
                  <a:pt x="459692" y="857250"/>
                </a:cubicBezTo>
                <a:cubicBezTo>
                  <a:pt x="450961" y="863203"/>
                  <a:pt x="441833" y="862410"/>
                  <a:pt x="428736" y="864394"/>
                </a:cubicBezTo>
                <a:cubicBezTo>
                  <a:pt x="415639" y="866378"/>
                  <a:pt x="396986" y="870347"/>
                  <a:pt x="381111" y="869156"/>
                </a:cubicBezTo>
                <a:cubicBezTo>
                  <a:pt x="365236" y="867965"/>
                  <a:pt x="345392" y="862012"/>
                  <a:pt x="333486" y="857250"/>
                </a:cubicBezTo>
                <a:cubicBezTo>
                  <a:pt x="321580" y="852488"/>
                  <a:pt x="319595" y="846137"/>
                  <a:pt x="309673" y="840581"/>
                </a:cubicBezTo>
                <a:cubicBezTo>
                  <a:pt x="299751" y="835025"/>
                  <a:pt x="288242" y="828278"/>
                  <a:pt x="273955" y="823913"/>
                </a:cubicBezTo>
                <a:cubicBezTo>
                  <a:pt x="259668" y="819548"/>
                  <a:pt x="240220" y="811610"/>
                  <a:pt x="223948" y="814388"/>
                </a:cubicBezTo>
                <a:cubicBezTo>
                  <a:pt x="207676" y="817166"/>
                  <a:pt x="189023" y="830659"/>
                  <a:pt x="176323" y="840581"/>
                </a:cubicBezTo>
                <a:cubicBezTo>
                  <a:pt x="163623" y="850503"/>
                  <a:pt x="157670" y="864394"/>
                  <a:pt x="147748" y="873919"/>
                </a:cubicBezTo>
                <a:cubicBezTo>
                  <a:pt x="137826" y="883444"/>
                  <a:pt x="126714" y="889397"/>
                  <a:pt x="116792" y="897731"/>
                </a:cubicBezTo>
                <a:cubicBezTo>
                  <a:pt x="106870" y="906065"/>
                  <a:pt x="96948" y="915591"/>
                  <a:pt x="88217" y="923925"/>
                </a:cubicBezTo>
                <a:cubicBezTo>
                  <a:pt x="79486" y="932259"/>
                  <a:pt x="64405" y="947738"/>
                  <a:pt x="64405" y="947738"/>
                </a:cubicBezTo>
                <a:cubicBezTo>
                  <a:pt x="57261" y="954882"/>
                  <a:pt x="51705" y="961232"/>
                  <a:pt x="45355" y="966788"/>
                </a:cubicBezTo>
                <a:cubicBezTo>
                  <a:pt x="39005" y="972344"/>
                  <a:pt x="31861" y="977106"/>
                  <a:pt x="26305" y="981075"/>
                </a:cubicBezTo>
                <a:cubicBezTo>
                  <a:pt x="20749" y="985044"/>
                  <a:pt x="16382" y="987028"/>
                  <a:pt x="12017" y="990600"/>
                </a:cubicBezTo>
                <a:cubicBezTo>
                  <a:pt x="7652" y="994172"/>
                  <a:pt x="905" y="996156"/>
                  <a:pt x="111" y="1002506"/>
                </a:cubicBezTo>
                <a:cubicBezTo>
                  <a:pt x="-683" y="1008856"/>
                  <a:pt x="2889" y="1021159"/>
                  <a:pt x="7255" y="1028700"/>
                </a:cubicBezTo>
                <a:cubicBezTo>
                  <a:pt x="11621" y="1036241"/>
                  <a:pt x="19955" y="1040606"/>
                  <a:pt x="26305" y="1047750"/>
                </a:cubicBezTo>
                <a:cubicBezTo>
                  <a:pt x="32655" y="1054894"/>
                  <a:pt x="37417" y="1063229"/>
                  <a:pt x="45355" y="1071563"/>
                </a:cubicBezTo>
                <a:cubicBezTo>
                  <a:pt x="53293" y="1079897"/>
                  <a:pt x="64008" y="1091803"/>
                  <a:pt x="73930" y="1097756"/>
                </a:cubicBezTo>
                <a:cubicBezTo>
                  <a:pt x="83852" y="1103709"/>
                  <a:pt x="94170" y="1103709"/>
                  <a:pt x="104886" y="1107281"/>
                </a:cubicBezTo>
                <a:cubicBezTo>
                  <a:pt x="115601" y="1110853"/>
                  <a:pt x="127111" y="1116410"/>
                  <a:pt x="138223" y="1119188"/>
                </a:cubicBezTo>
                <a:cubicBezTo>
                  <a:pt x="149335" y="1121966"/>
                  <a:pt x="158464" y="1119981"/>
                  <a:pt x="171561" y="1123950"/>
                </a:cubicBezTo>
                <a:cubicBezTo>
                  <a:pt x="184658" y="1127919"/>
                  <a:pt x="206486" y="1138238"/>
                  <a:pt x="216805" y="1143000"/>
                </a:cubicBezTo>
                <a:cubicBezTo>
                  <a:pt x="227124" y="1147762"/>
                  <a:pt x="233473" y="1152525"/>
                  <a:pt x="233473" y="1152525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5" name="Полилиния 74"/>
          <p:cNvSpPr/>
          <p:nvPr/>
        </p:nvSpPr>
        <p:spPr>
          <a:xfrm>
            <a:off x="1773843" y="1964843"/>
            <a:ext cx="1695194" cy="773191"/>
          </a:xfrm>
          <a:custGeom>
            <a:avLst/>
            <a:gdLst>
              <a:gd name="connsiteX0" fmla="*/ 0 w 1193006"/>
              <a:gd name="connsiteY0" fmla="*/ 0 h 678707"/>
              <a:gd name="connsiteX1" fmla="*/ 59531 w 1193006"/>
              <a:gd name="connsiteY1" fmla="*/ 38100 h 678707"/>
              <a:gd name="connsiteX2" fmla="*/ 80962 w 1193006"/>
              <a:gd name="connsiteY2" fmla="*/ 45244 h 678707"/>
              <a:gd name="connsiteX3" fmla="*/ 111919 w 1193006"/>
              <a:gd name="connsiteY3" fmla="*/ 54769 h 678707"/>
              <a:gd name="connsiteX4" fmla="*/ 142875 w 1193006"/>
              <a:gd name="connsiteY4" fmla="*/ 64294 h 678707"/>
              <a:gd name="connsiteX5" fmla="*/ 152400 w 1193006"/>
              <a:gd name="connsiteY5" fmla="*/ 83344 h 678707"/>
              <a:gd name="connsiteX6" fmla="*/ 161925 w 1193006"/>
              <a:gd name="connsiteY6" fmla="*/ 128588 h 678707"/>
              <a:gd name="connsiteX7" fmla="*/ 169069 w 1193006"/>
              <a:gd name="connsiteY7" fmla="*/ 161925 h 678707"/>
              <a:gd name="connsiteX8" fmla="*/ 176212 w 1193006"/>
              <a:gd name="connsiteY8" fmla="*/ 204788 h 678707"/>
              <a:gd name="connsiteX9" fmla="*/ 183356 w 1193006"/>
              <a:gd name="connsiteY9" fmla="*/ 235744 h 678707"/>
              <a:gd name="connsiteX10" fmla="*/ 197644 w 1193006"/>
              <a:gd name="connsiteY10" fmla="*/ 271463 h 678707"/>
              <a:gd name="connsiteX11" fmla="*/ 204787 w 1193006"/>
              <a:gd name="connsiteY11" fmla="*/ 285750 h 678707"/>
              <a:gd name="connsiteX12" fmla="*/ 238125 w 1193006"/>
              <a:gd name="connsiteY12" fmla="*/ 321469 h 678707"/>
              <a:gd name="connsiteX13" fmla="*/ 314325 w 1193006"/>
              <a:gd name="connsiteY13" fmla="*/ 378619 h 678707"/>
              <a:gd name="connsiteX14" fmla="*/ 335756 w 1193006"/>
              <a:gd name="connsiteY14" fmla="*/ 397669 h 678707"/>
              <a:gd name="connsiteX15" fmla="*/ 354806 w 1193006"/>
              <a:gd name="connsiteY15" fmla="*/ 411957 h 678707"/>
              <a:gd name="connsiteX16" fmla="*/ 381000 w 1193006"/>
              <a:gd name="connsiteY16" fmla="*/ 428625 h 678707"/>
              <a:gd name="connsiteX17" fmla="*/ 404812 w 1193006"/>
              <a:gd name="connsiteY17" fmla="*/ 438150 h 678707"/>
              <a:gd name="connsiteX18" fmla="*/ 435769 w 1193006"/>
              <a:gd name="connsiteY18" fmla="*/ 452438 h 678707"/>
              <a:gd name="connsiteX19" fmla="*/ 450056 w 1193006"/>
              <a:gd name="connsiteY19" fmla="*/ 485775 h 678707"/>
              <a:gd name="connsiteX20" fmla="*/ 459581 w 1193006"/>
              <a:gd name="connsiteY20" fmla="*/ 540544 h 678707"/>
              <a:gd name="connsiteX21" fmla="*/ 473869 w 1193006"/>
              <a:gd name="connsiteY21" fmla="*/ 578644 h 678707"/>
              <a:gd name="connsiteX22" fmla="*/ 483394 w 1193006"/>
              <a:gd name="connsiteY22" fmla="*/ 600075 h 678707"/>
              <a:gd name="connsiteX23" fmla="*/ 492919 w 1193006"/>
              <a:gd name="connsiteY23" fmla="*/ 631032 h 678707"/>
              <a:gd name="connsiteX24" fmla="*/ 509587 w 1193006"/>
              <a:gd name="connsiteY24" fmla="*/ 659607 h 678707"/>
              <a:gd name="connsiteX25" fmla="*/ 528637 w 1193006"/>
              <a:gd name="connsiteY25" fmla="*/ 673894 h 678707"/>
              <a:gd name="connsiteX26" fmla="*/ 578644 w 1193006"/>
              <a:gd name="connsiteY26" fmla="*/ 678657 h 678707"/>
              <a:gd name="connsiteX27" fmla="*/ 652462 w 1193006"/>
              <a:gd name="connsiteY27" fmla="*/ 671513 h 678707"/>
              <a:gd name="connsiteX28" fmla="*/ 695325 w 1193006"/>
              <a:gd name="connsiteY28" fmla="*/ 669132 h 678707"/>
              <a:gd name="connsiteX29" fmla="*/ 726281 w 1193006"/>
              <a:gd name="connsiteY29" fmla="*/ 664369 h 678707"/>
              <a:gd name="connsiteX30" fmla="*/ 776287 w 1193006"/>
              <a:gd name="connsiteY30" fmla="*/ 661988 h 678707"/>
              <a:gd name="connsiteX31" fmla="*/ 826294 w 1193006"/>
              <a:gd name="connsiteY31" fmla="*/ 666750 h 678707"/>
              <a:gd name="connsiteX32" fmla="*/ 876300 w 1193006"/>
              <a:gd name="connsiteY32" fmla="*/ 664369 h 678707"/>
              <a:gd name="connsiteX33" fmla="*/ 907256 w 1193006"/>
              <a:gd name="connsiteY33" fmla="*/ 647700 h 678707"/>
              <a:gd name="connsiteX34" fmla="*/ 933450 w 1193006"/>
              <a:gd name="connsiteY34" fmla="*/ 640557 h 678707"/>
              <a:gd name="connsiteX35" fmla="*/ 969169 w 1193006"/>
              <a:gd name="connsiteY35" fmla="*/ 619125 h 678707"/>
              <a:gd name="connsiteX36" fmla="*/ 992981 w 1193006"/>
              <a:gd name="connsiteY36" fmla="*/ 592932 h 678707"/>
              <a:gd name="connsiteX37" fmla="*/ 1042987 w 1193006"/>
              <a:gd name="connsiteY37" fmla="*/ 564357 h 678707"/>
              <a:gd name="connsiteX38" fmla="*/ 1062037 w 1193006"/>
              <a:gd name="connsiteY38" fmla="*/ 538163 h 678707"/>
              <a:gd name="connsiteX39" fmla="*/ 1090612 w 1193006"/>
              <a:gd name="connsiteY39" fmla="*/ 516732 h 678707"/>
              <a:gd name="connsiteX40" fmla="*/ 1131094 w 1193006"/>
              <a:gd name="connsiteY40" fmla="*/ 492919 h 678707"/>
              <a:gd name="connsiteX41" fmla="*/ 1164431 w 1193006"/>
              <a:gd name="connsiteY41" fmla="*/ 469107 h 678707"/>
              <a:gd name="connsiteX42" fmla="*/ 1185862 w 1193006"/>
              <a:gd name="connsiteY42" fmla="*/ 461963 h 678707"/>
              <a:gd name="connsiteX43" fmla="*/ 1193006 w 1193006"/>
              <a:gd name="connsiteY43" fmla="*/ 457200 h 67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1193006" h="678707">
                <a:moveTo>
                  <a:pt x="0" y="0"/>
                </a:moveTo>
                <a:cubicBezTo>
                  <a:pt x="23018" y="15279"/>
                  <a:pt x="46037" y="30559"/>
                  <a:pt x="59531" y="38100"/>
                </a:cubicBezTo>
                <a:cubicBezTo>
                  <a:pt x="73025" y="45641"/>
                  <a:pt x="72231" y="42466"/>
                  <a:pt x="80962" y="45244"/>
                </a:cubicBezTo>
                <a:cubicBezTo>
                  <a:pt x="89693" y="48022"/>
                  <a:pt x="111919" y="54769"/>
                  <a:pt x="111919" y="54769"/>
                </a:cubicBezTo>
                <a:cubicBezTo>
                  <a:pt x="122238" y="57944"/>
                  <a:pt x="136128" y="59532"/>
                  <a:pt x="142875" y="64294"/>
                </a:cubicBezTo>
                <a:cubicBezTo>
                  <a:pt x="149622" y="69056"/>
                  <a:pt x="149225" y="72628"/>
                  <a:pt x="152400" y="83344"/>
                </a:cubicBezTo>
                <a:cubicBezTo>
                  <a:pt x="155575" y="94060"/>
                  <a:pt x="159147" y="115491"/>
                  <a:pt x="161925" y="128588"/>
                </a:cubicBezTo>
                <a:cubicBezTo>
                  <a:pt x="164703" y="141685"/>
                  <a:pt x="166688" y="149225"/>
                  <a:pt x="169069" y="161925"/>
                </a:cubicBezTo>
                <a:cubicBezTo>
                  <a:pt x="171450" y="174625"/>
                  <a:pt x="173831" y="192485"/>
                  <a:pt x="176212" y="204788"/>
                </a:cubicBezTo>
                <a:cubicBezTo>
                  <a:pt x="178593" y="217091"/>
                  <a:pt x="179784" y="224632"/>
                  <a:pt x="183356" y="235744"/>
                </a:cubicBezTo>
                <a:cubicBezTo>
                  <a:pt x="186928" y="246857"/>
                  <a:pt x="194072" y="263129"/>
                  <a:pt x="197644" y="271463"/>
                </a:cubicBezTo>
                <a:cubicBezTo>
                  <a:pt x="201216" y="279797"/>
                  <a:pt x="198040" y="277416"/>
                  <a:pt x="204787" y="285750"/>
                </a:cubicBezTo>
                <a:cubicBezTo>
                  <a:pt x="211534" y="294084"/>
                  <a:pt x="219869" y="305991"/>
                  <a:pt x="238125" y="321469"/>
                </a:cubicBezTo>
                <a:cubicBezTo>
                  <a:pt x="256381" y="336947"/>
                  <a:pt x="298053" y="365919"/>
                  <a:pt x="314325" y="378619"/>
                </a:cubicBezTo>
                <a:cubicBezTo>
                  <a:pt x="330597" y="391319"/>
                  <a:pt x="329009" y="392113"/>
                  <a:pt x="335756" y="397669"/>
                </a:cubicBezTo>
                <a:cubicBezTo>
                  <a:pt x="342503" y="403225"/>
                  <a:pt x="347265" y="406798"/>
                  <a:pt x="354806" y="411957"/>
                </a:cubicBezTo>
                <a:cubicBezTo>
                  <a:pt x="362347" y="417116"/>
                  <a:pt x="372666" y="424259"/>
                  <a:pt x="381000" y="428625"/>
                </a:cubicBezTo>
                <a:cubicBezTo>
                  <a:pt x="389334" y="432991"/>
                  <a:pt x="395684" y="434181"/>
                  <a:pt x="404812" y="438150"/>
                </a:cubicBezTo>
                <a:cubicBezTo>
                  <a:pt x="413940" y="442119"/>
                  <a:pt x="428228" y="444501"/>
                  <a:pt x="435769" y="452438"/>
                </a:cubicBezTo>
                <a:cubicBezTo>
                  <a:pt x="443310" y="460375"/>
                  <a:pt x="446087" y="471091"/>
                  <a:pt x="450056" y="485775"/>
                </a:cubicBezTo>
                <a:cubicBezTo>
                  <a:pt x="454025" y="500459"/>
                  <a:pt x="455612" y="525066"/>
                  <a:pt x="459581" y="540544"/>
                </a:cubicBezTo>
                <a:cubicBezTo>
                  <a:pt x="463550" y="556022"/>
                  <a:pt x="469900" y="568722"/>
                  <a:pt x="473869" y="578644"/>
                </a:cubicBezTo>
                <a:cubicBezTo>
                  <a:pt x="477838" y="588566"/>
                  <a:pt x="480219" y="591344"/>
                  <a:pt x="483394" y="600075"/>
                </a:cubicBezTo>
                <a:cubicBezTo>
                  <a:pt x="486569" y="608806"/>
                  <a:pt x="488554" y="621110"/>
                  <a:pt x="492919" y="631032"/>
                </a:cubicBezTo>
                <a:cubicBezTo>
                  <a:pt x="497284" y="640954"/>
                  <a:pt x="503634" y="652463"/>
                  <a:pt x="509587" y="659607"/>
                </a:cubicBezTo>
                <a:cubicBezTo>
                  <a:pt x="515540" y="666751"/>
                  <a:pt x="517128" y="670719"/>
                  <a:pt x="528637" y="673894"/>
                </a:cubicBezTo>
                <a:cubicBezTo>
                  <a:pt x="540146" y="677069"/>
                  <a:pt x="558007" y="679054"/>
                  <a:pt x="578644" y="678657"/>
                </a:cubicBezTo>
                <a:cubicBezTo>
                  <a:pt x="599281" y="678260"/>
                  <a:pt x="633015" y="673100"/>
                  <a:pt x="652462" y="671513"/>
                </a:cubicBezTo>
                <a:cubicBezTo>
                  <a:pt x="671909" y="669926"/>
                  <a:pt x="683022" y="670323"/>
                  <a:pt x="695325" y="669132"/>
                </a:cubicBezTo>
                <a:cubicBezTo>
                  <a:pt x="707628" y="667941"/>
                  <a:pt x="712787" y="665560"/>
                  <a:pt x="726281" y="664369"/>
                </a:cubicBezTo>
                <a:cubicBezTo>
                  <a:pt x="739775" y="663178"/>
                  <a:pt x="759618" y="661591"/>
                  <a:pt x="776287" y="661988"/>
                </a:cubicBezTo>
                <a:cubicBezTo>
                  <a:pt x="792956" y="662385"/>
                  <a:pt x="809625" y="666353"/>
                  <a:pt x="826294" y="666750"/>
                </a:cubicBezTo>
                <a:cubicBezTo>
                  <a:pt x="842963" y="667147"/>
                  <a:pt x="862806" y="667544"/>
                  <a:pt x="876300" y="664369"/>
                </a:cubicBezTo>
                <a:cubicBezTo>
                  <a:pt x="889794" y="661194"/>
                  <a:pt x="897731" y="651669"/>
                  <a:pt x="907256" y="647700"/>
                </a:cubicBezTo>
                <a:cubicBezTo>
                  <a:pt x="916781" y="643731"/>
                  <a:pt x="923131" y="645319"/>
                  <a:pt x="933450" y="640557"/>
                </a:cubicBezTo>
                <a:cubicBezTo>
                  <a:pt x="943769" y="635795"/>
                  <a:pt x="959247" y="627063"/>
                  <a:pt x="969169" y="619125"/>
                </a:cubicBezTo>
                <a:cubicBezTo>
                  <a:pt x="979091" y="611187"/>
                  <a:pt x="980678" y="602060"/>
                  <a:pt x="992981" y="592932"/>
                </a:cubicBezTo>
                <a:cubicBezTo>
                  <a:pt x="1005284" y="583804"/>
                  <a:pt x="1031478" y="573485"/>
                  <a:pt x="1042987" y="564357"/>
                </a:cubicBezTo>
                <a:cubicBezTo>
                  <a:pt x="1054496" y="555229"/>
                  <a:pt x="1054100" y="546100"/>
                  <a:pt x="1062037" y="538163"/>
                </a:cubicBezTo>
                <a:cubicBezTo>
                  <a:pt x="1069974" y="530226"/>
                  <a:pt x="1079103" y="524273"/>
                  <a:pt x="1090612" y="516732"/>
                </a:cubicBezTo>
                <a:cubicBezTo>
                  <a:pt x="1102121" y="509191"/>
                  <a:pt x="1118791" y="500856"/>
                  <a:pt x="1131094" y="492919"/>
                </a:cubicBezTo>
                <a:cubicBezTo>
                  <a:pt x="1143397" y="484982"/>
                  <a:pt x="1155303" y="474266"/>
                  <a:pt x="1164431" y="469107"/>
                </a:cubicBezTo>
                <a:cubicBezTo>
                  <a:pt x="1173559" y="463948"/>
                  <a:pt x="1181100" y="463947"/>
                  <a:pt x="1185862" y="461963"/>
                </a:cubicBezTo>
                <a:cubicBezTo>
                  <a:pt x="1190624" y="459979"/>
                  <a:pt x="1191815" y="458589"/>
                  <a:pt x="1193006" y="45720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6" name="Полилиния 75"/>
          <p:cNvSpPr/>
          <p:nvPr/>
        </p:nvSpPr>
        <p:spPr>
          <a:xfrm>
            <a:off x="1177452" y="1807541"/>
            <a:ext cx="270689" cy="18888"/>
          </a:xfrm>
          <a:custGeom>
            <a:avLst/>
            <a:gdLst>
              <a:gd name="connsiteX0" fmla="*/ 190500 w 190500"/>
              <a:gd name="connsiteY0" fmla="*/ 16580 h 16580"/>
              <a:gd name="connsiteX1" fmla="*/ 123825 w 190500"/>
              <a:gd name="connsiteY1" fmla="*/ 10230 h 16580"/>
              <a:gd name="connsiteX2" fmla="*/ 76200 w 190500"/>
              <a:gd name="connsiteY2" fmla="*/ 705 h 16580"/>
              <a:gd name="connsiteX3" fmla="*/ 44450 w 190500"/>
              <a:gd name="connsiteY3" fmla="*/ 705 h 16580"/>
              <a:gd name="connsiteX4" fmla="*/ 15875 w 190500"/>
              <a:gd name="connsiteY4" fmla="*/ 705 h 16580"/>
              <a:gd name="connsiteX5" fmla="*/ 0 w 190500"/>
              <a:gd name="connsiteY5" fmla="*/ 3880 h 1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0500" h="16580">
                <a:moveTo>
                  <a:pt x="190500" y="16580"/>
                </a:moveTo>
                <a:cubicBezTo>
                  <a:pt x="166687" y="14728"/>
                  <a:pt x="142875" y="12876"/>
                  <a:pt x="123825" y="10230"/>
                </a:cubicBezTo>
                <a:cubicBezTo>
                  <a:pt x="104775" y="7584"/>
                  <a:pt x="89429" y="2292"/>
                  <a:pt x="76200" y="705"/>
                </a:cubicBezTo>
                <a:cubicBezTo>
                  <a:pt x="62971" y="-882"/>
                  <a:pt x="44450" y="705"/>
                  <a:pt x="44450" y="705"/>
                </a:cubicBezTo>
                <a:cubicBezTo>
                  <a:pt x="34396" y="705"/>
                  <a:pt x="23283" y="176"/>
                  <a:pt x="15875" y="705"/>
                </a:cubicBezTo>
                <a:cubicBezTo>
                  <a:pt x="8467" y="1234"/>
                  <a:pt x="4233" y="2557"/>
                  <a:pt x="0" y="388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77" name="Полилиния 76"/>
          <p:cNvSpPr/>
          <p:nvPr/>
        </p:nvSpPr>
        <p:spPr>
          <a:xfrm>
            <a:off x="3839475" y="166647"/>
            <a:ext cx="565432" cy="455741"/>
          </a:xfrm>
          <a:custGeom>
            <a:avLst/>
            <a:gdLst>
              <a:gd name="connsiteX0" fmla="*/ 2062 w 397927"/>
              <a:gd name="connsiteY0" fmla="*/ 0 h 400050"/>
              <a:gd name="connsiteX1" fmla="*/ 2062 w 397927"/>
              <a:gd name="connsiteY1" fmla="*/ 76200 h 400050"/>
              <a:gd name="connsiteX2" fmla="*/ 23493 w 397927"/>
              <a:gd name="connsiteY2" fmla="*/ 126206 h 400050"/>
              <a:gd name="connsiteX3" fmla="*/ 33018 w 397927"/>
              <a:gd name="connsiteY3" fmla="*/ 145256 h 400050"/>
              <a:gd name="connsiteX4" fmla="*/ 66356 w 397927"/>
              <a:gd name="connsiteY4" fmla="*/ 157162 h 400050"/>
              <a:gd name="connsiteX5" fmla="*/ 99693 w 397927"/>
              <a:gd name="connsiteY5" fmla="*/ 166687 h 400050"/>
              <a:gd name="connsiteX6" fmla="*/ 156843 w 397927"/>
              <a:gd name="connsiteY6" fmla="*/ 173831 h 400050"/>
              <a:gd name="connsiteX7" fmla="*/ 192562 w 397927"/>
              <a:gd name="connsiteY7" fmla="*/ 180975 h 400050"/>
              <a:gd name="connsiteX8" fmla="*/ 223518 w 397927"/>
              <a:gd name="connsiteY8" fmla="*/ 190500 h 400050"/>
              <a:gd name="connsiteX9" fmla="*/ 264000 w 397927"/>
              <a:gd name="connsiteY9" fmla="*/ 195262 h 400050"/>
              <a:gd name="connsiteX10" fmla="*/ 292575 w 397927"/>
              <a:gd name="connsiteY10" fmla="*/ 204787 h 400050"/>
              <a:gd name="connsiteX11" fmla="*/ 316387 w 397927"/>
              <a:gd name="connsiteY11" fmla="*/ 223837 h 400050"/>
              <a:gd name="connsiteX12" fmla="*/ 349725 w 397927"/>
              <a:gd name="connsiteY12" fmla="*/ 245268 h 400050"/>
              <a:gd name="connsiteX13" fmla="*/ 371156 w 397927"/>
              <a:gd name="connsiteY13" fmla="*/ 280987 h 400050"/>
              <a:gd name="connsiteX14" fmla="*/ 385443 w 397927"/>
              <a:gd name="connsiteY14" fmla="*/ 300037 h 400050"/>
              <a:gd name="connsiteX15" fmla="*/ 397350 w 397927"/>
              <a:gd name="connsiteY15" fmla="*/ 326231 h 400050"/>
              <a:gd name="connsiteX16" fmla="*/ 394968 w 397927"/>
              <a:gd name="connsiteY16" fmla="*/ 342900 h 400050"/>
              <a:gd name="connsiteX17" fmla="*/ 385443 w 397927"/>
              <a:gd name="connsiteY17" fmla="*/ 364331 h 400050"/>
              <a:gd name="connsiteX18" fmla="*/ 375918 w 397927"/>
              <a:gd name="connsiteY18" fmla="*/ 381000 h 400050"/>
              <a:gd name="connsiteX19" fmla="*/ 371156 w 397927"/>
              <a:gd name="connsiteY19" fmla="*/ 390525 h 400050"/>
              <a:gd name="connsiteX20" fmla="*/ 368775 w 397927"/>
              <a:gd name="connsiteY20" fmla="*/ 400050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97927" h="400050">
                <a:moveTo>
                  <a:pt x="2062" y="0"/>
                </a:moveTo>
                <a:cubicBezTo>
                  <a:pt x="276" y="27583"/>
                  <a:pt x="-1510" y="55166"/>
                  <a:pt x="2062" y="76200"/>
                </a:cubicBezTo>
                <a:cubicBezTo>
                  <a:pt x="5634" y="97234"/>
                  <a:pt x="18334" y="114697"/>
                  <a:pt x="23493" y="126206"/>
                </a:cubicBezTo>
                <a:cubicBezTo>
                  <a:pt x="28652" y="137715"/>
                  <a:pt x="25874" y="140097"/>
                  <a:pt x="33018" y="145256"/>
                </a:cubicBezTo>
                <a:cubicBezTo>
                  <a:pt x="40162" y="150415"/>
                  <a:pt x="55244" y="153590"/>
                  <a:pt x="66356" y="157162"/>
                </a:cubicBezTo>
                <a:cubicBezTo>
                  <a:pt x="77468" y="160734"/>
                  <a:pt x="84612" y="163909"/>
                  <a:pt x="99693" y="166687"/>
                </a:cubicBezTo>
                <a:cubicBezTo>
                  <a:pt x="114774" y="169465"/>
                  <a:pt x="141365" y="171450"/>
                  <a:pt x="156843" y="173831"/>
                </a:cubicBezTo>
                <a:cubicBezTo>
                  <a:pt x="172321" y="176212"/>
                  <a:pt x="181450" y="178197"/>
                  <a:pt x="192562" y="180975"/>
                </a:cubicBezTo>
                <a:cubicBezTo>
                  <a:pt x="203674" y="183753"/>
                  <a:pt x="211612" y="188119"/>
                  <a:pt x="223518" y="190500"/>
                </a:cubicBezTo>
                <a:cubicBezTo>
                  <a:pt x="235424" y="192881"/>
                  <a:pt x="252491" y="192881"/>
                  <a:pt x="264000" y="195262"/>
                </a:cubicBezTo>
                <a:cubicBezTo>
                  <a:pt x="275509" y="197643"/>
                  <a:pt x="283844" y="200025"/>
                  <a:pt x="292575" y="204787"/>
                </a:cubicBezTo>
                <a:cubicBezTo>
                  <a:pt x="301306" y="209549"/>
                  <a:pt x="306862" y="217090"/>
                  <a:pt x="316387" y="223837"/>
                </a:cubicBezTo>
                <a:cubicBezTo>
                  <a:pt x="325912" y="230584"/>
                  <a:pt x="340597" y="235743"/>
                  <a:pt x="349725" y="245268"/>
                </a:cubicBezTo>
                <a:cubicBezTo>
                  <a:pt x="358853" y="254793"/>
                  <a:pt x="365203" y="271859"/>
                  <a:pt x="371156" y="280987"/>
                </a:cubicBezTo>
                <a:cubicBezTo>
                  <a:pt x="377109" y="290115"/>
                  <a:pt x="381077" y="292496"/>
                  <a:pt x="385443" y="300037"/>
                </a:cubicBezTo>
                <a:cubicBezTo>
                  <a:pt x="389809" y="307578"/>
                  <a:pt x="395763" y="319087"/>
                  <a:pt x="397350" y="326231"/>
                </a:cubicBezTo>
                <a:cubicBezTo>
                  <a:pt x="398938" y="333375"/>
                  <a:pt x="396953" y="336550"/>
                  <a:pt x="394968" y="342900"/>
                </a:cubicBezTo>
                <a:cubicBezTo>
                  <a:pt x="392984" y="349250"/>
                  <a:pt x="388618" y="357981"/>
                  <a:pt x="385443" y="364331"/>
                </a:cubicBezTo>
                <a:cubicBezTo>
                  <a:pt x="382268" y="370681"/>
                  <a:pt x="378299" y="376634"/>
                  <a:pt x="375918" y="381000"/>
                </a:cubicBezTo>
                <a:cubicBezTo>
                  <a:pt x="373537" y="385366"/>
                  <a:pt x="372346" y="387350"/>
                  <a:pt x="371156" y="390525"/>
                </a:cubicBezTo>
                <a:cubicBezTo>
                  <a:pt x="369966" y="393700"/>
                  <a:pt x="369172" y="397272"/>
                  <a:pt x="368775" y="40005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0" name="Полилиния 79"/>
          <p:cNvSpPr/>
          <p:nvPr/>
        </p:nvSpPr>
        <p:spPr>
          <a:xfrm>
            <a:off x="4749216" y="741749"/>
            <a:ext cx="466940" cy="122483"/>
          </a:xfrm>
          <a:custGeom>
            <a:avLst/>
            <a:gdLst>
              <a:gd name="connsiteX0" fmla="*/ 0 w 328613"/>
              <a:gd name="connsiteY0" fmla="*/ 0 h 107516"/>
              <a:gd name="connsiteX1" fmla="*/ 42863 w 328613"/>
              <a:gd name="connsiteY1" fmla="*/ 42862 h 107516"/>
              <a:gd name="connsiteX2" fmla="*/ 78581 w 328613"/>
              <a:gd name="connsiteY2" fmla="*/ 59531 h 107516"/>
              <a:gd name="connsiteX3" fmla="*/ 116681 w 328613"/>
              <a:gd name="connsiteY3" fmla="*/ 76200 h 107516"/>
              <a:gd name="connsiteX4" fmla="*/ 166688 w 328613"/>
              <a:gd name="connsiteY4" fmla="*/ 92868 h 107516"/>
              <a:gd name="connsiteX5" fmla="*/ 195263 w 328613"/>
              <a:gd name="connsiteY5" fmla="*/ 100012 h 107516"/>
              <a:gd name="connsiteX6" fmla="*/ 219075 w 328613"/>
              <a:gd name="connsiteY6" fmla="*/ 107156 h 107516"/>
              <a:gd name="connsiteX7" fmla="*/ 233363 w 328613"/>
              <a:gd name="connsiteY7" fmla="*/ 88106 h 107516"/>
              <a:gd name="connsiteX8" fmla="*/ 247650 w 328613"/>
              <a:gd name="connsiteY8" fmla="*/ 66675 h 107516"/>
              <a:gd name="connsiteX9" fmla="*/ 271463 w 328613"/>
              <a:gd name="connsiteY9" fmla="*/ 47625 h 107516"/>
              <a:gd name="connsiteX10" fmla="*/ 290513 w 328613"/>
              <a:gd name="connsiteY10" fmla="*/ 33337 h 107516"/>
              <a:gd name="connsiteX11" fmla="*/ 307181 w 328613"/>
              <a:gd name="connsiteY11" fmla="*/ 16668 h 107516"/>
              <a:gd name="connsiteX12" fmla="*/ 319088 w 328613"/>
              <a:gd name="connsiteY12" fmla="*/ 4762 h 107516"/>
              <a:gd name="connsiteX13" fmla="*/ 328613 w 328613"/>
              <a:gd name="connsiteY13" fmla="*/ 0 h 107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28613" h="107516">
                <a:moveTo>
                  <a:pt x="0" y="0"/>
                </a:moveTo>
                <a:cubicBezTo>
                  <a:pt x="14883" y="16470"/>
                  <a:pt x="29766" y="32940"/>
                  <a:pt x="42863" y="42862"/>
                </a:cubicBezTo>
                <a:cubicBezTo>
                  <a:pt x="55960" y="52784"/>
                  <a:pt x="66278" y="53975"/>
                  <a:pt x="78581" y="59531"/>
                </a:cubicBezTo>
                <a:cubicBezTo>
                  <a:pt x="90884" y="65087"/>
                  <a:pt x="101997" y="70644"/>
                  <a:pt x="116681" y="76200"/>
                </a:cubicBezTo>
                <a:cubicBezTo>
                  <a:pt x="131365" y="81756"/>
                  <a:pt x="153591" y="88899"/>
                  <a:pt x="166688" y="92868"/>
                </a:cubicBezTo>
                <a:cubicBezTo>
                  <a:pt x="179785" y="96837"/>
                  <a:pt x="186532" y="97631"/>
                  <a:pt x="195263" y="100012"/>
                </a:cubicBezTo>
                <a:cubicBezTo>
                  <a:pt x="203994" y="102393"/>
                  <a:pt x="212725" y="109140"/>
                  <a:pt x="219075" y="107156"/>
                </a:cubicBezTo>
                <a:cubicBezTo>
                  <a:pt x="225425" y="105172"/>
                  <a:pt x="228601" y="94853"/>
                  <a:pt x="233363" y="88106"/>
                </a:cubicBezTo>
                <a:cubicBezTo>
                  <a:pt x="238125" y="81359"/>
                  <a:pt x="241300" y="73422"/>
                  <a:pt x="247650" y="66675"/>
                </a:cubicBezTo>
                <a:cubicBezTo>
                  <a:pt x="254000" y="59928"/>
                  <a:pt x="264319" y="53181"/>
                  <a:pt x="271463" y="47625"/>
                </a:cubicBezTo>
                <a:cubicBezTo>
                  <a:pt x="278607" y="42069"/>
                  <a:pt x="284560" y="38496"/>
                  <a:pt x="290513" y="33337"/>
                </a:cubicBezTo>
                <a:cubicBezTo>
                  <a:pt x="296466" y="28178"/>
                  <a:pt x="307181" y="16668"/>
                  <a:pt x="307181" y="16668"/>
                </a:cubicBezTo>
                <a:cubicBezTo>
                  <a:pt x="311943" y="11906"/>
                  <a:pt x="315516" y="7540"/>
                  <a:pt x="319088" y="4762"/>
                </a:cubicBezTo>
                <a:cubicBezTo>
                  <a:pt x="322660" y="1984"/>
                  <a:pt x="325636" y="992"/>
                  <a:pt x="328613" y="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1" name="Полилиния 80"/>
          <p:cNvSpPr/>
          <p:nvPr/>
        </p:nvSpPr>
        <p:spPr>
          <a:xfrm>
            <a:off x="4590187" y="334837"/>
            <a:ext cx="311293" cy="179042"/>
          </a:xfrm>
          <a:custGeom>
            <a:avLst/>
            <a:gdLst>
              <a:gd name="connsiteX0" fmla="*/ 0 w 219075"/>
              <a:gd name="connsiteY0" fmla="*/ 157163 h 157163"/>
              <a:gd name="connsiteX1" fmla="*/ 11907 w 219075"/>
              <a:gd name="connsiteY1" fmla="*/ 90488 h 157163"/>
              <a:gd name="connsiteX2" fmla="*/ 40482 w 219075"/>
              <a:gd name="connsiteY2" fmla="*/ 73819 h 157163"/>
              <a:gd name="connsiteX3" fmla="*/ 76200 w 219075"/>
              <a:gd name="connsiteY3" fmla="*/ 66675 h 157163"/>
              <a:gd name="connsiteX4" fmla="*/ 111919 w 219075"/>
              <a:gd name="connsiteY4" fmla="*/ 66675 h 157163"/>
              <a:gd name="connsiteX5" fmla="*/ 140494 w 219075"/>
              <a:gd name="connsiteY5" fmla="*/ 66675 h 157163"/>
              <a:gd name="connsiteX6" fmla="*/ 154782 w 219075"/>
              <a:gd name="connsiteY6" fmla="*/ 71438 h 157163"/>
              <a:gd name="connsiteX7" fmla="*/ 171450 w 219075"/>
              <a:gd name="connsiteY7" fmla="*/ 80963 h 157163"/>
              <a:gd name="connsiteX8" fmla="*/ 183357 w 219075"/>
              <a:gd name="connsiteY8" fmla="*/ 85725 h 157163"/>
              <a:gd name="connsiteX9" fmla="*/ 197644 w 219075"/>
              <a:gd name="connsiteY9" fmla="*/ 88106 h 157163"/>
              <a:gd name="connsiteX10" fmla="*/ 195263 w 219075"/>
              <a:gd name="connsiteY10" fmla="*/ 73819 h 157163"/>
              <a:gd name="connsiteX11" fmla="*/ 192882 w 219075"/>
              <a:gd name="connsiteY11" fmla="*/ 47625 h 157163"/>
              <a:gd name="connsiteX12" fmla="*/ 192882 w 219075"/>
              <a:gd name="connsiteY12" fmla="*/ 28575 h 157163"/>
              <a:gd name="connsiteX13" fmla="*/ 204788 w 219075"/>
              <a:gd name="connsiteY13" fmla="*/ 4763 h 157163"/>
              <a:gd name="connsiteX14" fmla="*/ 219075 w 219075"/>
              <a:gd name="connsiteY14" fmla="*/ 0 h 157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19075" h="157163">
                <a:moveTo>
                  <a:pt x="0" y="157163"/>
                </a:moveTo>
                <a:cubicBezTo>
                  <a:pt x="2580" y="130771"/>
                  <a:pt x="5160" y="104379"/>
                  <a:pt x="11907" y="90488"/>
                </a:cubicBezTo>
                <a:cubicBezTo>
                  <a:pt x="18654" y="76597"/>
                  <a:pt x="29767" y="77788"/>
                  <a:pt x="40482" y="73819"/>
                </a:cubicBezTo>
                <a:cubicBezTo>
                  <a:pt x="51197" y="69850"/>
                  <a:pt x="64294" y="67866"/>
                  <a:pt x="76200" y="66675"/>
                </a:cubicBezTo>
                <a:cubicBezTo>
                  <a:pt x="88106" y="65484"/>
                  <a:pt x="111919" y="66675"/>
                  <a:pt x="111919" y="66675"/>
                </a:cubicBezTo>
                <a:cubicBezTo>
                  <a:pt x="122635" y="66675"/>
                  <a:pt x="133350" y="65881"/>
                  <a:pt x="140494" y="66675"/>
                </a:cubicBezTo>
                <a:cubicBezTo>
                  <a:pt x="147638" y="67469"/>
                  <a:pt x="149623" y="69057"/>
                  <a:pt x="154782" y="71438"/>
                </a:cubicBezTo>
                <a:cubicBezTo>
                  <a:pt x="159941" y="73819"/>
                  <a:pt x="166688" y="78582"/>
                  <a:pt x="171450" y="80963"/>
                </a:cubicBezTo>
                <a:cubicBezTo>
                  <a:pt x="176212" y="83344"/>
                  <a:pt x="178991" y="84535"/>
                  <a:pt x="183357" y="85725"/>
                </a:cubicBezTo>
                <a:cubicBezTo>
                  <a:pt x="187723" y="86915"/>
                  <a:pt x="195660" y="90090"/>
                  <a:pt x="197644" y="88106"/>
                </a:cubicBezTo>
                <a:cubicBezTo>
                  <a:pt x="199628" y="86122"/>
                  <a:pt x="196057" y="80566"/>
                  <a:pt x="195263" y="73819"/>
                </a:cubicBezTo>
                <a:cubicBezTo>
                  <a:pt x="194469" y="67072"/>
                  <a:pt x="193279" y="55166"/>
                  <a:pt x="192882" y="47625"/>
                </a:cubicBezTo>
                <a:cubicBezTo>
                  <a:pt x="192485" y="40084"/>
                  <a:pt x="190898" y="35719"/>
                  <a:pt x="192882" y="28575"/>
                </a:cubicBezTo>
                <a:cubicBezTo>
                  <a:pt x="194866" y="21431"/>
                  <a:pt x="200423" y="9525"/>
                  <a:pt x="204788" y="4763"/>
                </a:cubicBezTo>
                <a:cubicBezTo>
                  <a:pt x="209153" y="1"/>
                  <a:pt x="219075" y="0"/>
                  <a:pt x="219075" y="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2" name="Полилиния 81"/>
          <p:cNvSpPr/>
          <p:nvPr/>
        </p:nvSpPr>
        <p:spPr>
          <a:xfrm>
            <a:off x="5493613" y="532867"/>
            <a:ext cx="1350582" cy="542593"/>
          </a:xfrm>
          <a:custGeom>
            <a:avLst/>
            <a:gdLst>
              <a:gd name="connsiteX0" fmla="*/ 0 w 950482"/>
              <a:gd name="connsiteY0" fmla="*/ 185738 h 476288"/>
              <a:gd name="connsiteX1" fmla="*/ 35719 w 950482"/>
              <a:gd name="connsiteY1" fmla="*/ 266700 h 476288"/>
              <a:gd name="connsiteX2" fmla="*/ 40481 w 950482"/>
              <a:gd name="connsiteY2" fmla="*/ 297657 h 476288"/>
              <a:gd name="connsiteX3" fmla="*/ 38100 w 950482"/>
              <a:gd name="connsiteY3" fmla="*/ 330994 h 476288"/>
              <a:gd name="connsiteX4" fmla="*/ 30956 w 950482"/>
              <a:gd name="connsiteY4" fmla="*/ 373857 h 476288"/>
              <a:gd name="connsiteX5" fmla="*/ 30956 w 950482"/>
              <a:gd name="connsiteY5" fmla="*/ 416719 h 476288"/>
              <a:gd name="connsiteX6" fmla="*/ 30956 w 950482"/>
              <a:gd name="connsiteY6" fmla="*/ 440532 h 476288"/>
              <a:gd name="connsiteX7" fmla="*/ 30956 w 950482"/>
              <a:gd name="connsiteY7" fmla="*/ 457200 h 476288"/>
              <a:gd name="connsiteX8" fmla="*/ 42863 w 950482"/>
              <a:gd name="connsiteY8" fmla="*/ 461963 h 476288"/>
              <a:gd name="connsiteX9" fmla="*/ 71438 w 950482"/>
              <a:gd name="connsiteY9" fmla="*/ 471488 h 476288"/>
              <a:gd name="connsiteX10" fmla="*/ 83344 w 950482"/>
              <a:gd name="connsiteY10" fmla="*/ 476250 h 476288"/>
              <a:gd name="connsiteX11" fmla="*/ 97631 w 950482"/>
              <a:gd name="connsiteY11" fmla="*/ 469107 h 476288"/>
              <a:gd name="connsiteX12" fmla="*/ 104775 w 950482"/>
              <a:gd name="connsiteY12" fmla="*/ 459582 h 476288"/>
              <a:gd name="connsiteX13" fmla="*/ 140494 w 950482"/>
              <a:gd name="connsiteY13" fmla="*/ 457200 h 476288"/>
              <a:gd name="connsiteX14" fmla="*/ 173831 w 950482"/>
              <a:gd name="connsiteY14" fmla="*/ 457200 h 476288"/>
              <a:gd name="connsiteX15" fmla="*/ 204788 w 950482"/>
              <a:gd name="connsiteY15" fmla="*/ 461963 h 476288"/>
              <a:gd name="connsiteX16" fmla="*/ 219075 w 950482"/>
              <a:gd name="connsiteY16" fmla="*/ 447675 h 476288"/>
              <a:gd name="connsiteX17" fmla="*/ 257175 w 950482"/>
              <a:gd name="connsiteY17" fmla="*/ 447675 h 476288"/>
              <a:gd name="connsiteX18" fmla="*/ 309563 w 950482"/>
              <a:gd name="connsiteY18" fmla="*/ 442913 h 476288"/>
              <a:gd name="connsiteX19" fmla="*/ 361950 w 950482"/>
              <a:gd name="connsiteY19" fmla="*/ 440532 h 476288"/>
              <a:gd name="connsiteX20" fmla="*/ 390525 w 950482"/>
              <a:gd name="connsiteY20" fmla="*/ 438150 h 476288"/>
              <a:gd name="connsiteX21" fmla="*/ 440531 w 950482"/>
              <a:gd name="connsiteY21" fmla="*/ 433388 h 476288"/>
              <a:gd name="connsiteX22" fmla="*/ 464344 w 950482"/>
              <a:gd name="connsiteY22" fmla="*/ 431007 h 476288"/>
              <a:gd name="connsiteX23" fmla="*/ 495300 w 950482"/>
              <a:gd name="connsiteY23" fmla="*/ 419100 h 476288"/>
              <a:gd name="connsiteX24" fmla="*/ 526256 w 950482"/>
              <a:gd name="connsiteY24" fmla="*/ 407194 h 476288"/>
              <a:gd name="connsiteX25" fmla="*/ 569119 w 950482"/>
              <a:gd name="connsiteY25" fmla="*/ 390525 h 476288"/>
              <a:gd name="connsiteX26" fmla="*/ 602456 w 950482"/>
              <a:gd name="connsiteY26" fmla="*/ 381000 h 476288"/>
              <a:gd name="connsiteX27" fmla="*/ 626269 w 950482"/>
              <a:gd name="connsiteY27" fmla="*/ 376238 h 476288"/>
              <a:gd name="connsiteX28" fmla="*/ 676275 w 950482"/>
              <a:gd name="connsiteY28" fmla="*/ 378619 h 476288"/>
              <a:gd name="connsiteX29" fmla="*/ 702469 w 950482"/>
              <a:gd name="connsiteY29" fmla="*/ 373857 h 476288"/>
              <a:gd name="connsiteX30" fmla="*/ 719138 w 950482"/>
              <a:gd name="connsiteY30" fmla="*/ 357188 h 476288"/>
              <a:gd name="connsiteX31" fmla="*/ 750094 w 950482"/>
              <a:gd name="connsiteY31" fmla="*/ 345282 h 476288"/>
              <a:gd name="connsiteX32" fmla="*/ 792956 w 950482"/>
              <a:gd name="connsiteY32" fmla="*/ 323850 h 476288"/>
              <a:gd name="connsiteX33" fmla="*/ 828675 w 950482"/>
              <a:gd name="connsiteY33" fmla="*/ 316707 h 476288"/>
              <a:gd name="connsiteX34" fmla="*/ 854869 w 950482"/>
              <a:gd name="connsiteY34" fmla="*/ 304800 h 476288"/>
              <a:gd name="connsiteX35" fmla="*/ 873919 w 950482"/>
              <a:gd name="connsiteY35" fmla="*/ 297657 h 476288"/>
              <a:gd name="connsiteX36" fmla="*/ 885825 w 950482"/>
              <a:gd name="connsiteY36" fmla="*/ 278607 h 476288"/>
              <a:gd name="connsiteX37" fmla="*/ 912019 w 950482"/>
              <a:gd name="connsiteY37" fmla="*/ 257175 h 476288"/>
              <a:gd name="connsiteX38" fmla="*/ 921544 w 950482"/>
              <a:gd name="connsiteY38" fmla="*/ 235744 h 476288"/>
              <a:gd name="connsiteX39" fmla="*/ 921544 w 950482"/>
              <a:gd name="connsiteY39" fmla="*/ 211932 h 476288"/>
              <a:gd name="connsiteX40" fmla="*/ 919163 w 950482"/>
              <a:gd name="connsiteY40" fmla="*/ 183357 h 476288"/>
              <a:gd name="connsiteX41" fmla="*/ 919163 w 950482"/>
              <a:gd name="connsiteY41" fmla="*/ 150019 h 476288"/>
              <a:gd name="connsiteX42" fmla="*/ 926306 w 950482"/>
              <a:gd name="connsiteY42" fmla="*/ 123825 h 476288"/>
              <a:gd name="connsiteX43" fmla="*/ 940594 w 950482"/>
              <a:gd name="connsiteY43" fmla="*/ 95250 h 476288"/>
              <a:gd name="connsiteX44" fmla="*/ 947738 w 950482"/>
              <a:gd name="connsiteY44" fmla="*/ 73819 h 476288"/>
              <a:gd name="connsiteX45" fmla="*/ 950119 w 950482"/>
              <a:gd name="connsiteY45" fmla="*/ 54769 h 476288"/>
              <a:gd name="connsiteX46" fmla="*/ 940594 w 950482"/>
              <a:gd name="connsiteY46" fmla="*/ 16669 h 476288"/>
              <a:gd name="connsiteX47" fmla="*/ 933450 w 950482"/>
              <a:gd name="connsiteY47" fmla="*/ 4763 h 476288"/>
              <a:gd name="connsiteX48" fmla="*/ 928688 w 950482"/>
              <a:gd name="connsiteY48" fmla="*/ 0 h 4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950482" h="476288">
                <a:moveTo>
                  <a:pt x="0" y="185738"/>
                </a:moveTo>
                <a:cubicBezTo>
                  <a:pt x="14486" y="216892"/>
                  <a:pt x="28972" y="248047"/>
                  <a:pt x="35719" y="266700"/>
                </a:cubicBezTo>
                <a:cubicBezTo>
                  <a:pt x="42466" y="285353"/>
                  <a:pt x="40084" y="286941"/>
                  <a:pt x="40481" y="297657"/>
                </a:cubicBezTo>
                <a:cubicBezTo>
                  <a:pt x="40878" y="308373"/>
                  <a:pt x="39687" y="318294"/>
                  <a:pt x="38100" y="330994"/>
                </a:cubicBezTo>
                <a:cubicBezTo>
                  <a:pt x="36513" y="343694"/>
                  <a:pt x="32147" y="359570"/>
                  <a:pt x="30956" y="373857"/>
                </a:cubicBezTo>
                <a:cubicBezTo>
                  <a:pt x="29765" y="388144"/>
                  <a:pt x="30956" y="416719"/>
                  <a:pt x="30956" y="416719"/>
                </a:cubicBezTo>
                <a:lnTo>
                  <a:pt x="30956" y="440532"/>
                </a:lnTo>
                <a:cubicBezTo>
                  <a:pt x="30956" y="447279"/>
                  <a:pt x="28972" y="453628"/>
                  <a:pt x="30956" y="457200"/>
                </a:cubicBezTo>
                <a:cubicBezTo>
                  <a:pt x="32940" y="460772"/>
                  <a:pt x="36116" y="459582"/>
                  <a:pt x="42863" y="461963"/>
                </a:cubicBezTo>
                <a:cubicBezTo>
                  <a:pt x="49610" y="464344"/>
                  <a:pt x="64691" y="469107"/>
                  <a:pt x="71438" y="471488"/>
                </a:cubicBezTo>
                <a:cubicBezTo>
                  <a:pt x="78185" y="473869"/>
                  <a:pt x="78979" y="476647"/>
                  <a:pt x="83344" y="476250"/>
                </a:cubicBezTo>
                <a:cubicBezTo>
                  <a:pt x="87709" y="475853"/>
                  <a:pt x="94059" y="471885"/>
                  <a:pt x="97631" y="469107"/>
                </a:cubicBezTo>
                <a:cubicBezTo>
                  <a:pt x="101203" y="466329"/>
                  <a:pt x="97631" y="461566"/>
                  <a:pt x="104775" y="459582"/>
                </a:cubicBezTo>
                <a:cubicBezTo>
                  <a:pt x="111919" y="457598"/>
                  <a:pt x="128985" y="457597"/>
                  <a:pt x="140494" y="457200"/>
                </a:cubicBezTo>
                <a:cubicBezTo>
                  <a:pt x="152003" y="456803"/>
                  <a:pt x="163115" y="456406"/>
                  <a:pt x="173831" y="457200"/>
                </a:cubicBezTo>
                <a:cubicBezTo>
                  <a:pt x="184547" y="457994"/>
                  <a:pt x="197247" y="463551"/>
                  <a:pt x="204788" y="461963"/>
                </a:cubicBezTo>
                <a:cubicBezTo>
                  <a:pt x="212329" y="460375"/>
                  <a:pt x="210344" y="450056"/>
                  <a:pt x="219075" y="447675"/>
                </a:cubicBezTo>
                <a:cubicBezTo>
                  <a:pt x="227806" y="445294"/>
                  <a:pt x="242094" y="448469"/>
                  <a:pt x="257175" y="447675"/>
                </a:cubicBezTo>
                <a:cubicBezTo>
                  <a:pt x="272256" y="446881"/>
                  <a:pt x="292101" y="444104"/>
                  <a:pt x="309563" y="442913"/>
                </a:cubicBezTo>
                <a:cubicBezTo>
                  <a:pt x="327026" y="441723"/>
                  <a:pt x="348456" y="441326"/>
                  <a:pt x="361950" y="440532"/>
                </a:cubicBezTo>
                <a:cubicBezTo>
                  <a:pt x="375444" y="439738"/>
                  <a:pt x="390525" y="438150"/>
                  <a:pt x="390525" y="438150"/>
                </a:cubicBezTo>
                <a:lnTo>
                  <a:pt x="440531" y="433388"/>
                </a:lnTo>
                <a:cubicBezTo>
                  <a:pt x="452834" y="432198"/>
                  <a:pt x="455216" y="433388"/>
                  <a:pt x="464344" y="431007"/>
                </a:cubicBezTo>
                <a:cubicBezTo>
                  <a:pt x="473472" y="428626"/>
                  <a:pt x="495300" y="419100"/>
                  <a:pt x="495300" y="419100"/>
                </a:cubicBezTo>
                <a:lnTo>
                  <a:pt x="526256" y="407194"/>
                </a:lnTo>
                <a:cubicBezTo>
                  <a:pt x="538559" y="402432"/>
                  <a:pt x="556419" y="394891"/>
                  <a:pt x="569119" y="390525"/>
                </a:cubicBezTo>
                <a:cubicBezTo>
                  <a:pt x="581819" y="386159"/>
                  <a:pt x="592931" y="383381"/>
                  <a:pt x="602456" y="381000"/>
                </a:cubicBezTo>
                <a:cubicBezTo>
                  <a:pt x="611981" y="378619"/>
                  <a:pt x="613966" y="376635"/>
                  <a:pt x="626269" y="376238"/>
                </a:cubicBezTo>
                <a:cubicBezTo>
                  <a:pt x="638572" y="375841"/>
                  <a:pt x="663575" y="379016"/>
                  <a:pt x="676275" y="378619"/>
                </a:cubicBezTo>
                <a:cubicBezTo>
                  <a:pt x="688975" y="378222"/>
                  <a:pt x="695325" y="377429"/>
                  <a:pt x="702469" y="373857"/>
                </a:cubicBezTo>
                <a:cubicBezTo>
                  <a:pt x="709613" y="370285"/>
                  <a:pt x="711201" y="361951"/>
                  <a:pt x="719138" y="357188"/>
                </a:cubicBezTo>
                <a:cubicBezTo>
                  <a:pt x="727076" y="352426"/>
                  <a:pt x="737791" y="350838"/>
                  <a:pt x="750094" y="345282"/>
                </a:cubicBezTo>
                <a:cubicBezTo>
                  <a:pt x="762397" y="339726"/>
                  <a:pt x="779859" y="328612"/>
                  <a:pt x="792956" y="323850"/>
                </a:cubicBezTo>
                <a:cubicBezTo>
                  <a:pt x="806053" y="319088"/>
                  <a:pt x="818356" y="319882"/>
                  <a:pt x="828675" y="316707"/>
                </a:cubicBezTo>
                <a:cubicBezTo>
                  <a:pt x="838994" y="313532"/>
                  <a:pt x="847328" y="307975"/>
                  <a:pt x="854869" y="304800"/>
                </a:cubicBezTo>
                <a:cubicBezTo>
                  <a:pt x="862410" y="301625"/>
                  <a:pt x="868760" y="302023"/>
                  <a:pt x="873919" y="297657"/>
                </a:cubicBezTo>
                <a:cubicBezTo>
                  <a:pt x="879078" y="293292"/>
                  <a:pt x="879475" y="285354"/>
                  <a:pt x="885825" y="278607"/>
                </a:cubicBezTo>
                <a:cubicBezTo>
                  <a:pt x="892175" y="271860"/>
                  <a:pt x="906066" y="264319"/>
                  <a:pt x="912019" y="257175"/>
                </a:cubicBezTo>
                <a:cubicBezTo>
                  <a:pt x="917972" y="250031"/>
                  <a:pt x="919956" y="243285"/>
                  <a:pt x="921544" y="235744"/>
                </a:cubicBezTo>
                <a:cubicBezTo>
                  <a:pt x="923132" y="228203"/>
                  <a:pt x="921941" y="220663"/>
                  <a:pt x="921544" y="211932"/>
                </a:cubicBezTo>
                <a:cubicBezTo>
                  <a:pt x="921147" y="203201"/>
                  <a:pt x="919560" y="193676"/>
                  <a:pt x="919163" y="183357"/>
                </a:cubicBezTo>
                <a:cubicBezTo>
                  <a:pt x="918766" y="173038"/>
                  <a:pt x="917973" y="159941"/>
                  <a:pt x="919163" y="150019"/>
                </a:cubicBezTo>
                <a:cubicBezTo>
                  <a:pt x="920353" y="140097"/>
                  <a:pt x="922734" y="132953"/>
                  <a:pt x="926306" y="123825"/>
                </a:cubicBezTo>
                <a:cubicBezTo>
                  <a:pt x="929878" y="114697"/>
                  <a:pt x="937022" y="103584"/>
                  <a:pt x="940594" y="95250"/>
                </a:cubicBezTo>
                <a:cubicBezTo>
                  <a:pt x="944166" y="86916"/>
                  <a:pt x="946151" y="80566"/>
                  <a:pt x="947738" y="73819"/>
                </a:cubicBezTo>
                <a:cubicBezTo>
                  <a:pt x="949326" y="67072"/>
                  <a:pt x="951310" y="64294"/>
                  <a:pt x="950119" y="54769"/>
                </a:cubicBezTo>
                <a:cubicBezTo>
                  <a:pt x="948928" y="45244"/>
                  <a:pt x="943372" y="25003"/>
                  <a:pt x="940594" y="16669"/>
                </a:cubicBezTo>
                <a:cubicBezTo>
                  <a:pt x="937816" y="8335"/>
                  <a:pt x="935434" y="7541"/>
                  <a:pt x="933450" y="4763"/>
                </a:cubicBezTo>
                <a:cubicBezTo>
                  <a:pt x="931466" y="1985"/>
                  <a:pt x="930077" y="992"/>
                  <a:pt x="928688" y="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4" name="Полилиния 83"/>
          <p:cNvSpPr/>
          <p:nvPr/>
        </p:nvSpPr>
        <p:spPr>
          <a:xfrm>
            <a:off x="6339520" y="2062855"/>
            <a:ext cx="148880" cy="103085"/>
          </a:xfrm>
          <a:custGeom>
            <a:avLst/>
            <a:gdLst>
              <a:gd name="connsiteX0" fmla="*/ 0 w 104775"/>
              <a:gd name="connsiteY0" fmla="*/ 0 h 90488"/>
              <a:gd name="connsiteX1" fmla="*/ 4762 w 104775"/>
              <a:gd name="connsiteY1" fmla="*/ 50007 h 90488"/>
              <a:gd name="connsiteX2" fmla="*/ 19050 w 104775"/>
              <a:gd name="connsiteY2" fmla="*/ 64294 h 90488"/>
              <a:gd name="connsiteX3" fmla="*/ 35718 w 104775"/>
              <a:gd name="connsiteY3" fmla="*/ 66675 h 90488"/>
              <a:gd name="connsiteX4" fmla="*/ 57150 w 104775"/>
              <a:gd name="connsiteY4" fmla="*/ 73819 h 90488"/>
              <a:gd name="connsiteX5" fmla="*/ 73818 w 104775"/>
              <a:gd name="connsiteY5" fmla="*/ 80963 h 90488"/>
              <a:gd name="connsiteX6" fmla="*/ 85725 w 104775"/>
              <a:gd name="connsiteY6" fmla="*/ 80963 h 90488"/>
              <a:gd name="connsiteX7" fmla="*/ 97631 w 104775"/>
              <a:gd name="connsiteY7" fmla="*/ 88107 h 90488"/>
              <a:gd name="connsiteX8" fmla="*/ 104775 w 104775"/>
              <a:gd name="connsiteY8" fmla="*/ 90488 h 904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775" h="90488">
                <a:moveTo>
                  <a:pt x="0" y="0"/>
                </a:moveTo>
                <a:cubicBezTo>
                  <a:pt x="793" y="19645"/>
                  <a:pt x="1587" y="39291"/>
                  <a:pt x="4762" y="50007"/>
                </a:cubicBezTo>
                <a:cubicBezTo>
                  <a:pt x="7937" y="60723"/>
                  <a:pt x="13891" y="61516"/>
                  <a:pt x="19050" y="64294"/>
                </a:cubicBezTo>
                <a:cubicBezTo>
                  <a:pt x="24209" y="67072"/>
                  <a:pt x="29368" y="65088"/>
                  <a:pt x="35718" y="66675"/>
                </a:cubicBezTo>
                <a:cubicBezTo>
                  <a:pt x="42068" y="68263"/>
                  <a:pt x="50800" y="71438"/>
                  <a:pt x="57150" y="73819"/>
                </a:cubicBezTo>
                <a:cubicBezTo>
                  <a:pt x="63500" y="76200"/>
                  <a:pt x="69056" y="79772"/>
                  <a:pt x="73818" y="80963"/>
                </a:cubicBezTo>
                <a:cubicBezTo>
                  <a:pt x="78580" y="82154"/>
                  <a:pt x="81756" y="79772"/>
                  <a:pt x="85725" y="80963"/>
                </a:cubicBezTo>
                <a:cubicBezTo>
                  <a:pt x="89694" y="82154"/>
                  <a:pt x="94456" y="86520"/>
                  <a:pt x="97631" y="88107"/>
                </a:cubicBezTo>
                <a:cubicBezTo>
                  <a:pt x="100806" y="89694"/>
                  <a:pt x="102790" y="90091"/>
                  <a:pt x="104775" y="90488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5" name="Полилиния 84"/>
          <p:cNvSpPr/>
          <p:nvPr/>
        </p:nvSpPr>
        <p:spPr>
          <a:xfrm>
            <a:off x="6436518" y="1524828"/>
            <a:ext cx="193995" cy="376168"/>
          </a:xfrm>
          <a:custGeom>
            <a:avLst/>
            <a:gdLst>
              <a:gd name="connsiteX0" fmla="*/ 0 w 136525"/>
              <a:gd name="connsiteY0" fmla="*/ 330200 h 330200"/>
              <a:gd name="connsiteX1" fmla="*/ 3175 w 136525"/>
              <a:gd name="connsiteY1" fmla="*/ 200025 h 330200"/>
              <a:gd name="connsiteX2" fmla="*/ 9525 w 136525"/>
              <a:gd name="connsiteY2" fmla="*/ 155575 h 330200"/>
              <a:gd name="connsiteX3" fmla="*/ 34925 w 136525"/>
              <a:gd name="connsiteY3" fmla="*/ 123825 h 330200"/>
              <a:gd name="connsiteX4" fmla="*/ 53975 w 136525"/>
              <a:gd name="connsiteY4" fmla="*/ 101600 h 330200"/>
              <a:gd name="connsiteX5" fmla="*/ 73025 w 136525"/>
              <a:gd name="connsiteY5" fmla="*/ 82550 h 330200"/>
              <a:gd name="connsiteX6" fmla="*/ 101600 w 136525"/>
              <a:gd name="connsiteY6" fmla="*/ 66675 h 330200"/>
              <a:gd name="connsiteX7" fmla="*/ 111125 w 136525"/>
              <a:gd name="connsiteY7" fmla="*/ 57150 h 330200"/>
              <a:gd name="connsiteX8" fmla="*/ 120650 w 136525"/>
              <a:gd name="connsiteY8" fmla="*/ 31750 h 330200"/>
              <a:gd name="connsiteX9" fmla="*/ 130175 w 136525"/>
              <a:gd name="connsiteY9" fmla="*/ 9525 h 330200"/>
              <a:gd name="connsiteX10" fmla="*/ 136525 w 136525"/>
              <a:gd name="connsiteY10" fmla="*/ 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6525" h="330200">
                <a:moveTo>
                  <a:pt x="0" y="330200"/>
                </a:moveTo>
                <a:cubicBezTo>
                  <a:pt x="794" y="279664"/>
                  <a:pt x="1588" y="229129"/>
                  <a:pt x="3175" y="200025"/>
                </a:cubicBezTo>
                <a:cubicBezTo>
                  <a:pt x="4762" y="170921"/>
                  <a:pt x="4233" y="168275"/>
                  <a:pt x="9525" y="155575"/>
                </a:cubicBezTo>
                <a:cubicBezTo>
                  <a:pt x="14817" y="142875"/>
                  <a:pt x="27517" y="132821"/>
                  <a:pt x="34925" y="123825"/>
                </a:cubicBezTo>
                <a:cubicBezTo>
                  <a:pt x="42333" y="114829"/>
                  <a:pt x="47625" y="108479"/>
                  <a:pt x="53975" y="101600"/>
                </a:cubicBezTo>
                <a:cubicBezTo>
                  <a:pt x="60325" y="94721"/>
                  <a:pt x="65088" y="88371"/>
                  <a:pt x="73025" y="82550"/>
                </a:cubicBezTo>
                <a:cubicBezTo>
                  <a:pt x="80962" y="76729"/>
                  <a:pt x="95250" y="70908"/>
                  <a:pt x="101600" y="66675"/>
                </a:cubicBezTo>
                <a:cubicBezTo>
                  <a:pt x="107950" y="62442"/>
                  <a:pt x="107950" y="62971"/>
                  <a:pt x="111125" y="57150"/>
                </a:cubicBezTo>
                <a:cubicBezTo>
                  <a:pt x="114300" y="51329"/>
                  <a:pt x="117475" y="39688"/>
                  <a:pt x="120650" y="31750"/>
                </a:cubicBezTo>
                <a:cubicBezTo>
                  <a:pt x="123825" y="23812"/>
                  <a:pt x="127529" y="14817"/>
                  <a:pt x="130175" y="9525"/>
                </a:cubicBezTo>
                <a:cubicBezTo>
                  <a:pt x="132821" y="4233"/>
                  <a:pt x="134673" y="2116"/>
                  <a:pt x="136525" y="0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91" name="Полилиния 90"/>
          <p:cNvSpPr/>
          <p:nvPr/>
        </p:nvSpPr>
        <p:spPr>
          <a:xfrm>
            <a:off x="3463440" y="2255461"/>
            <a:ext cx="59951" cy="220637"/>
          </a:xfrm>
          <a:custGeom>
            <a:avLst/>
            <a:gdLst>
              <a:gd name="connsiteX0" fmla="*/ 0 w 42191"/>
              <a:gd name="connsiteY0" fmla="*/ 0 h 193675"/>
              <a:gd name="connsiteX1" fmla="*/ 25400 w 42191"/>
              <a:gd name="connsiteY1" fmla="*/ 63500 h 193675"/>
              <a:gd name="connsiteX2" fmla="*/ 25400 w 42191"/>
              <a:gd name="connsiteY2" fmla="*/ 107950 h 193675"/>
              <a:gd name="connsiteX3" fmla="*/ 19050 w 42191"/>
              <a:gd name="connsiteY3" fmla="*/ 123825 h 193675"/>
              <a:gd name="connsiteX4" fmla="*/ 22225 w 42191"/>
              <a:gd name="connsiteY4" fmla="*/ 146050 h 193675"/>
              <a:gd name="connsiteX5" fmla="*/ 31750 w 42191"/>
              <a:gd name="connsiteY5" fmla="*/ 168275 h 193675"/>
              <a:gd name="connsiteX6" fmla="*/ 41275 w 42191"/>
              <a:gd name="connsiteY6" fmla="*/ 174625 h 193675"/>
              <a:gd name="connsiteX7" fmla="*/ 41275 w 42191"/>
              <a:gd name="connsiteY7" fmla="*/ 193675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2191" h="193675">
                <a:moveTo>
                  <a:pt x="0" y="0"/>
                </a:moveTo>
                <a:cubicBezTo>
                  <a:pt x="10583" y="22754"/>
                  <a:pt x="21167" y="45508"/>
                  <a:pt x="25400" y="63500"/>
                </a:cubicBezTo>
                <a:cubicBezTo>
                  <a:pt x="29633" y="81492"/>
                  <a:pt x="26458" y="97896"/>
                  <a:pt x="25400" y="107950"/>
                </a:cubicBezTo>
                <a:cubicBezTo>
                  <a:pt x="24342" y="118004"/>
                  <a:pt x="19579" y="117475"/>
                  <a:pt x="19050" y="123825"/>
                </a:cubicBezTo>
                <a:cubicBezTo>
                  <a:pt x="18521" y="130175"/>
                  <a:pt x="20108" y="138642"/>
                  <a:pt x="22225" y="146050"/>
                </a:cubicBezTo>
                <a:cubicBezTo>
                  <a:pt x="24342" y="153458"/>
                  <a:pt x="28575" y="163513"/>
                  <a:pt x="31750" y="168275"/>
                </a:cubicBezTo>
                <a:cubicBezTo>
                  <a:pt x="34925" y="173037"/>
                  <a:pt x="39688" y="170392"/>
                  <a:pt x="41275" y="174625"/>
                </a:cubicBezTo>
                <a:cubicBezTo>
                  <a:pt x="42862" y="178858"/>
                  <a:pt x="42068" y="186266"/>
                  <a:pt x="41275" y="193675"/>
                </a:cubicBezTo>
              </a:path>
            </a:pathLst>
          </a:custGeom>
          <a:noFill/>
          <a:ln w="85725">
            <a:solidFill>
              <a:srgbClr val="E5503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98" name="Прямоугольник 97"/>
          <p:cNvSpPr/>
          <p:nvPr/>
        </p:nvSpPr>
        <p:spPr>
          <a:xfrm>
            <a:off x="3314562" y="953663"/>
            <a:ext cx="330061" cy="317584"/>
          </a:xfrm>
          <a:prstGeom prst="rect">
            <a:avLst/>
          </a:prstGeom>
          <a:solidFill>
            <a:srgbClr val="D2DFC3"/>
          </a:solidFill>
          <a:ln>
            <a:solidFill>
              <a:srgbClr val="D2DF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2" name="Полилиния 1"/>
          <p:cNvSpPr/>
          <p:nvPr/>
        </p:nvSpPr>
        <p:spPr>
          <a:xfrm>
            <a:off x="1912951" y="112710"/>
            <a:ext cx="1806856" cy="1090526"/>
          </a:xfrm>
          <a:custGeom>
            <a:avLst/>
            <a:gdLst>
              <a:gd name="connsiteX0" fmla="*/ 0 w 1023938"/>
              <a:gd name="connsiteY0" fmla="*/ 0 h 738188"/>
              <a:gd name="connsiteX1" fmla="*/ 52388 w 1023938"/>
              <a:gd name="connsiteY1" fmla="*/ 14288 h 738188"/>
              <a:gd name="connsiteX2" fmla="*/ 73819 w 1023938"/>
              <a:gd name="connsiteY2" fmla="*/ 19050 h 738188"/>
              <a:gd name="connsiteX3" fmla="*/ 90488 w 1023938"/>
              <a:gd name="connsiteY3" fmla="*/ 33338 h 738188"/>
              <a:gd name="connsiteX4" fmla="*/ 104775 w 1023938"/>
              <a:gd name="connsiteY4" fmla="*/ 54769 h 738188"/>
              <a:gd name="connsiteX5" fmla="*/ 130969 w 1023938"/>
              <a:gd name="connsiteY5" fmla="*/ 76200 h 738188"/>
              <a:gd name="connsiteX6" fmla="*/ 147638 w 1023938"/>
              <a:gd name="connsiteY6" fmla="*/ 88106 h 738188"/>
              <a:gd name="connsiteX7" fmla="*/ 161925 w 1023938"/>
              <a:gd name="connsiteY7" fmla="*/ 104775 h 738188"/>
              <a:gd name="connsiteX8" fmla="*/ 178594 w 1023938"/>
              <a:gd name="connsiteY8" fmla="*/ 128588 h 738188"/>
              <a:gd name="connsiteX9" fmla="*/ 195263 w 1023938"/>
              <a:gd name="connsiteY9" fmla="*/ 142875 h 738188"/>
              <a:gd name="connsiteX10" fmla="*/ 209550 w 1023938"/>
              <a:gd name="connsiteY10" fmla="*/ 152400 h 738188"/>
              <a:gd name="connsiteX11" fmla="*/ 226219 w 1023938"/>
              <a:gd name="connsiteY11" fmla="*/ 166688 h 738188"/>
              <a:gd name="connsiteX12" fmla="*/ 247650 w 1023938"/>
              <a:gd name="connsiteY12" fmla="*/ 185738 h 738188"/>
              <a:gd name="connsiteX13" fmla="*/ 261938 w 1023938"/>
              <a:gd name="connsiteY13" fmla="*/ 192881 h 738188"/>
              <a:gd name="connsiteX14" fmla="*/ 276225 w 1023938"/>
              <a:gd name="connsiteY14" fmla="*/ 202406 h 738188"/>
              <a:gd name="connsiteX15" fmla="*/ 297657 w 1023938"/>
              <a:gd name="connsiteY15" fmla="*/ 207169 h 738188"/>
              <a:gd name="connsiteX16" fmla="*/ 333375 w 1023938"/>
              <a:gd name="connsiteY16" fmla="*/ 209550 h 738188"/>
              <a:gd name="connsiteX17" fmla="*/ 359569 w 1023938"/>
              <a:gd name="connsiteY17" fmla="*/ 216694 h 738188"/>
              <a:gd name="connsiteX18" fmla="*/ 378619 w 1023938"/>
              <a:gd name="connsiteY18" fmla="*/ 223838 h 738188"/>
              <a:gd name="connsiteX19" fmla="*/ 388144 w 1023938"/>
              <a:gd name="connsiteY19" fmla="*/ 233363 h 738188"/>
              <a:gd name="connsiteX20" fmla="*/ 397669 w 1023938"/>
              <a:gd name="connsiteY20" fmla="*/ 250031 h 738188"/>
              <a:gd name="connsiteX21" fmla="*/ 407194 w 1023938"/>
              <a:gd name="connsiteY21" fmla="*/ 276225 h 738188"/>
              <a:gd name="connsiteX22" fmla="*/ 426244 w 1023938"/>
              <a:gd name="connsiteY22" fmla="*/ 297656 h 738188"/>
              <a:gd name="connsiteX23" fmla="*/ 447675 w 1023938"/>
              <a:gd name="connsiteY23" fmla="*/ 300038 h 738188"/>
              <a:gd name="connsiteX24" fmla="*/ 476250 w 1023938"/>
              <a:gd name="connsiteY24" fmla="*/ 307181 h 738188"/>
              <a:gd name="connsiteX25" fmla="*/ 490538 w 1023938"/>
              <a:gd name="connsiteY25" fmla="*/ 316706 h 738188"/>
              <a:gd name="connsiteX26" fmla="*/ 497682 w 1023938"/>
              <a:gd name="connsiteY26" fmla="*/ 323850 h 738188"/>
              <a:gd name="connsiteX27" fmla="*/ 519113 w 1023938"/>
              <a:gd name="connsiteY27" fmla="*/ 345281 h 738188"/>
              <a:gd name="connsiteX28" fmla="*/ 542925 w 1023938"/>
              <a:gd name="connsiteY28" fmla="*/ 352425 h 738188"/>
              <a:gd name="connsiteX29" fmla="*/ 557213 w 1023938"/>
              <a:gd name="connsiteY29" fmla="*/ 359569 h 738188"/>
              <a:gd name="connsiteX30" fmla="*/ 581025 w 1023938"/>
              <a:gd name="connsiteY30" fmla="*/ 369094 h 738188"/>
              <a:gd name="connsiteX31" fmla="*/ 623888 w 1023938"/>
              <a:gd name="connsiteY31" fmla="*/ 376238 h 738188"/>
              <a:gd name="connsiteX32" fmla="*/ 635794 w 1023938"/>
              <a:gd name="connsiteY32" fmla="*/ 383381 h 738188"/>
              <a:gd name="connsiteX33" fmla="*/ 652463 w 1023938"/>
              <a:gd name="connsiteY33" fmla="*/ 402431 h 738188"/>
              <a:gd name="connsiteX34" fmla="*/ 671513 w 1023938"/>
              <a:gd name="connsiteY34" fmla="*/ 416719 h 738188"/>
              <a:gd name="connsiteX35" fmla="*/ 695325 w 1023938"/>
              <a:gd name="connsiteY35" fmla="*/ 426244 h 738188"/>
              <a:gd name="connsiteX36" fmla="*/ 711994 w 1023938"/>
              <a:gd name="connsiteY36" fmla="*/ 438150 h 738188"/>
              <a:gd name="connsiteX37" fmla="*/ 723900 w 1023938"/>
              <a:gd name="connsiteY37" fmla="*/ 450056 h 738188"/>
              <a:gd name="connsiteX38" fmla="*/ 731044 w 1023938"/>
              <a:gd name="connsiteY38" fmla="*/ 461963 h 738188"/>
              <a:gd name="connsiteX39" fmla="*/ 738188 w 1023938"/>
              <a:gd name="connsiteY39" fmla="*/ 471488 h 738188"/>
              <a:gd name="connsiteX40" fmla="*/ 750094 w 1023938"/>
              <a:gd name="connsiteY40" fmla="*/ 492919 h 738188"/>
              <a:gd name="connsiteX41" fmla="*/ 769144 w 1023938"/>
              <a:gd name="connsiteY41" fmla="*/ 507206 h 738188"/>
              <a:gd name="connsiteX42" fmla="*/ 816769 w 1023938"/>
              <a:gd name="connsiteY42" fmla="*/ 528638 h 738188"/>
              <a:gd name="connsiteX43" fmla="*/ 842963 w 1023938"/>
              <a:gd name="connsiteY43" fmla="*/ 540544 h 738188"/>
              <a:gd name="connsiteX44" fmla="*/ 869157 w 1023938"/>
              <a:gd name="connsiteY44" fmla="*/ 554831 h 738188"/>
              <a:gd name="connsiteX45" fmla="*/ 907257 w 1023938"/>
              <a:gd name="connsiteY45" fmla="*/ 583406 h 738188"/>
              <a:gd name="connsiteX46" fmla="*/ 935832 w 1023938"/>
              <a:gd name="connsiteY46" fmla="*/ 607219 h 738188"/>
              <a:gd name="connsiteX47" fmla="*/ 942975 w 1023938"/>
              <a:gd name="connsiteY47" fmla="*/ 611981 h 738188"/>
              <a:gd name="connsiteX48" fmla="*/ 964407 w 1023938"/>
              <a:gd name="connsiteY48" fmla="*/ 633413 h 738188"/>
              <a:gd name="connsiteX49" fmla="*/ 978694 w 1023938"/>
              <a:gd name="connsiteY49" fmla="*/ 650081 h 738188"/>
              <a:gd name="connsiteX50" fmla="*/ 992982 w 1023938"/>
              <a:gd name="connsiteY50" fmla="*/ 666750 h 738188"/>
              <a:gd name="connsiteX51" fmla="*/ 1000125 w 1023938"/>
              <a:gd name="connsiteY51" fmla="*/ 683419 h 738188"/>
              <a:gd name="connsiteX52" fmla="*/ 1012032 w 1023938"/>
              <a:gd name="connsiteY52" fmla="*/ 697706 h 738188"/>
              <a:gd name="connsiteX53" fmla="*/ 1014413 w 1023938"/>
              <a:gd name="connsiteY53" fmla="*/ 714375 h 738188"/>
              <a:gd name="connsiteX54" fmla="*/ 1019175 w 1023938"/>
              <a:gd name="connsiteY54" fmla="*/ 731044 h 738188"/>
              <a:gd name="connsiteX55" fmla="*/ 1023938 w 1023938"/>
              <a:gd name="connsiteY55" fmla="*/ 738188 h 738188"/>
              <a:gd name="connsiteX0" fmla="*/ 0 w 1271588"/>
              <a:gd name="connsiteY0" fmla="*/ 0 h 957263"/>
              <a:gd name="connsiteX1" fmla="*/ 52388 w 1271588"/>
              <a:gd name="connsiteY1" fmla="*/ 14288 h 957263"/>
              <a:gd name="connsiteX2" fmla="*/ 73819 w 1271588"/>
              <a:gd name="connsiteY2" fmla="*/ 19050 h 957263"/>
              <a:gd name="connsiteX3" fmla="*/ 90488 w 1271588"/>
              <a:gd name="connsiteY3" fmla="*/ 33338 h 957263"/>
              <a:gd name="connsiteX4" fmla="*/ 104775 w 1271588"/>
              <a:gd name="connsiteY4" fmla="*/ 54769 h 957263"/>
              <a:gd name="connsiteX5" fmla="*/ 130969 w 1271588"/>
              <a:gd name="connsiteY5" fmla="*/ 76200 h 957263"/>
              <a:gd name="connsiteX6" fmla="*/ 147638 w 1271588"/>
              <a:gd name="connsiteY6" fmla="*/ 88106 h 957263"/>
              <a:gd name="connsiteX7" fmla="*/ 161925 w 1271588"/>
              <a:gd name="connsiteY7" fmla="*/ 104775 h 957263"/>
              <a:gd name="connsiteX8" fmla="*/ 178594 w 1271588"/>
              <a:gd name="connsiteY8" fmla="*/ 128588 h 957263"/>
              <a:gd name="connsiteX9" fmla="*/ 195263 w 1271588"/>
              <a:gd name="connsiteY9" fmla="*/ 142875 h 957263"/>
              <a:gd name="connsiteX10" fmla="*/ 209550 w 1271588"/>
              <a:gd name="connsiteY10" fmla="*/ 152400 h 957263"/>
              <a:gd name="connsiteX11" fmla="*/ 226219 w 1271588"/>
              <a:gd name="connsiteY11" fmla="*/ 166688 h 957263"/>
              <a:gd name="connsiteX12" fmla="*/ 247650 w 1271588"/>
              <a:gd name="connsiteY12" fmla="*/ 185738 h 957263"/>
              <a:gd name="connsiteX13" fmla="*/ 261938 w 1271588"/>
              <a:gd name="connsiteY13" fmla="*/ 192881 h 957263"/>
              <a:gd name="connsiteX14" fmla="*/ 276225 w 1271588"/>
              <a:gd name="connsiteY14" fmla="*/ 202406 h 957263"/>
              <a:gd name="connsiteX15" fmla="*/ 297657 w 1271588"/>
              <a:gd name="connsiteY15" fmla="*/ 207169 h 957263"/>
              <a:gd name="connsiteX16" fmla="*/ 333375 w 1271588"/>
              <a:gd name="connsiteY16" fmla="*/ 209550 h 957263"/>
              <a:gd name="connsiteX17" fmla="*/ 359569 w 1271588"/>
              <a:gd name="connsiteY17" fmla="*/ 216694 h 957263"/>
              <a:gd name="connsiteX18" fmla="*/ 378619 w 1271588"/>
              <a:gd name="connsiteY18" fmla="*/ 223838 h 957263"/>
              <a:gd name="connsiteX19" fmla="*/ 388144 w 1271588"/>
              <a:gd name="connsiteY19" fmla="*/ 233363 h 957263"/>
              <a:gd name="connsiteX20" fmla="*/ 397669 w 1271588"/>
              <a:gd name="connsiteY20" fmla="*/ 250031 h 957263"/>
              <a:gd name="connsiteX21" fmla="*/ 407194 w 1271588"/>
              <a:gd name="connsiteY21" fmla="*/ 276225 h 957263"/>
              <a:gd name="connsiteX22" fmla="*/ 426244 w 1271588"/>
              <a:gd name="connsiteY22" fmla="*/ 297656 h 957263"/>
              <a:gd name="connsiteX23" fmla="*/ 447675 w 1271588"/>
              <a:gd name="connsiteY23" fmla="*/ 300038 h 957263"/>
              <a:gd name="connsiteX24" fmla="*/ 476250 w 1271588"/>
              <a:gd name="connsiteY24" fmla="*/ 307181 h 957263"/>
              <a:gd name="connsiteX25" fmla="*/ 490538 w 1271588"/>
              <a:gd name="connsiteY25" fmla="*/ 316706 h 957263"/>
              <a:gd name="connsiteX26" fmla="*/ 497682 w 1271588"/>
              <a:gd name="connsiteY26" fmla="*/ 323850 h 957263"/>
              <a:gd name="connsiteX27" fmla="*/ 519113 w 1271588"/>
              <a:gd name="connsiteY27" fmla="*/ 345281 h 957263"/>
              <a:gd name="connsiteX28" fmla="*/ 542925 w 1271588"/>
              <a:gd name="connsiteY28" fmla="*/ 352425 h 957263"/>
              <a:gd name="connsiteX29" fmla="*/ 557213 w 1271588"/>
              <a:gd name="connsiteY29" fmla="*/ 359569 h 957263"/>
              <a:gd name="connsiteX30" fmla="*/ 581025 w 1271588"/>
              <a:gd name="connsiteY30" fmla="*/ 369094 h 957263"/>
              <a:gd name="connsiteX31" fmla="*/ 623888 w 1271588"/>
              <a:gd name="connsiteY31" fmla="*/ 376238 h 957263"/>
              <a:gd name="connsiteX32" fmla="*/ 635794 w 1271588"/>
              <a:gd name="connsiteY32" fmla="*/ 383381 h 957263"/>
              <a:gd name="connsiteX33" fmla="*/ 652463 w 1271588"/>
              <a:gd name="connsiteY33" fmla="*/ 402431 h 957263"/>
              <a:gd name="connsiteX34" fmla="*/ 671513 w 1271588"/>
              <a:gd name="connsiteY34" fmla="*/ 416719 h 957263"/>
              <a:gd name="connsiteX35" fmla="*/ 695325 w 1271588"/>
              <a:gd name="connsiteY35" fmla="*/ 426244 h 957263"/>
              <a:gd name="connsiteX36" fmla="*/ 711994 w 1271588"/>
              <a:gd name="connsiteY36" fmla="*/ 438150 h 957263"/>
              <a:gd name="connsiteX37" fmla="*/ 723900 w 1271588"/>
              <a:gd name="connsiteY37" fmla="*/ 450056 h 957263"/>
              <a:gd name="connsiteX38" fmla="*/ 731044 w 1271588"/>
              <a:gd name="connsiteY38" fmla="*/ 461963 h 957263"/>
              <a:gd name="connsiteX39" fmla="*/ 738188 w 1271588"/>
              <a:gd name="connsiteY39" fmla="*/ 471488 h 957263"/>
              <a:gd name="connsiteX40" fmla="*/ 750094 w 1271588"/>
              <a:gd name="connsiteY40" fmla="*/ 492919 h 957263"/>
              <a:gd name="connsiteX41" fmla="*/ 769144 w 1271588"/>
              <a:gd name="connsiteY41" fmla="*/ 507206 h 957263"/>
              <a:gd name="connsiteX42" fmla="*/ 816769 w 1271588"/>
              <a:gd name="connsiteY42" fmla="*/ 528638 h 957263"/>
              <a:gd name="connsiteX43" fmla="*/ 842963 w 1271588"/>
              <a:gd name="connsiteY43" fmla="*/ 540544 h 957263"/>
              <a:gd name="connsiteX44" fmla="*/ 869157 w 1271588"/>
              <a:gd name="connsiteY44" fmla="*/ 554831 h 957263"/>
              <a:gd name="connsiteX45" fmla="*/ 907257 w 1271588"/>
              <a:gd name="connsiteY45" fmla="*/ 583406 h 957263"/>
              <a:gd name="connsiteX46" fmla="*/ 935832 w 1271588"/>
              <a:gd name="connsiteY46" fmla="*/ 607219 h 957263"/>
              <a:gd name="connsiteX47" fmla="*/ 942975 w 1271588"/>
              <a:gd name="connsiteY47" fmla="*/ 611981 h 957263"/>
              <a:gd name="connsiteX48" fmla="*/ 964407 w 1271588"/>
              <a:gd name="connsiteY48" fmla="*/ 633413 h 957263"/>
              <a:gd name="connsiteX49" fmla="*/ 978694 w 1271588"/>
              <a:gd name="connsiteY49" fmla="*/ 650081 h 957263"/>
              <a:gd name="connsiteX50" fmla="*/ 992982 w 1271588"/>
              <a:gd name="connsiteY50" fmla="*/ 666750 h 957263"/>
              <a:gd name="connsiteX51" fmla="*/ 1000125 w 1271588"/>
              <a:gd name="connsiteY51" fmla="*/ 683419 h 957263"/>
              <a:gd name="connsiteX52" fmla="*/ 1012032 w 1271588"/>
              <a:gd name="connsiteY52" fmla="*/ 697706 h 957263"/>
              <a:gd name="connsiteX53" fmla="*/ 1014413 w 1271588"/>
              <a:gd name="connsiteY53" fmla="*/ 714375 h 957263"/>
              <a:gd name="connsiteX54" fmla="*/ 1019175 w 1271588"/>
              <a:gd name="connsiteY54" fmla="*/ 731044 h 957263"/>
              <a:gd name="connsiteX55" fmla="*/ 1271588 w 1271588"/>
              <a:gd name="connsiteY55" fmla="*/ 957263 h 95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71588" h="957263">
                <a:moveTo>
                  <a:pt x="0" y="0"/>
                </a:moveTo>
                <a:lnTo>
                  <a:pt x="52388" y="14288"/>
                </a:lnTo>
                <a:cubicBezTo>
                  <a:pt x="64691" y="17463"/>
                  <a:pt x="67469" y="15875"/>
                  <a:pt x="73819" y="19050"/>
                </a:cubicBezTo>
                <a:cubicBezTo>
                  <a:pt x="80169" y="22225"/>
                  <a:pt x="85329" y="27385"/>
                  <a:pt x="90488" y="33338"/>
                </a:cubicBezTo>
                <a:cubicBezTo>
                  <a:pt x="95647" y="39291"/>
                  <a:pt x="98028" y="47625"/>
                  <a:pt x="104775" y="54769"/>
                </a:cubicBezTo>
                <a:cubicBezTo>
                  <a:pt x="111522" y="61913"/>
                  <a:pt x="123825" y="70644"/>
                  <a:pt x="130969" y="76200"/>
                </a:cubicBezTo>
                <a:cubicBezTo>
                  <a:pt x="138113" y="81756"/>
                  <a:pt x="142479" y="83344"/>
                  <a:pt x="147638" y="88106"/>
                </a:cubicBezTo>
                <a:cubicBezTo>
                  <a:pt x="152797" y="92869"/>
                  <a:pt x="156766" y="98028"/>
                  <a:pt x="161925" y="104775"/>
                </a:cubicBezTo>
                <a:cubicBezTo>
                  <a:pt x="167084" y="111522"/>
                  <a:pt x="173038" y="122238"/>
                  <a:pt x="178594" y="128588"/>
                </a:cubicBezTo>
                <a:cubicBezTo>
                  <a:pt x="184150" y="134938"/>
                  <a:pt x="190104" y="138906"/>
                  <a:pt x="195263" y="142875"/>
                </a:cubicBezTo>
                <a:cubicBezTo>
                  <a:pt x="200422" y="146844"/>
                  <a:pt x="204391" y="148431"/>
                  <a:pt x="209550" y="152400"/>
                </a:cubicBezTo>
                <a:cubicBezTo>
                  <a:pt x="214709" y="156369"/>
                  <a:pt x="219869" y="161132"/>
                  <a:pt x="226219" y="166688"/>
                </a:cubicBezTo>
                <a:cubicBezTo>
                  <a:pt x="232569" y="172244"/>
                  <a:pt x="241697" y="181372"/>
                  <a:pt x="247650" y="185738"/>
                </a:cubicBezTo>
                <a:cubicBezTo>
                  <a:pt x="253603" y="190104"/>
                  <a:pt x="257176" y="190103"/>
                  <a:pt x="261938" y="192881"/>
                </a:cubicBezTo>
                <a:cubicBezTo>
                  <a:pt x="266700" y="195659"/>
                  <a:pt x="270272" y="200025"/>
                  <a:pt x="276225" y="202406"/>
                </a:cubicBezTo>
                <a:cubicBezTo>
                  <a:pt x="282178" y="204787"/>
                  <a:pt x="288132" y="205978"/>
                  <a:pt x="297657" y="207169"/>
                </a:cubicBezTo>
                <a:cubicBezTo>
                  <a:pt x="307182" y="208360"/>
                  <a:pt x="323056" y="207963"/>
                  <a:pt x="333375" y="209550"/>
                </a:cubicBezTo>
                <a:cubicBezTo>
                  <a:pt x="343694" y="211138"/>
                  <a:pt x="352028" y="214313"/>
                  <a:pt x="359569" y="216694"/>
                </a:cubicBezTo>
                <a:cubicBezTo>
                  <a:pt x="367110" y="219075"/>
                  <a:pt x="373857" y="221060"/>
                  <a:pt x="378619" y="223838"/>
                </a:cubicBezTo>
                <a:cubicBezTo>
                  <a:pt x="383382" y="226616"/>
                  <a:pt x="384969" y="228998"/>
                  <a:pt x="388144" y="233363"/>
                </a:cubicBezTo>
                <a:cubicBezTo>
                  <a:pt x="391319" y="237728"/>
                  <a:pt x="394494" y="242887"/>
                  <a:pt x="397669" y="250031"/>
                </a:cubicBezTo>
                <a:cubicBezTo>
                  <a:pt x="400844" y="257175"/>
                  <a:pt x="402432" y="268288"/>
                  <a:pt x="407194" y="276225"/>
                </a:cubicBezTo>
                <a:cubicBezTo>
                  <a:pt x="411957" y="284163"/>
                  <a:pt x="419497" y="293687"/>
                  <a:pt x="426244" y="297656"/>
                </a:cubicBezTo>
                <a:cubicBezTo>
                  <a:pt x="432991" y="301625"/>
                  <a:pt x="439341" y="298451"/>
                  <a:pt x="447675" y="300038"/>
                </a:cubicBezTo>
                <a:cubicBezTo>
                  <a:pt x="456009" y="301625"/>
                  <a:pt x="469106" y="304403"/>
                  <a:pt x="476250" y="307181"/>
                </a:cubicBezTo>
                <a:cubicBezTo>
                  <a:pt x="483394" y="309959"/>
                  <a:pt x="486966" y="313928"/>
                  <a:pt x="490538" y="316706"/>
                </a:cubicBezTo>
                <a:cubicBezTo>
                  <a:pt x="494110" y="319484"/>
                  <a:pt x="497682" y="323850"/>
                  <a:pt x="497682" y="323850"/>
                </a:cubicBezTo>
                <a:cubicBezTo>
                  <a:pt x="502444" y="328612"/>
                  <a:pt x="511573" y="340519"/>
                  <a:pt x="519113" y="345281"/>
                </a:cubicBezTo>
                <a:cubicBezTo>
                  <a:pt x="526654" y="350044"/>
                  <a:pt x="536575" y="350044"/>
                  <a:pt x="542925" y="352425"/>
                </a:cubicBezTo>
                <a:cubicBezTo>
                  <a:pt x="549275" y="354806"/>
                  <a:pt x="550863" y="356791"/>
                  <a:pt x="557213" y="359569"/>
                </a:cubicBezTo>
                <a:cubicBezTo>
                  <a:pt x="563563" y="362347"/>
                  <a:pt x="569913" y="366316"/>
                  <a:pt x="581025" y="369094"/>
                </a:cubicBezTo>
                <a:cubicBezTo>
                  <a:pt x="592137" y="371872"/>
                  <a:pt x="614760" y="373857"/>
                  <a:pt x="623888" y="376238"/>
                </a:cubicBezTo>
                <a:cubicBezTo>
                  <a:pt x="633016" y="378619"/>
                  <a:pt x="631032" y="379016"/>
                  <a:pt x="635794" y="383381"/>
                </a:cubicBezTo>
                <a:cubicBezTo>
                  <a:pt x="640556" y="387746"/>
                  <a:pt x="646510" y="396875"/>
                  <a:pt x="652463" y="402431"/>
                </a:cubicBezTo>
                <a:cubicBezTo>
                  <a:pt x="658416" y="407987"/>
                  <a:pt x="664370" y="412750"/>
                  <a:pt x="671513" y="416719"/>
                </a:cubicBezTo>
                <a:cubicBezTo>
                  <a:pt x="678656" y="420688"/>
                  <a:pt x="688578" y="422672"/>
                  <a:pt x="695325" y="426244"/>
                </a:cubicBezTo>
                <a:cubicBezTo>
                  <a:pt x="702072" y="429816"/>
                  <a:pt x="707232" y="434181"/>
                  <a:pt x="711994" y="438150"/>
                </a:cubicBezTo>
                <a:cubicBezTo>
                  <a:pt x="716756" y="442119"/>
                  <a:pt x="720725" y="446087"/>
                  <a:pt x="723900" y="450056"/>
                </a:cubicBezTo>
                <a:cubicBezTo>
                  <a:pt x="727075" y="454025"/>
                  <a:pt x="728663" y="458391"/>
                  <a:pt x="731044" y="461963"/>
                </a:cubicBezTo>
                <a:cubicBezTo>
                  <a:pt x="733425" y="465535"/>
                  <a:pt x="735013" y="466329"/>
                  <a:pt x="738188" y="471488"/>
                </a:cubicBezTo>
                <a:cubicBezTo>
                  <a:pt x="741363" y="476647"/>
                  <a:pt x="744935" y="486966"/>
                  <a:pt x="750094" y="492919"/>
                </a:cubicBezTo>
                <a:cubicBezTo>
                  <a:pt x="755253" y="498872"/>
                  <a:pt x="758032" y="501253"/>
                  <a:pt x="769144" y="507206"/>
                </a:cubicBezTo>
                <a:cubicBezTo>
                  <a:pt x="780256" y="513159"/>
                  <a:pt x="816769" y="528638"/>
                  <a:pt x="816769" y="528638"/>
                </a:cubicBezTo>
                <a:cubicBezTo>
                  <a:pt x="829072" y="534194"/>
                  <a:pt x="834232" y="536179"/>
                  <a:pt x="842963" y="540544"/>
                </a:cubicBezTo>
                <a:cubicBezTo>
                  <a:pt x="851694" y="544910"/>
                  <a:pt x="858441" y="547687"/>
                  <a:pt x="869157" y="554831"/>
                </a:cubicBezTo>
                <a:cubicBezTo>
                  <a:pt x="879873" y="561975"/>
                  <a:pt x="896145" y="574675"/>
                  <a:pt x="907257" y="583406"/>
                </a:cubicBezTo>
                <a:cubicBezTo>
                  <a:pt x="918369" y="592137"/>
                  <a:pt x="929879" y="602457"/>
                  <a:pt x="935832" y="607219"/>
                </a:cubicBezTo>
                <a:cubicBezTo>
                  <a:pt x="941785" y="611981"/>
                  <a:pt x="938213" y="607615"/>
                  <a:pt x="942975" y="611981"/>
                </a:cubicBezTo>
                <a:cubicBezTo>
                  <a:pt x="947737" y="616347"/>
                  <a:pt x="958454" y="627063"/>
                  <a:pt x="964407" y="633413"/>
                </a:cubicBezTo>
                <a:cubicBezTo>
                  <a:pt x="970360" y="639763"/>
                  <a:pt x="978694" y="650081"/>
                  <a:pt x="978694" y="650081"/>
                </a:cubicBezTo>
                <a:cubicBezTo>
                  <a:pt x="983456" y="655637"/>
                  <a:pt x="989410" y="661194"/>
                  <a:pt x="992982" y="666750"/>
                </a:cubicBezTo>
                <a:cubicBezTo>
                  <a:pt x="996554" y="672306"/>
                  <a:pt x="996950" y="678260"/>
                  <a:pt x="1000125" y="683419"/>
                </a:cubicBezTo>
                <a:cubicBezTo>
                  <a:pt x="1003300" y="688578"/>
                  <a:pt x="1009651" y="692547"/>
                  <a:pt x="1012032" y="697706"/>
                </a:cubicBezTo>
                <a:cubicBezTo>
                  <a:pt x="1014413" y="702865"/>
                  <a:pt x="1013223" y="708819"/>
                  <a:pt x="1014413" y="714375"/>
                </a:cubicBezTo>
                <a:cubicBezTo>
                  <a:pt x="1015603" y="719931"/>
                  <a:pt x="976313" y="690563"/>
                  <a:pt x="1019175" y="731044"/>
                </a:cubicBezTo>
                <a:cubicBezTo>
                  <a:pt x="1062037" y="771525"/>
                  <a:pt x="1271588" y="957263"/>
                  <a:pt x="1271588" y="957263"/>
                </a:cubicBezTo>
              </a:path>
            </a:pathLst>
          </a:custGeom>
          <a:noFill/>
          <a:ln w="46990">
            <a:solidFill>
              <a:srgbClr val="0200C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sp>
        <p:nvSpPr>
          <p:cNvPr id="83" name="AutoShape 19"/>
          <p:cNvSpPr>
            <a:spLocks noChangeArrowheads="1"/>
          </p:cNvSpPr>
          <p:nvPr/>
        </p:nvSpPr>
        <p:spPr bwMode="auto">
          <a:xfrm>
            <a:off x="2841941" y="4779717"/>
            <a:ext cx="1173478" cy="187927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ықорған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AutoShape 19"/>
          <p:cNvSpPr>
            <a:spLocks noChangeArrowheads="1"/>
          </p:cNvSpPr>
          <p:nvPr/>
        </p:nvSpPr>
        <p:spPr bwMode="auto">
          <a:xfrm>
            <a:off x="4480110" y="584997"/>
            <a:ext cx="1326011" cy="174101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kk-KZ" sz="105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КЕМЕН</a:t>
            </a:r>
            <a:endParaRPr lang="ru-RU" sz="105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AutoShape 19"/>
          <p:cNvSpPr>
            <a:spLocks noChangeArrowheads="1"/>
          </p:cNvSpPr>
          <p:nvPr/>
        </p:nvSpPr>
        <p:spPr bwMode="auto">
          <a:xfrm>
            <a:off x="4211960" y="1193097"/>
            <a:ext cx="903612" cy="13405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батау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Text Box 2900"/>
          <p:cNvSpPr txBox="1">
            <a:spLocks noChangeArrowheads="1"/>
          </p:cNvSpPr>
          <p:nvPr/>
        </p:nvSpPr>
        <p:spPr bwMode="auto">
          <a:xfrm>
            <a:off x="1393584" y="-44949"/>
            <a:ext cx="6434969" cy="253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kk-KZ" sz="1050" b="1" dirty="0">
                <a:cs typeface="Aparajita" panose="020B0604020202020204" pitchFamily="34" charset="0"/>
              </a:rPr>
              <a:t>ПРОЕКТ </a:t>
            </a:r>
            <a:r>
              <a:rPr lang="ru-RU" sz="1050" b="1" dirty="0">
                <a:cs typeface="Aparajita" panose="020B0604020202020204" pitchFamily="34" charset="0"/>
              </a:rPr>
              <a:t>«ТАЛДЫКОРГАН – УСТЬ-КАМЕНОГОРСК»</a:t>
            </a:r>
          </a:p>
        </p:txBody>
      </p:sp>
      <p:sp>
        <p:nvSpPr>
          <p:cNvPr id="143" name="Полилиния 142"/>
          <p:cNvSpPr/>
          <p:nvPr/>
        </p:nvSpPr>
        <p:spPr>
          <a:xfrm>
            <a:off x="3446214" y="1655118"/>
            <a:ext cx="369896" cy="1320209"/>
          </a:xfrm>
          <a:custGeom>
            <a:avLst/>
            <a:gdLst>
              <a:gd name="connsiteX0" fmla="*/ 376534 w 376534"/>
              <a:gd name="connsiteY0" fmla="*/ 0 h 1371600"/>
              <a:gd name="connsiteX1" fmla="*/ 314622 w 376534"/>
              <a:gd name="connsiteY1" fmla="*/ 33338 h 1371600"/>
              <a:gd name="connsiteX2" fmla="*/ 302716 w 376534"/>
              <a:gd name="connsiteY2" fmla="*/ 47625 h 1371600"/>
              <a:gd name="connsiteX3" fmla="*/ 276522 w 376534"/>
              <a:gd name="connsiteY3" fmla="*/ 69056 h 1371600"/>
              <a:gd name="connsiteX4" fmla="*/ 259853 w 376534"/>
              <a:gd name="connsiteY4" fmla="*/ 83344 h 1371600"/>
              <a:gd name="connsiteX5" fmla="*/ 238422 w 376534"/>
              <a:gd name="connsiteY5" fmla="*/ 100013 h 1371600"/>
              <a:gd name="connsiteX6" fmla="*/ 224134 w 376534"/>
              <a:gd name="connsiteY6" fmla="*/ 114300 h 1371600"/>
              <a:gd name="connsiteX7" fmla="*/ 205084 w 376534"/>
              <a:gd name="connsiteY7" fmla="*/ 130969 h 1371600"/>
              <a:gd name="connsiteX8" fmla="*/ 195559 w 376534"/>
              <a:gd name="connsiteY8" fmla="*/ 140494 h 1371600"/>
              <a:gd name="connsiteX9" fmla="*/ 186034 w 376534"/>
              <a:gd name="connsiteY9" fmla="*/ 154781 h 1371600"/>
              <a:gd name="connsiteX10" fmla="*/ 178891 w 376534"/>
              <a:gd name="connsiteY10" fmla="*/ 169069 h 1371600"/>
              <a:gd name="connsiteX11" fmla="*/ 169366 w 376534"/>
              <a:gd name="connsiteY11" fmla="*/ 190500 h 1371600"/>
              <a:gd name="connsiteX12" fmla="*/ 162222 w 376534"/>
              <a:gd name="connsiteY12" fmla="*/ 202406 h 1371600"/>
              <a:gd name="connsiteX13" fmla="*/ 152697 w 376534"/>
              <a:gd name="connsiteY13" fmla="*/ 216694 h 1371600"/>
              <a:gd name="connsiteX14" fmla="*/ 143172 w 376534"/>
              <a:gd name="connsiteY14" fmla="*/ 242888 h 1371600"/>
              <a:gd name="connsiteX15" fmla="*/ 136028 w 376534"/>
              <a:gd name="connsiteY15" fmla="*/ 257175 h 1371600"/>
              <a:gd name="connsiteX16" fmla="*/ 133647 w 376534"/>
              <a:gd name="connsiteY16" fmla="*/ 264319 h 1371600"/>
              <a:gd name="connsiteX17" fmla="*/ 121741 w 376534"/>
              <a:gd name="connsiteY17" fmla="*/ 280988 h 1371600"/>
              <a:gd name="connsiteX18" fmla="*/ 112216 w 376534"/>
              <a:gd name="connsiteY18" fmla="*/ 290513 h 1371600"/>
              <a:gd name="connsiteX19" fmla="*/ 100309 w 376534"/>
              <a:gd name="connsiteY19" fmla="*/ 307181 h 1371600"/>
              <a:gd name="connsiteX20" fmla="*/ 90784 w 376534"/>
              <a:gd name="connsiteY20" fmla="*/ 321469 h 1371600"/>
              <a:gd name="connsiteX21" fmla="*/ 83641 w 376534"/>
              <a:gd name="connsiteY21" fmla="*/ 338138 h 1371600"/>
              <a:gd name="connsiteX22" fmla="*/ 86022 w 376534"/>
              <a:gd name="connsiteY22" fmla="*/ 350044 h 1371600"/>
              <a:gd name="connsiteX23" fmla="*/ 86022 w 376534"/>
              <a:gd name="connsiteY23" fmla="*/ 369094 h 1371600"/>
              <a:gd name="connsiteX24" fmla="*/ 93166 w 376534"/>
              <a:gd name="connsiteY24" fmla="*/ 388144 h 1371600"/>
              <a:gd name="connsiteX25" fmla="*/ 100309 w 376534"/>
              <a:gd name="connsiteY25" fmla="*/ 402431 h 1371600"/>
              <a:gd name="connsiteX26" fmla="*/ 102691 w 376534"/>
              <a:gd name="connsiteY26" fmla="*/ 414338 h 1371600"/>
              <a:gd name="connsiteX27" fmla="*/ 112216 w 376534"/>
              <a:gd name="connsiteY27" fmla="*/ 428625 h 1371600"/>
              <a:gd name="connsiteX28" fmla="*/ 119359 w 376534"/>
              <a:gd name="connsiteY28" fmla="*/ 438150 h 1371600"/>
              <a:gd name="connsiteX29" fmla="*/ 124122 w 376534"/>
              <a:gd name="connsiteY29" fmla="*/ 445294 h 1371600"/>
              <a:gd name="connsiteX30" fmla="*/ 131266 w 376534"/>
              <a:gd name="connsiteY30" fmla="*/ 464344 h 1371600"/>
              <a:gd name="connsiteX31" fmla="*/ 124122 w 376534"/>
              <a:gd name="connsiteY31" fmla="*/ 478631 h 1371600"/>
              <a:gd name="connsiteX32" fmla="*/ 112216 w 376534"/>
              <a:gd name="connsiteY32" fmla="*/ 488156 h 1371600"/>
              <a:gd name="connsiteX33" fmla="*/ 102691 w 376534"/>
              <a:gd name="connsiteY33" fmla="*/ 495300 h 1371600"/>
              <a:gd name="connsiteX34" fmla="*/ 95547 w 376534"/>
              <a:gd name="connsiteY34" fmla="*/ 507206 h 1371600"/>
              <a:gd name="connsiteX35" fmla="*/ 95547 w 376534"/>
              <a:gd name="connsiteY35" fmla="*/ 521494 h 1371600"/>
              <a:gd name="connsiteX36" fmla="*/ 97928 w 376534"/>
              <a:gd name="connsiteY36" fmla="*/ 540544 h 1371600"/>
              <a:gd name="connsiteX37" fmla="*/ 81259 w 376534"/>
              <a:gd name="connsiteY37" fmla="*/ 550069 h 1371600"/>
              <a:gd name="connsiteX38" fmla="*/ 64591 w 376534"/>
              <a:gd name="connsiteY38" fmla="*/ 557213 h 1371600"/>
              <a:gd name="connsiteX39" fmla="*/ 43159 w 376534"/>
              <a:gd name="connsiteY39" fmla="*/ 631031 h 1371600"/>
              <a:gd name="connsiteX40" fmla="*/ 36016 w 376534"/>
              <a:gd name="connsiteY40" fmla="*/ 666750 h 1371600"/>
              <a:gd name="connsiteX41" fmla="*/ 28872 w 376534"/>
              <a:gd name="connsiteY41" fmla="*/ 681038 h 1371600"/>
              <a:gd name="connsiteX42" fmla="*/ 21728 w 376534"/>
              <a:gd name="connsiteY42" fmla="*/ 695325 h 1371600"/>
              <a:gd name="connsiteX43" fmla="*/ 9822 w 376534"/>
              <a:gd name="connsiteY43" fmla="*/ 719138 h 1371600"/>
              <a:gd name="connsiteX44" fmla="*/ 9822 w 376534"/>
              <a:gd name="connsiteY44" fmla="*/ 738188 h 1371600"/>
              <a:gd name="connsiteX45" fmla="*/ 2678 w 376534"/>
              <a:gd name="connsiteY45" fmla="*/ 754856 h 1371600"/>
              <a:gd name="connsiteX46" fmla="*/ 297 w 376534"/>
              <a:gd name="connsiteY46" fmla="*/ 776288 h 1371600"/>
              <a:gd name="connsiteX47" fmla="*/ 297 w 376534"/>
              <a:gd name="connsiteY47" fmla="*/ 790575 h 1371600"/>
              <a:gd name="connsiteX48" fmla="*/ 2678 w 376534"/>
              <a:gd name="connsiteY48" fmla="*/ 802481 h 1371600"/>
              <a:gd name="connsiteX49" fmla="*/ 7441 w 376534"/>
              <a:gd name="connsiteY49" fmla="*/ 819150 h 1371600"/>
              <a:gd name="connsiteX50" fmla="*/ 12203 w 376534"/>
              <a:gd name="connsiteY50" fmla="*/ 821531 h 1371600"/>
              <a:gd name="connsiteX51" fmla="*/ 19347 w 376534"/>
              <a:gd name="connsiteY51" fmla="*/ 831056 h 1371600"/>
              <a:gd name="connsiteX52" fmla="*/ 24109 w 376534"/>
              <a:gd name="connsiteY52" fmla="*/ 842963 h 1371600"/>
              <a:gd name="connsiteX53" fmla="*/ 33634 w 376534"/>
              <a:gd name="connsiteY53" fmla="*/ 859631 h 1371600"/>
              <a:gd name="connsiteX54" fmla="*/ 33634 w 376534"/>
              <a:gd name="connsiteY54" fmla="*/ 871538 h 1371600"/>
              <a:gd name="connsiteX55" fmla="*/ 36016 w 376534"/>
              <a:gd name="connsiteY55" fmla="*/ 892969 h 1371600"/>
              <a:gd name="connsiteX56" fmla="*/ 36016 w 376534"/>
              <a:gd name="connsiteY56" fmla="*/ 919163 h 1371600"/>
              <a:gd name="connsiteX57" fmla="*/ 36016 w 376534"/>
              <a:gd name="connsiteY57" fmla="*/ 926306 h 1371600"/>
              <a:gd name="connsiteX58" fmla="*/ 36016 w 376534"/>
              <a:gd name="connsiteY58" fmla="*/ 945356 h 1371600"/>
              <a:gd name="connsiteX59" fmla="*/ 36016 w 376534"/>
              <a:gd name="connsiteY59" fmla="*/ 957263 h 1371600"/>
              <a:gd name="connsiteX60" fmla="*/ 36016 w 376534"/>
              <a:gd name="connsiteY60" fmla="*/ 966788 h 1371600"/>
              <a:gd name="connsiteX61" fmla="*/ 43159 w 376534"/>
              <a:gd name="connsiteY61" fmla="*/ 985838 h 1371600"/>
              <a:gd name="connsiteX62" fmla="*/ 50303 w 376534"/>
              <a:gd name="connsiteY62" fmla="*/ 997744 h 1371600"/>
              <a:gd name="connsiteX63" fmla="*/ 59828 w 376534"/>
              <a:gd name="connsiteY63" fmla="*/ 1007269 h 1371600"/>
              <a:gd name="connsiteX64" fmla="*/ 66972 w 376534"/>
              <a:gd name="connsiteY64" fmla="*/ 1014413 h 1371600"/>
              <a:gd name="connsiteX65" fmla="*/ 74116 w 376534"/>
              <a:gd name="connsiteY65" fmla="*/ 1023938 h 1371600"/>
              <a:gd name="connsiteX66" fmla="*/ 88403 w 376534"/>
              <a:gd name="connsiteY66" fmla="*/ 1038225 h 1371600"/>
              <a:gd name="connsiteX67" fmla="*/ 97928 w 376534"/>
              <a:gd name="connsiteY67" fmla="*/ 1042988 h 1371600"/>
              <a:gd name="connsiteX68" fmla="*/ 105072 w 376534"/>
              <a:gd name="connsiteY68" fmla="*/ 1057275 h 1371600"/>
              <a:gd name="connsiteX69" fmla="*/ 119359 w 376534"/>
              <a:gd name="connsiteY69" fmla="*/ 1066800 h 1371600"/>
              <a:gd name="connsiteX70" fmla="*/ 138409 w 376534"/>
              <a:gd name="connsiteY70" fmla="*/ 1085850 h 1371600"/>
              <a:gd name="connsiteX71" fmla="*/ 150316 w 376534"/>
              <a:gd name="connsiteY71" fmla="*/ 1092994 h 1371600"/>
              <a:gd name="connsiteX72" fmla="*/ 162222 w 376534"/>
              <a:gd name="connsiteY72" fmla="*/ 1112044 h 1371600"/>
              <a:gd name="connsiteX73" fmla="*/ 171747 w 376534"/>
              <a:gd name="connsiteY73" fmla="*/ 1116806 h 1371600"/>
              <a:gd name="connsiteX74" fmla="*/ 183653 w 376534"/>
              <a:gd name="connsiteY74" fmla="*/ 1126331 h 1371600"/>
              <a:gd name="connsiteX75" fmla="*/ 193178 w 376534"/>
              <a:gd name="connsiteY75" fmla="*/ 1135856 h 1371600"/>
              <a:gd name="connsiteX76" fmla="*/ 207466 w 376534"/>
              <a:gd name="connsiteY76" fmla="*/ 1164431 h 1371600"/>
              <a:gd name="connsiteX77" fmla="*/ 212228 w 376534"/>
              <a:gd name="connsiteY77" fmla="*/ 1173956 h 1371600"/>
              <a:gd name="connsiteX78" fmla="*/ 212228 w 376534"/>
              <a:gd name="connsiteY78" fmla="*/ 1231106 h 1371600"/>
              <a:gd name="connsiteX79" fmla="*/ 209847 w 376534"/>
              <a:gd name="connsiteY79" fmla="*/ 1259681 h 1371600"/>
              <a:gd name="connsiteX80" fmla="*/ 205084 w 376534"/>
              <a:gd name="connsiteY80" fmla="*/ 1269206 h 1371600"/>
              <a:gd name="connsiteX81" fmla="*/ 202703 w 376534"/>
              <a:gd name="connsiteY81" fmla="*/ 1300163 h 1371600"/>
              <a:gd name="connsiteX82" fmla="*/ 202703 w 376534"/>
              <a:gd name="connsiteY82" fmla="*/ 1328738 h 1371600"/>
              <a:gd name="connsiteX83" fmla="*/ 212228 w 376534"/>
              <a:gd name="connsiteY83" fmla="*/ 1350169 h 1371600"/>
              <a:gd name="connsiteX84" fmla="*/ 226516 w 376534"/>
              <a:gd name="connsiteY84" fmla="*/ 1371600 h 1371600"/>
              <a:gd name="connsiteX0" fmla="*/ 376237 w 376237"/>
              <a:gd name="connsiteY0" fmla="*/ 0 h 1438966"/>
              <a:gd name="connsiteX1" fmla="*/ 314325 w 376237"/>
              <a:gd name="connsiteY1" fmla="*/ 33338 h 1438966"/>
              <a:gd name="connsiteX2" fmla="*/ 302419 w 376237"/>
              <a:gd name="connsiteY2" fmla="*/ 47625 h 1438966"/>
              <a:gd name="connsiteX3" fmla="*/ 276225 w 376237"/>
              <a:gd name="connsiteY3" fmla="*/ 69056 h 1438966"/>
              <a:gd name="connsiteX4" fmla="*/ 259556 w 376237"/>
              <a:gd name="connsiteY4" fmla="*/ 83344 h 1438966"/>
              <a:gd name="connsiteX5" fmla="*/ 238125 w 376237"/>
              <a:gd name="connsiteY5" fmla="*/ 100013 h 1438966"/>
              <a:gd name="connsiteX6" fmla="*/ 223837 w 376237"/>
              <a:gd name="connsiteY6" fmla="*/ 114300 h 1438966"/>
              <a:gd name="connsiteX7" fmla="*/ 204787 w 376237"/>
              <a:gd name="connsiteY7" fmla="*/ 130969 h 1438966"/>
              <a:gd name="connsiteX8" fmla="*/ 195262 w 376237"/>
              <a:gd name="connsiteY8" fmla="*/ 140494 h 1438966"/>
              <a:gd name="connsiteX9" fmla="*/ 185737 w 376237"/>
              <a:gd name="connsiteY9" fmla="*/ 154781 h 1438966"/>
              <a:gd name="connsiteX10" fmla="*/ 178594 w 376237"/>
              <a:gd name="connsiteY10" fmla="*/ 169069 h 1438966"/>
              <a:gd name="connsiteX11" fmla="*/ 169069 w 376237"/>
              <a:gd name="connsiteY11" fmla="*/ 190500 h 1438966"/>
              <a:gd name="connsiteX12" fmla="*/ 161925 w 376237"/>
              <a:gd name="connsiteY12" fmla="*/ 202406 h 1438966"/>
              <a:gd name="connsiteX13" fmla="*/ 152400 w 376237"/>
              <a:gd name="connsiteY13" fmla="*/ 216694 h 1438966"/>
              <a:gd name="connsiteX14" fmla="*/ 142875 w 376237"/>
              <a:gd name="connsiteY14" fmla="*/ 242888 h 1438966"/>
              <a:gd name="connsiteX15" fmla="*/ 135731 w 376237"/>
              <a:gd name="connsiteY15" fmla="*/ 257175 h 1438966"/>
              <a:gd name="connsiteX16" fmla="*/ 133350 w 376237"/>
              <a:gd name="connsiteY16" fmla="*/ 264319 h 1438966"/>
              <a:gd name="connsiteX17" fmla="*/ 121444 w 376237"/>
              <a:gd name="connsiteY17" fmla="*/ 280988 h 1438966"/>
              <a:gd name="connsiteX18" fmla="*/ 111919 w 376237"/>
              <a:gd name="connsiteY18" fmla="*/ 290513 h 1438966"/>
              <a:gd name="connsiteX19" fmla="*/ 100012 w 376237"/>
              <a:gd name="connsiteY19" fmla="*/ 307181 h 1438966"/>
              <a:gd name="connsiteX20" fmla="*/ 90487 w 376237"/>
              <a:gd name="connsiteY20" fmla="*/ 321469 h 1438966"/>
              <a:gd name="connsiteX21" fmla="*/ 83344 w 376237"/>
              <a:gd name="connsiteY21" fmla="*/ 338138 h 1438966"/>
              <a:gd name="connsiteX22" fmla="*/ 85725 w 376237"/>
              <a:gd name="connsiteY22" fmla="*/ 350044 h 1438966"/>
              <a:gd name="connsiteX23" fmla="*/ 85725 w 376237"/>
              <a:gd name="connsiteY23" fmla="*/ 369094 h 1438966"/>
              <a:gd name="connsiteX24" fmla="*/ 92869 w 376237"/>
              <a:gd name="connsiteY24" fmla="*/ 388144 h 1438966"/>
              <a:gd name="connsiteX25" fmla="*/ 100012 w 376237"/>
              <a:gd name="connsiteY25" fmla="*/ 402431 h 1438966"/>
              <a:gd name="connsiteX26" fmla="*/ 102394 w 376237"/>
              <a:gd name="connsiteY26" fmla="*/ 414338 h 1438966"/>
              <a:gd name="connsiteX27" fmla="*/ 111919 w 376237"/>
              <a:gd name="connsiteY27" fmla="*/ 428625 h 1438966"/>
              <a:gd name="connsiteX28" fmla="*/ 119062 w 376237"/>
              <a:gd name="connsiteY28" fmla="*/ 438150 h 1438966"/>
              <a:gd name="connsiteX29" fmla="*/ 123825 w 376237"/>
              <a:gd name="connsiteY29" fmla="*/ 445294 h 1438966"/>
              <a:gd name="connsiteX30" fmla="*/ 130969 w 376237"/>
              <a:gd name="connsiteY30" fmla="*/ 464344 h 1438966"/>
              <a:gd name="connsiteX31" fmla="*/ 123825 w 376237"/>
              <a:gd name="connsiteY31" fmla="*/ 478631 h 1438966"/>
              <a:gd name="connsiteX32" fmla="*/ 111919 w 376237"/>
              <a:gd name="connsiteY32" fmla="*/ 488156 h 1438966"/>
              <a:gd name="connsiteX33" fmla="*/ 102394 w 376237"/>
              <a:gd name="connsiteY33" fmla="*/ 495300 h 1438966"/>
              <a:gd name="connsiteX34" fmla="*/ 95250 w 376237"/>
              <a:gd name="connsiteY34" fmla="*/ 507206 h 1438966"/>
              <a:gd name="connsiteX35" fmla="*/ 95250 w 376237"/>
              <a:gd name="connsiteY35" fmla="*/ 521494 h 1438966"/>
              <a:gd name="connsiteX36" fmla="*/ 97631 w 376237"/>
              <a:gd name="connsiteY36" fmla="*/ 540544 h 1438966"/>
              <a:gd name="connsiteX37" fmla="*/ 80962 w 376237"/>
              <a:gd name="connsiteY37" fmla="*/ 550069 h 1438966"/>
              <a:gd name="connsiteX38" fmla="*/ 64294 w 376237"/>
              <a:gd name="connsiteY38" fmla="*/ 557213 h 1438966"/>
              <a:gd name="connsiteX39" fmla="*/ 42862 w 376237"/>
              <a:gd name="connsiteY39" fmla="*/ 631031 h 1438966"/>
              <a:gd name="connsiteX40" fmla="*/ 35719 w 376237"/>
              <a:gd name="connsiteY40" fmla="*/ 666750 h 1438966"/>
              <a:gd name="connsiteX41" fmla="*/ 28575 w 376237"/>
              <a:gd name="connsiteY41" fmla="*/ 681038 h 1438966"/>
              <a:gd name="connsiteX42" fmla="*/ 21431 w 376237"/>
              <a:gd name="connsiteY42" fmla="*/ 695325 h 1438966"/>
              <a:gd name="connsiteX43" fmla="*/ 9525 w 376237"/>
              <a:gd name="connsiteY43" fmla="*/ 719138 h 1438966"/>
              <a:gd name="connsiteX44" fmla="*/ 9525 w 376237"/>
              <a:gd name="connsiteY44" fmla="*/ 738188 h 1438966"/>
              <a:gd name="connsiteX45" fmla="*/ 2381 w 376237"/>
              <a:gd name="connsiteY45" fmla="*/ 754856 h 1438966"/>
              <a:gd name="connsiteX46" fmla="*/ 0 w 376237"/>
              <a:gd name="connsiteY46" fmla="*/ 776288 h 1438966"/>
              <a:gd name="connsiteX47" fmla="*/ 0 w 376237"/>
              <a:gd name="connsiteY47" fmla="*/ 790575 h 1438966"/>
              <a:gd name="connsiteX48" fmla="*/ 2381 w 376237"/>
              <a:gd name="connsiteY48" fmla="*/ 802481 h 1438966"/>
              <a:gd name="connsiteX49" fmla="*/ 7144 w 376237"/>
              <a:gd name="connsiteY49" fmla="*/ 819150 h 1438966"/>
              <a:gd name="connsiteX50" fmla="*/ 11906 w 376237"/>
              <a:gd name="connsiteY50" fmla="*/ 821531 h 1438966"/>
              <a:gd name="connsiteX51" fmla="*/ 19050 w 376237"/>
              <a:gd name="connsiteY51" fmla="*/ 831056 h 1438966"/>
              <a:gd name="connsiteX52" fmla="*/ 23812 w 376237"/>
              <a:gd name="connsiteY52" fmla="*/ 842963 h 1438966"/>
              <a:gd name="connsiteX53" fmla="*/ 33337 w 376237"/>
              <a:gd name="connsiteY53" fmla="*/ 859631 h 1438966"/>
              <a:gd name="connsiteX54" fmla="*/ 33337 w 376237"/>
              <a:gd name="connsiteY54" fmla="*/ 871538 h 1438966"/>
              <a:gd name="connsiteX55" fmla="*/ 35719 w 376237"/>
              <a:gd name="connsiteY55" fmla="*/ 892969 h 1438966"/>
              <a:gd name="connsiteX56" fmla="*/ 35719 w 376237"/>
              <a:gd name="connsiteY56" fmla="*/ 919163 h 1438966"/>
              <a:gd name="connsiteX57" fmla="*/ 35719 w 376237"/>
              <a:gd name="connsiteY57" fmla="*/ 926306 h 1438966"/>
              <a:gd name="connsiteX58" fmla="*/ 35719 w 376237"/>
              <a:gd name="connsiteY58" fmla="*/ 945356 h 1438966"/>
              <a:gd name="connsiteX59" fmla="*/ 35719 w 376237"/>
              <a:gd name="connsiteY59" fmla="*/ 957263 h 1438966"/>
              <a:gd name="connsiteX60" fmla="*/ 35719 w 376237"/>
              <a:gd name="connsiteY60" fmla="*/ 966788 h 1438966"/>
              <a:gd name="connsiteX61" fmla="*/ 42862 w 376237"/>
              <a:gd name="connsiteY61" fmla="*/ 985838 h 1438966"/>
              <a:gd name="connsiteX62" fmla="*/ 50006 w 376237"/>
              <a:gd name="connsiteY62" fmla="*/ 997744 h 1438966"/>
              <a:gd name="connsiteX63" fmla="*/ 59531 w 376237"/>
              <a:gd name="connsiteY63" fmla="*/ 1007269 h 1438966"/>
              <a:gd name="connsiteX64" fmla="*/ 66675 w 376237"/>
              <a:gd name="connsiteY64" fmla="*/ 1014413 h 1438966"/>
              <a:gd name="connsiteX65" fmla="*/ 73819 w 376237"/>
              <a:gd name="connsiteY65" fmla="*/ 1023938 h 1438966"/>
              <a:gd name="connsiteX66" fmla="*/ 88106 w 376237"/>
              <a:gd name="connsiteY66" fmla="*/ 1038225 h 1438966"/>
              <a:gd name="connsiteX67" fmla="*/ 97631 w 376237"/>
              <a:gd name="connsiteY67" fmla="*/ 1042988 h 1438966"/>
              <a:gd name="connsiteX68" fmla="*/ 104775 w 376237"/>
              <a:gd name="connsiteY68" fmla="*/ 1057275 h 1438966"/>
              <a:gd name="connsiteX69" fmla="*/ 119062 w 376237"/>
              <a:gd name="connsiteY69" fmla="*/ 1066800 h 1438966"/>
              <a:gd name="connsiteX70" fmla="*/ 138112 w 376237"/>
              <a:gd name="connsiteY70" fmla="*/ 1085850 h 1438966"/>
              <a:gd name="connsiteX71" fmla="*/ 150019 w 376237"/>
              <a:gd name="connsiteY71" fmla="*/ 1092994 h 1438966"/>
              <a:gd name="connsiteX72" fmla="*/ 161925 w 376237"/>
              <a:gd name="connsiteY72" fmla="*/ 1112044 h 1438966"/>
              <a:gd name="connsiteX73" fmla="*/ 171450 w 376237"/>
              <a:gd name="connsiteY73" fmla="*/ 1116806 h 1438966"/>
              <a:gd name="connsiteX74" fmla="*/ 183356 w 376237"/>
              <a:gd name="connsiteY74" fmla="*/ 1126331 h 1438966"/>
              <a:gd name="connsiteX75" fmla="*/ 192881 w 376237"/>
              <a:gd name="connsiteY75" fmla="*/ 1135856 h 1438966"/>
              <a:gd name="connsiteX76" fmla="*/ 207169 w 376237"/>
              <a:gd name="connsiteY76" fmla="*/ 1164431 h 1438966"/>
              <a:gd name="connsiteX77" fmla="*/ 211931 w 376237"/>
              <a:gd name="connsiteY77" fmla="*/ 1173956 h 1438966"/>
              <a:gd name="connsiteX78" fmla="*/ 211931 w 376237"/>
              <a:gd name="connsiteY78" fmla="*/ 1231106 h 1438966"/>
              <a:gd name="connsiteX79" fmla="*/ 209550 w 376237"/>
              <a:gd name="connsiteY79" fmla="*/ 1259681 h 1438966"/>
              <a:gd name="connsiteX80" fmla="*/ 204787 w 376237"/>
              <a:gd name="connsiteY80" fmla="*/ 1269206 h 1438966"/>
              <a:gd name="connsiteX81" fmla="*/ 202406 w 376237"/>
              <a:gd name="connsiteY81" fmla="*/ 1300163 h 1438966"/>
              <a:gd name="connsiteX82" fmla="*/ 202406 w 376237"/>
              <a:gd name="connsiteY82" fmla="*/ 1328738 h 1438966"/>
              <a:gd name="connsiteX83" fmla="*/ 211931 w 376237"/>
              <a:gd name="connsiteY83" fmla="*/ 1350169 h 1438966"/>
              <a:gd name="connsiteX84" fmla="*/ 264868 w 376237"/>
              <a:gd name="connsiteY84" fmla="*/ 1438966 h 1438966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76225 w 314325"/>
              <a:gd name="connsiteY2" fmla="*/ 35718 h 1405628"/>
              <a:gd name="connsiteX3" fmla="*/ 259556 w 314325"/>
              <a:gd name="connsiteY3" fmla="*/ 50006 h 1405628"/>
              <a:gd name="connsiteX4" fmla="*/ 238125 w 314325"/>
              <a:gd name="connsiteY4" fmla="*/ 66675 h 1405628"/>
              <a:gd name="connsiteX5" fmla="*/ 223837 w 314325"/>
              <a:gd name="connsiteY5" fmla="*/ 80962 h 1405628"/>
              <a:gd name="connsiteX6" fmla="*/ 204787 w 314325"/>
              <a:gd name="connsiteY6" fmla="*/ 97631 h 1405628"/>
              <a:gd name="connsiteX7" fmla="*/ 195262 w 314325"/>
              <a:gd name="connsiteY7" fmla="*/ 107156 h 1405628"/>
              <a:gd name="connsiteX8" fmla="*/ 185737 w 314325"/>
              <a:gd name="connsiteY8" fmla="*/ 121443 h 1405628"/>
              <a:gd name="connsiteX9" fmla="*/ 178594 w 314325"/>
              <a:gd name="connsiteY9" fmla="*/ 135731 h 1405628"/>
              <a:gd name="connsiteX10" fmla="*/ 169069 w 314325"/>
              <a:gd name="connsiteY10" fmla="*/ 157162 h 1405628"/>
              <a:gd name="connsiteX11" fmla="*/ 161925 w 314325"/>
              <a:gd name="connsiteY11" fmla="*/ 169068 h 1405628"/>
              <a:gd name="connsiteX12" fmla="*/ 152400 w 314325"/>
              <a:gd name="connsiteY12" fmla="*/ 183356 h 1405628"/>
              <a:gd name="connsiteX13" fmla="*/ 142875 w 314325"/>
              <a:gd name="connsiteY13" fmla="*/ 209550 h 1405628"/>
              <a:gd name="connsiteX14" fmla="*/ 135731 w 314325"/>
              <a:gd name="connsiteY14" fmla="*/ 223837 h 1405628"/>
              <a:gd name="connsiteX15" fmla="*/ 133350 w 314325"/>
              <a:gd name="connsiteY15" fmla="*/ 230981 h 1405628"/>
              <a:gd name="connsiteX16" fmla="*/ 121444 w 314325"/>
              <a:gd name="connsiteY16" fmla="*/ 247650 h 1405628"/>
              <a:gd name="connsiteX17" fmla="*/ 111919 w 314325"/>
              <a:gd name="connsiteY17" fmla="*/ 257175 h 1405628"/>
              <a:gd name="connsiteX18" fmla="*/ 100012 w 314325"/>
              <a:gd name="connsiteY18" fmla="*/ 273843 h 1405628"/>
              <a:gd name="connsiteX19" fmla="*/ 90487 w 314325"/>
              <a:gd name="connsiteY19" fmla="*/ 288131 h 1405628"/>
              <a:gd name="connsiteX20" fmla="*/ 83344 w 314325"/>
              <a:gd name="connsiteY20" fmla="*/ 304800 h 1405628"/>
              <a:gd name="connsiteX21" fmla="*/ 85725 w 314325"/>
              <a:gd name="connsiteY21" fmla="*/ 316706 h 1405628"/>
              <a:gd name="connsiteX22" fmla="*/ 85725 w 314325"/>
              <a:gd name="connsiteY22" fmla="*/ 335756 h 1405628"/>
              <a:gd name="connsiteX23" fmla="*/ 92869 w 314325"/>
              <a:gd name="connsiteY23" fmla="*/ 354806 h 1405628"/>
              <a:gd name="connsiteX24" fmla="*/ 100012 w 314325"/>
              <a:gd name="connsiteY24" fmla="*/ 369093 h 1405628"/>
              <a:gd name="connsiteX25" fmla="*/ 102394 w 314325"/>
              <a:gd name="connsiteY25" fmla="*/ 381000 h 1405628"/>
              <a:gd name="connsiteX26" fmla="*/ 111919 w 314325"/>
              <a:gd name="connsiteY26" fmla="*/ 395287 h 1405628"/>
              <a:gd name="connsiteX27" fmla="*/ 119062 w 314325"/>
              <a:gd name="connsiteY27" fmla="*/ 404812 h 1405628"/>
              <a:gd name="connsiteX28" fmla="*/ 123825 w 314325"/>
              <a:gd name="connsiteY28" fmla="*/ 411956 h 1405628"/>
              <a:gd name="connsiteX29" fmla="*/ 130969 w 314325"/>
              <a:gd name="connsiteY29" fmla="*/ 431006 h 1405628"/>
              <a:gd name="connsiteX30" fmla="*/ 123825 w 314325"/>
              <a:gd name="connsiteY30" fmla="*/ 445293 h 1405628"/>
              <a:gd name="connsiteX31" fmla="*/ 111919 w 314325"/>
              <a:gd name="connsiteY31" fmla="*/ 454818 h 1405628"/>
              <a:gd name="connsiteX32" fmla="*/ 102394 w 314325"/>
              <a:gd name="connsiteY32" fmla="*/ 461962 h 1405628"/>
              <a:gd name="connsiteX33" fmla="*/ 95250 w 314325"/>
              <a:gd name="connsiteY33" fmla="*/ 473868 h 1405628"/>
              <a:gd name="connsiteX34" fmla="*/ 95250 w 314325"/>
              <a:gd name="connsiteY34" fmla="*/ 488156 h 1405628"/>
              <a:gd name="connsiteX35" fmla="*/ 97631 w 314325"/>
              <a:gd name="connsiteY35" fmla="*/ 507206 h 1405628"/>
              <a:gd name="connsiteX36" fmla="*/ 80962 w 314325"/>
              <a:gd name="connsiteY36" fmla="*/ 516731 h 1405628"/>
              <a:gd name="connsiteX37" fmla="*/ 64294 w 314325"/>
              <a:gd name="connsiteY37" fmla="*/ 523875 h 1405628"/>
              <a:gd name="connsiteX38" fmla="*/ 42862 w 314325"/>
              <a:gd name="connsiteY38" fmla="*/ 597693 h 1405628"/>
              <a:gd name="connsiteX39" fmla="*/ 35719 w 314325"/>
              <a:gd name="connsiteY39" fmla="*/ 633412 h 1405628"/>
              <a:gd name="connsiteX40" fmla="*/ 28575 w 314325"/>
              <a:gd name="connsiteY40" fmla="*/ 647700 h 1405628"/>
              <a:gd name="connsiteX41" fmla="*/ 21431 w 314325"/>
              <a:gd name="connsiteY41" fmla="*/ 661987 h 1405628"/>
              <a:gd name="connsiteX42" fmla="*/ 9525 w 314325"/>
              <a:gd name="connsiteY42" fmla="*/ 685800 h 1405628"/>
              <a:gd name="connsiteX43" fmla="*/ 9525 w 314325"/>
              <a:gd name="connsiteY43" fmla="*/ 704850 h 1405628"/>
              <a:gd name="connsiteX44" fmla="*/ 2381 w 314325"/>
              <a:gd name="connsiteY44" fmla="*/ 721518 h 1405628"/>
              <a:gd name="connsiteX45" fmla="*/ 0 w 314325"/>
              <a:gd name="connsiteY45" fmla="*/ 742950 h 1405628"/>
              <a:gd name="connsiteX46" fmla="*/ 0 w 314325"/>
              <a:gd name="connsiteY46" fmla="*/ 757237 h 1405628"/>
              <a:gd name="connsiteX47" fmla="*/ 2381 w 314325"/>
              <a:gd name="connsiteY47" fmla="*/ 769143 h 1405628"/>
              <a:gd name="connsiteX48" fmla="*/ 7144 w 314325"/>
              <a:gd name="connsiteY48" fmla="*/ 785812 h 1405628"/>
              <a:gd name="connsiteX49" fmla="*/ 11906 w 314325"/>
              <a:gd name="connsiteY49" fmla="*/ 788193 h 1405628"/>
              <a:gd name="connsiteX50" fmla="*/ 19050 w 314325"/>
              <a:gd name="connsiteY50" fmla="*/ 797718 h 1405628"/>
              <a:gd name="connsiteX51" fmla="*/ 23812 w 314325"/>
              <a:gd name="connsiteY51" fmla="*/ 809625 h 1405628"/>
              <a:gd name="connsiteX52" fmla="*/ 33337 w 314325"/>
              <a:gd name="connsiteY52" fmla="*/ 826293 h 1405628"/>
              <a:gd name="connsiteX53" fmla="*/ 33337 w 314325"/>
              <a:gd name="connsiteY53" fmla="*/ 838200 h 1405628"/>
              <a:gd name="connsiteX54" fmla="*/ 35719 w 314325"/>
              <a:gd name="connsiteY54" fmla="*/ 859631 h 1405628"/>
              <a:gd name="connsiteX55" fmla="*/ 35719 w 314325"/>
              <a:gd name="connsiteY55" fmla="*/ 885825 h 1405628"/>
              <a:gd name="connsiteX56" fmla="*/ 35719 w 314325"/>
              <a:gd name="connsiteY56" fmla="*/ 892968 h 1405628"/>
              <a:gd name="connsiteX57" fmla="*/ 35719 w 314325"/>
              <a:gd name="connsiteY57" fmla="*/ 912018 h 1405628"/>
              <a:gd name="connsiteX58" fmla="*/ 35719 w 314325"/>
              <a:gd name="connsiteY58" fmla="*/ 923925 h 1405628"/>
              <a:gd name="connsiteX59" fmla="*/ 35719 w 314325"/>
              <a:gd name="connsiteY59" fmla="*/ 933450 h 1405628"/>
              <a:gd name="connsiteX60" fmla="*/ 42862 w 314325"/>
              <a:gd name="connsiteY60" fmla="*/ 952500 h 1405628"/>
              <a:gd name="connsiteX61" fmla="*/ 50006 w 314325"/>
              <a:gd name="connsiteY61" fmla="*/ 964406 h 1405628"/>
              <a:gd name="connsiteX62" fmla="*/ 59531 w 314325"/>
              <a:gd name="connsiteY62" fmla="*/ 973931 h 1405628"/>
              <a:gd name="connsiteX63" fmla="*/ 66675 w 314325"/>
              <a:gd name="connsiteY63" fmla="*/ 981075 h 1405628"/>
              <a:gd name="connsiteX64" fmla="*/ 73819 w 314325"/>
              <a:gd name="connsiteY64" fmla="*/ 990600 h 1405628"/>
              <a:gd name="connsiteX65" fmla="*/ 88106 w 314325"/>
              <a:gd name="connsiteY65" fmla="*/ 1004887 h 1405628"/>
              <a:gd name="connsiteX66" fmla="*/ 97631 w 314325"/>
              <a:gd name="connsiteY66" fmla="*/ 1009650 h 1405628"/>
              <a:gd name="connsiteX67" fmla="*/ 104775 w 314325"/>
              <a:gd name="connsiteY67" fmla="*/ 1023937 h 1405628"/>
              <a:gd name="connsiteX68" fmla="*/ 119062 w 314325"/>
              <a:gd name="connsiteY68" fmla="*/ 1033462 h 1405628"/>
              <a:gd name="connsiteX69" fmla="*/ 138112 w 314325"/>
              <a:gd name="connsiteY69" fmla="*/ 1052512 h 1405628"/>
              <a:gd name="connsiteX70" fmla="*/ 150019 w 314325"/>
              <a:gd name="connsiteY70" fmla="*/ 1059656 h 1405628"/>
              <a:gd name="connsiteX71" fmla="*/ 161925 w 314325"/>
              <a:gd name="connsiteY71" fmla="*/ 1078706 h 1405628"/>
              <a:gd name="connsiteX72" fmla="*/ 171450 w 314325"/>
              <a:gd name="connsiteY72" fmla="*/ 1083468 h 1405628"/>
              <a:gd name="connsiteX73" fmla="*/ 183356 w 314325"/>
              <a:gd name="connsiteY73" fmla="*/ 1092993 h 1405628"/>
              <a:gd name="connsiteX74" fmla="*/ 192881 w 314325"/>
              <a:gd name="connsiteY74" fmla="*/ 1102518 h 1405628"/>
              <a:gd name="connsiteX75" fmla="*/ 207169 w 314325"/>
              <a:gd name="connsiteY75" fmla="*/ 1131093 h 1405628"/>
              <a:gd name="connsiteX76" fmla="*/ 211931 w 314325"/>
              <a:gd name="connsiteY76" fmla="*/ 1140618 h 1405628"/>
              <a:gd name="connsiteX77" fmla="*/ 211931 w 314325"/>
              <a:gd name="connsiteY77" fmla="*/ 1197768 h 1405628"/>
              <a:gd name="connsiteX78" fmla="*/ 209550 w 314325"/>
              <a:gd name="connsiteY78" fmla="*/ 1226343 h 1405628"/>
              <a:gd name="connsiteX79" fmla="*/ 204787 w 314325"/>
              <a:gd name="connsiteY79" fmla="*/ 1235868 h 1405628"/>
              <a:gd name="connsiteX80" fmla="*/ 202406 w 314325"/>
              <a:gd name="connsiteY80" fmla="*/ 1266825 h 1405628"/>
              <a:gd name="connsiteX81" fmla="*/ 202406 w 314325"/>
              <a:gd name="connsiteY81" fmla="*/ 1295400 h 1405628"/>
              <a:gd name="connsiteX82" fmla="*/ 211931 w 314325"/>
              <a:gd name="connsiteY82" fmla="*/ 1316831 h 1405628"/>
              <a:gd name="connsiteX83" fmla="*/ 264868 w 314325"/>
              <a:gd name="connsiteY83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59556 w 314325"/>
              <a:gd name="connsiteY4" fmla="*/ 50006 h 1405628"/>
              <a:gd name="connsiteX5" fmla="*/ 238125 w 314325"/>
              <a:gd name="connsiteY5" fmla="*/ 66675 h 1405628"/>
              <a:gd name="connsiteX6" fmla="*/ 223837 w 314325"/>
              <a:gd name="connsiteY6" fmla="*/ 80962 h 1405628"/>
              <a:gd name="connsiteX7" fmla="*/ 204787 w 314325"/>
              <a:gd name="connsiteY7" fmla="*/ 97631 h 1405628"/>
              <a:gd name="connsiteX8" fmla="*/ 195262 w 314325"/>
              <a:gd name="connsiteY8" fmla="*/ 107156 h 1405628"/>
              <a:gd name="connsiteX9" fmla="*/ 185737 w 314325"/>
              <a:gd name="connsiteY9" fmla="*/ 121443 h 1405628"/>
              <a:gd name="connsiteX10" fmla="*/ 178594 w 314325"/>
              <a:gd name="connsiteY10" fmla="*/ 135731 h 1405628"/>
              <a:gd name="connsiteX11" fmla="*/ 169069 w 314325"/>
              <a:gd name="connsiteY11" fmla="*/ 157162 h 1405628"/>
              <a:gd name="connsiteX12" fmla="*/ 161925 w 314325"/>
              <a:gd name="connsiteY12" fmla="*/ 169068 h 1405628"/>
              <a:gd name="connsiteX13" fmla="*/ 152400 w 314325"/>
              <a:gd name="connsiteY13" fmla="*/ 183356 h 1405628"/>
              <a:gd name="connsiteX14" fmla="*/ 142875 w 314325"/>
              <a:gd name="connsiteY14" fmla="*/ 209550 h 1405628"/>
              <a:gd name="connsiteX15" fmla="*/ 135731 w 314325"/>
              <a:gd name="connsiteY15" fmla="*/ 223837 h 1405628"/>
              <a:gd name="connsiteX16" fmla="*/ 133350 w 314325"/>
              <a:gd name="connsiteY16" fmla="*/ 230981 h 1405628"/>
              <a:gd name="connsiteX17" fmla="*/ 121444 w 314325"/>
              <a:gd name="connsiteY17" fmla="*/ 247650 h 1405628"/>
              <a:gd name="connsiteX18" fmla="*/ 111919 w 314325"/>
              <a:gd name="connsiteY18" fmla="*/ 257175 h 1405628"/>
              <a:gd name="connsiteX19" fmla="*/ 100012 w 314325"/>
              <a:gd name="connsiteY19" fmla="*/ 273843 h 1405628"/>
              <a:gd name="connsiteX20" fmla="*/ 90487 w 314325"/>
              <a:gd name="connsiteY20" fmla="*/ 288131 h 1405628"/>
              <a:gd name="connsiteX21" fmla="*/ 83344 w 314325"/>
              <a:gd name="connsiteY21" fmla="*/ 304800 h 1405628"/>
              <a:gd name="connsiteX22" fmla="*/ 85725 w 314325"/>
              <a:gd name="connsiteY22" fmla="*/ 316706 h 1405628"/>
              <a:gd name="connsiteX23" fmla="*/ 85725 w 314325"/>
              <a:gd name="connsiteY23" fmla="*/ 335756 h 1405628"/>
              <a:gd name="connsiteX24" fmla="*/ 92869 w 314325"/>
              <a:gd name="connsiteY24" fmla="*/ 354806 h 1405628"/>
              <a:gd name="connsiteX25" fmla="*/ 100012 w 314325"/>
              <a:gd name="connsiteY25" fmla="*/ 369093 h 1405628"/>
              <a:gd name="connsiteX26" fmla="*/ 102394 w 314325"/>
              <a:gd name="connsiteY26" fmla="*/ 381000 h 1405628"/>
              <a:gd name="connsiteX27" fmla="*/ 111919 w 314325"/>
              <a:gd name="connsiteY27" fmla="*/ 395287 h 1405628"/>
              <a:gd name="connsiteX28" fmla="*/ 119062 w 314325"/>
              <a:gd name="connsiteY28" fmla="*/ 404812 h 1405628"/>
              <a:gd name="connsiteX29" fmla="*/ 123825 w 314325"/>
              <a:gd name="connsiteY29" fmla="*/ 411956 h 1405628"/>
              <a:gd name="connsiteX30" fmla="*/ 130969 w 314325"/>
              <a:gd name="connsiteY30" fmla="*/ 431006 h 1405628"/>
              <a:gd name="connsiteX31" fmla="*/ 123825 w 314325"/>
              <a:gd name="connsiteY31" fmla="*/ 445293 h 1405628"/>
              <a:gd name="connsiteX32" fmla="*/ 111919 w 314325"/>
              <a:gd name="connsiteY32" fmla="*/ 454818 h 1405628"/>
              <a:gd name="connsiteX33" fmla="*/ 102394 w 314325"/>
              <a:gd name="connsiteY33" fmla="*/ 461962 h 1405628"/>
              <a:gd name="connsiteX34" fmla="*/ 95250 w 314325"/>
              <a:gd name="connsiteY34" fmla="*/ 473868 h 1405628"/>
              <a:gd name="connsiteX35" fmla="*/ 95250 w 314325"/>
              <a:gd name="connsiteY35" fmla="*/ 488156 h 1405628"/>
              <a:gd name="connsiteX36" fmla="*/ 97631 w 314325"/>
              <a:gd name="connsiteY36" fmla="*/ 507206 h 1405628"/>
              <a:gd name="connsiteX37" fmla="*/ 80962 w 314325"/>
              <a:gd name="connsiteY37" fmla="*/ 516731 h 1405628"/>
              <a:gd name="connsiteX38" fmla="*/ 64294 w 314325"/>
              <a:gd name="connsiteY38" fmla="*/ 523875 h 1405628"/>
              <a:gd name="connsiteX39" fmla="*/ 42862 w 314325"/>
              <a:gd name="connsiteY39" fmla="*/ 597693 h 1405628"/>
              <a:gd name="connsiteX40" fmla="*/ 35719 w 314325"/>
              <a:gd name="connsiteY40" fmla="*/ 633412 h 1405628"/>
              <a:gd name="connsiteX41" fmla="*/ 28575 w 314325"/>
              <a:gd name="connsiteY41" fmla="*/ 647700 h 1405628"/>
              <a:gd name="connsiteX42" fmla="*/ 21431 w 314325"/>
              <a:gd name="connsiteY42" fmla="*/ 661987 h 1405628"/>
              <a:gd name="connsiteX43" fmla="*/ 9525 w 314325"/>
              <a:gd name="connsiteY43" fmla="*/ 685800 h 1405628"/>
              <a:gd name="connsiteX44" fmla="*/ 9525 w 314325"/>
              <a:gd name="connsiteY44" fmla="*/ 704850 h 1405628"/>
              <a:gd name="connsiteX45" fmla="*/ 2381 w 314325"/>
              <a:gd name="connsiteY45" fmla="*/ 721518 h 1405628"/>
              <a:gd name="connsiteX46" fmla="*/ 0 w 314325"/>
              <a:gd name="connsiteY46" fmla="*/ 742950 h 1405628"/>
              <a:gd name="connsiteX47" fmla="*/ 0 w 314325"/>
              <a:gd name="connsiteY47" fmla="*/ 757237 h 1405628"/>
              <a:gd name="connsiteX48" fmla="*/ 2381 w 314325"/>
              <a:gd name="connsiteY48" fmla="*/ 769143 h 1405628"/>
              <a:gd name="connsiteX49" fmla="*/ 7144 w 314325"/>
              <a:gd name="connsiteY49" fmla="*/ 785812 h 1405628"/>
              <a:gd name="connsiteX50" fmla="*/ 11906 w 314325"/>
              <a:gd name="connsiteY50" fmla="*/ 788193 h 1405628"/>
              <a:gd name="connsiteX51" fmla="*/ 19050 w 314325"/>
              <a:gd name="connsiteY51" fmla="*/ 797718 h 1405628"/>
              <a:gd name="connsiteX52" fmla="*/ 23812 w 314325"/>
              <a:gd name="connsiteY52" fmla="*/ 809625 h 1405628"/>
              <a:gd name="connsiteX53" fmla="*/ 33337 w 314325"/>
              <a:gd name="connsiteY53" fmla="*/ 826293 h 1405628"/>
              <a:gd name="connsiteX54" fmla="*/ 33337 w 314325"/>
              <a:gd name="connsiteY54" fmla="*/ 838200 h 1405628"/>
              <a:gd name="connsiteX55" fmla="*/ 35719 w 314325"/>
              <a:gd name="connsiteY55" fmla="*/ 859631 h 1405628"/>
              <a:gd name="connsiteX56" fmla="*/ 35719 w 314325"/>
              <a:gd name="connsiteY56" fmla="*/ 885825 h 1405628"/>
              <a:gd name="connsiteX57" fmla="*/ 35719 w 314325"/>
              <a:gd name="connsiteY57" fmla="*/ 892968 h 1405628"/>
              <a:gd name="connsiteX58" fmla="*/ 35719 w 314325"/>
              <a:gd name="connsiteY58" fmla="*/ 912018 h 1405628"/>
              <a:gd name="connsiteX59" fmla="*/ 35719 w 314325"/>
              <a:gd name="connsiteY59" fmla="*/ 923925 h 1405628"/>
              <a:gd name="connsiteX60" fmla="*/ 35719 w 314325"/>
              <a:gd name="connsiteY60" fmla="*/ 933450 h 1405628"/>
              <a:gd name="connsiteX61" fmla="*/ 42862 w 314325"/>
              <a:gd name="connsiteY61" fmla="*/ 952500 h 1405628"/>
              <a:gd name="connsiteX62" fmla="*/ 50006 w 314325"/>
              <a:gd name="connsiteY62" fmla="*/ 964406 h 1405628"/>
              <a:gd name="connsiteX63" fmla="*/ 59531 w 314325"/>
              <a:gd name="connsiteY63" fmla="*/ 973931 h 1405628"/>
              <a:gd name="connsiteX64" fmla="*/ 66675 w 314325"/>
              <a:gd name="connsiteY64" fmla="*/ 981075 h 1405628"/>
              <a:gd name="connsiteX65" fmla="*/ 73819 w 314325"/>
              <a:gd name="connsiteY65" fmla="*/ 990600 h 1405628"/>
              <a:gd name="connsiteX66" fmla="*/ 88106 w 314325"/>
              <a:gd name="connsiteY66" fmla="*/ 1004887 h 1405628"/>
              <a:gd name="connsiteX67" fmla="*/ 97631 w 314325"/>
              <a:gd name="connsiteY67" fmla="*/ 1009650 h 1405628"/>
              <a:gd name="connsiteX68" fmla="*/ 104775 w 314325"/>
              <a:gd name="connsiteY68" fmla="*/ 1023937 h 1405628"/>
              <a:gd name="connsiteX69" fmla="*/ 119062 w 314325"/>
              <a:gd name="connsiteY69" fmla="*/ 1033462 h 1405628"/>
              <a:gd name="connsiteX70" fmla="*/ 138112 w 314325"/>
              <a:gd name="connsiteY70" fmla="*/ 1052512 h 1405628"/>
              <a:gd name="connsiteX71" fmla="*/ 150019 w 314325"/>
              <a:gd name="connsiteY71" fmla="*/ 1059656 h 1405628"/>
              <a:gd name="connsiteX72" fmla="*/ 161925 w 314325"/>
              <a:gd name="connsiteY72" fmla="*/ 1078706 h 1405628"/>
              <a:gd name="connsiteX73" fmla="*/ 171450 w 314325"/>
              <a:gd name="connsiteY73" fmla="*/ 1083468 h 1405628"/>
              <a:gd name="connsiteX74" fmla="*/ 183356 w 314325"/>
              <a:gd name="connsiteY74" fmla="*/ 1092993 h 1405628"/>
              <a:gd name="connsiteX75" fmla="*/ 192881 w 314325"/>
              <a:gd name="connsiteY75" fmla="*/ 1102518 h 1405628"/>
              <a:gd name="connsiteX76" fmla="*/ 207169 w 314325"/>
              <a:gd name="connsiteY76" fmla="*/ 1131093 h 1405628"/>
              <a:gd name="connsiteX77" fmla="*/ 211931 w 314325"/>
              <a:gd name="connsiteY77" fmla="*/ 1140618 h 1405628"/>
              <a:gd name="connsiteX78" fmla="*/ 211931 w 314325"/>
              <a:gd name="connsiteY78" fmla="*/ 1197768 h 1405628"/>
              <a:gd name="connsiteX79" fmla="*/ 209550 w 314325"/>
              <a:gd name="connsiteY79" fmla="*/ 1226343 h 1405628"/>
              <a:gd name="connsiteX80" fmla="*/ 204787 w 314325"/>
              <a:gd name="connsiteY80" fmla="*/ 1235868 h 1405628"/>
              <a:gd name="connsiteX81" fmla="*/ 202406 w 314325"/>
              <a:gd name="connsiteY81" fmla="*/ 1266825 h 1405628"/>
              <a:gd name="connsiteX82" fmla="*/ 202406 w 314325"/>
              <a:gd name="connsiteY82" fmla="*/ 1295400 h 1405628"/>
              <a:gd name="connsiteX83" fmla="*/ 211931 w 314325"/>
              <a:gd name="connsiteY83" fmla="*/ 1316831 h 1405628"/>
              <a:gd name="connsiteX84" fmla="*/ 264868 w 314325"/>
              <a:gd name="connsiteY84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38125 w 314325"/>
              <a:gd name="connsiteY4" fmla="*/ 66675 h 1405628"/>
              <a:gd name="connsiteX5" fmla="*/ 223837 w 314325"/>
              <a:gd name="connsiteY5" fmla="*/ 80962 h 1405628"/>
              <a:gd name="connsiteX6" fmla="*/ 204787 w 314325"/>
              <a:gd name="connsiteY6" fmla="*/ 97631 h 1405628"/>
              <a:gd name="connsiteX7" fmla="*/ 195262 w 314325"/>
              <a:gd name="connsiteY7" fmla="*/ 107156 h 1405628"/>
              <a:gd name="connsiteX8" fmla="*/ 185737 w 314325"/>
              <a:gd name="connsiteY8" fmla="*/ 121443 h 1405628"/>
              <a:gd name="connsiteX9" fmla="*/ 178594 w 314325"/>
              <a:gd name="connsiteY9" fmla="*/ 135731 h 1405628"/>
              <a:gd name="connsiteX10" fmla="*/ 169069 w 314325"/>
              <a:gd name="connsiteY10" fmla="*/ 157162 h 1405628"/>
              <a:gd name="connsiteX11" fmla="*/ 161925 w 314325"/>
              <a:gd name="connsiteY11" fmla="*/ 169068 h 1405628"/>
              <a:gd name="connsiteX12" fmla="*/ 152400 w 314325"/>
              <a:gd name="connsiteY12" fmla="*/ 183356 h 1405628"/>
              <a:gd name="connsiteX13" fmla="*/ 142875 w 314325"/>
              <a:gd name="connsiteY13" fmla="*/ 209550 h 1405628"/>
              <a:gd name="connsiteX14" fmla="*/ 135731 w 314325"/>
              <a:gd name="connsiteY14" fmla="*/ 223837 h 1405628"/>
              <a:gd name="connsiteX15" fmla="*/ 133350 w 314325"/>
              <a:gd name="connsiteY15" fmla="*/ 230981 h 1405628"/>
              <a:gd name="connsiteX16" fmla="*/ 121444 w 314325"/>
              <a:gd name="connsiteY16" fmla="*/ 247650 h 1405628"/>
              <a:gd name="connsiteX17" fmla="*/ 111919 w 314325"/>
              <a:gd name="connsiteY17" fmla="*/ 257175 h 1405628"/>
              <a:gd name="connsiteX18" fmla="*/ 100012 w 314325"/>
              <a:gd name="connsiteY18" fmla="*/ 273843 h 1405628"/>
              <a:gd name="connsiteX19" fmla="*/ 90487 w 314325"/>
              <a:gd name="connsiteY19" fmla="*/ 288131 h 1405628"/>
              <a:gd name="connsiteX20" fmla="*/ 83344 w 314325"/>
              <a:gd name="connsiteY20" fmla="*/ 304800 h 1405628"/>
              <a:gd name="connsiteX21" fmla="*/ 85725 w 314325"/>
              <a:gd name="connsiteY21" fmla="*/ 316706 h 1405628"/>
              <a:gd name="connsiteX22" fmla="*/ 85725 w 314325"/>
              <a:gd name="connsiteY22" fmla="*/ 335756 h 1405628"/>
              <a:gd name="connsiteX23" fmla="*/ 92869 w 314325"/>
              <a:gd name="connsiteY23" fmla="*/ 354806 h 1405628"/>
              <a:gd name="connsiteX24" fmla="*/ 100012 w 314325"/>
              <a:gd name="connsiteY24" fmla="*/ 369093 h 1405628"/>
              <a:gd name="connsiteX25" fmla="*/ 102394 w 314325"/>
              <a:gd name="connsiteY25" fmla="*/ 381000 h 1405628"/>
              <a:gd name="connsiteX26" fmla="*/ 111919 w 314325"/>
              <a:gd name="connsiteY26" fmla="*/ 395287 h 1405628"/>
              <a:gd name="connsiteX27" fmla="*/ 119062 w 314325"/>
              <a:gd name="connsiteY27" fmla="*/ 404812 h 1405628"/>
              <a:gd name="connsiteX28" fmla="*/ 123825 w 314325"/>
              <a:gd name="connsiteY28" fmla="*/ 411956 h 1405628"/>
              <a:gd name="connsiteX29" fmla="*/ 130969 w 314325"/>
              <a:gd name="connsiteY29" fmla="*/ 431006 h 1405628"/>
              <a:gd name="connsiteX30" fmla="*/ 123825 w 314325"/>
              <a:gd name="connsiteY30" fmla="*/ 445293 h 1405628"/>
              <a:gd name="connsiteX31" fmla="*/ 111919 w 314325"/>
              <a:gd name="connsiteY31" fmla="*/ 454818 h 1405628"/>
              <a:gd name="connsiteX32" fmla="*/ 102394 w 314325"/>
              <a:gd name="connsiteY32" fmla="*/ 461962 h 1405628"/>
              <a:gd name="connsiteX33" fmla="*/ 95250 w 314325"/>
              <a:gd name="connsiteY33" fmla="*/ 473868 h 1405628"/>
              <a:gd name="connsiteX34" fmla="*/ 95250 w 314325"/>
              <a:gd name="connsiteY34" fmla="*/ 488156 h 1405628"/>
              <a:gd name="connsiteX35" fmla="*/ 97631 w 314325"/>
              <a:gd name="connsiteY35" fmla="*/ 507206 h 1405628"/>
              <a:gd name="connsiteX36" fmla="*/ 80962 w 314325"/>
              <a:gd name="connsiteY36" fmla="*/ 516731 h 1405628"/>
              <a:gd name="connsiteX37" fmla="*/ 64294 w 314325"/>
              <a:gd name="connsiteY37" fmla="*/ 523875 h 1405628"/>
              <a:gd name="connsiteX38" fmla="*/ 42862 w 314325"/>
              <a:gd name="connsiteY38" fmla="*/ 597693 h 1405628"/>
              <a:gd name="connsiteX39" fmla="*/ 35719 w 314325"/>
              <a:gd name="connsiteY39" fmla="*/ 633412 h 1405628"/>
              <a:gd name="connsiteX40" fmla="*/ 28575 w 314325"/>
              <a:gd name="connsiteY40" fmla="*/ 647700 h 1405628"/>
              <a:gd name="connsiteX41" fmla="*/ 21431 w 314325"/>
              <a:gd name="connsiteY41" fmla="*/ 661987 h 1405628"/>
              <a:gd name="connsiteX42" fmla="*/ 9525 w 314325"/>
              <a:gd name="connsiteY42" fmla="*/ 685800 h 1405628"/>
              <a:gd name="connsiteX43" fmla="*/ 9525 w 314325"/>
              <a:gd name="connsiteY43" fmla="*/ 704850 h 1405628"/>
              <a:gd name="connsiteX44" fmla="*/ 2381 w 314325"/>
              <a:gd name="connsiteY44" fmla="*/ 721518 h 1405628"/>
              <a:gd name="connsiteX45" fmla="*/ 0 w 314325"/>
              <a:gd name="connsiteY45" fmla="*/ 742950 h 1405628"/>
              <a:gd name="connsiteX46" fmla="*/ 0 w 314325"/>
              <a:gd name="connsiteY46" fmla="*/ 757237 h 1405628"/>
              <a:gd name="connsiteX47" fmla="*/ 2381 w 314325"/>
              <a:gd name="connsiteY47" fmla="*/ 769143 h 1405628"/>
              <a:gd name="connsiteX48" fmla="*/ 7144 w 314325"/>
              <a:gd name="connsiteY48" fmla="*/ 785812 h 1405628"/>
              <a:gd name="connsiteX49" fmla="*/ 11906 w 314325"/>
              <a:gd name="connsiteY49" fmla="*/ 788193 h 1405628"/>
              <a:gd name="connsiteX50" fmla="*/ 19050 w 314325"/>
              <a:gd name="connsiteY50" fmla="*/ 797718 h 1405628"/>
              <a:gd name="connsiteX51" fmla="*/ 23812 w 314325"/>
              <a:gd name="connsiteY51" fmla="*/ 809625 h 1405628"/>
              <a:gd name="connsiteX52" fmla="*/ 33337 w 314325"/>
              <a:gd name="connsiteY52" fmla="*/ 826293 h 1405628"/>
              <a:gd name="connsiteX53" fmla="*/ 33337 w 314325"/>
              <a:gd name="connsiteY53" fmla="*/ 838200 h 1405628"/>
              <a:gd name="connsiteX54" fmla="*/ 35719 w 314325"/>
              <a:gd name="connsiteY54" fmla="*/ 859631 h 1405628"/>
              <a:gd name="connsiteX55" fmla="*/ 35719 w 314325"/>
              <a:gd name="connsiteY55" fmla="*/ 885825 h 1405628"/>
              <a:gd name="connsiteX56" fmla="*/ 35719 w 314325"/>
              <a:gd name="connsiteY56" fmla="*/ 892968 h 1405628"/>
              <a:gd name="connsiteX57" fmla="*/ 35719 w 314325"/>
              <a:gd name="connsiteY57" fmla="*/ 912018 h 1405628"/>
              <a:gd name="connsiteX58" fmla="*/ 35719 w 314325"/>
              <a:gd name="connsiteY58" fmla="*/ 923925 h 1405628"/>
              <a:gd name="connsiteX59" fmla="*/ 35719 w 314325"/>
              <a:gd name="connsiteY59" fmla="*/ 933450 h 1405628"/>
              <a:gd name="connsiteX60" fmla="*/ 42862 w 314325"/>
              <a:gd name="connsiteY60" fmla="*/ 952500 h 1405628"/>
              <a:gd name="connsiteX61" fmla="*/ 50006 w 314325"/>
              <a:gd name="connsiteY61" fmla="*/ 964406 h 1405628"/>
              <a:gd name="connsiteX62" fmla="*/ 59531 w 314325"/>
              <a:gd name="connsiteY62" fmla="*/ 973931 h 1405628"/>
              <a:gd name="connsiteX63" fmla="*/ 66675 w 314325"/>
              <a:gd name="connsiteY63" fmla="*/ 981075 h 1405628"/>
              <a:gd name="connsiteX64" fmla="*/ 73819 w 314325"/>
              <a:gd name="connsiteY64" fmla="*/ 990600 h 1405628"/>
              <a:gd name="connsiteX65" fmla="*/ 88106 w 314325"/>
              <a:gd name="connsiteY65" fmla="*/ 1004887 h 1405628"/>
              <a:gd name="connsiteX66" fmla="*/ 97631 w 314325"/>
              <a:gd name="connsiteY66" fmla="*/ 1009650 h 1405628"/>
              <a:gd name="connsiteX67" fmla="*/ 104775 w 314325"/>
              <a:gd name="connsiteY67" fmla="*/ 1023937 h 1405628"/>
              <a:gd name="connsiteX68" fmla="*/ 119062 w 314325"/>
              <a:gd name="connsiteY68" fmla="*/ 1033462 h 1405628"/>
              <a:gd name="connsiteX69" fmla="*/ 138112 w 314325"/>
              <a:gd name="connsiteY69" fmla="*/ 1052512 h 1405628"/>
              <a:gd name="connsiteX70" fmla="*/ 150019 w 314325"/>
              <a:gd name="connsiteY70" fmla="*/ 1059656 h 1405628"/>
              <a:gd name="connsiteX71" fmla="*/ 161925 w 314325"/>
              <a:gd name="connsiteY71" fmla="*/ 1078706 h 1405628"/>
              <a:gd name="connsiteX72" fmla="*/ 171450 w 314325"/>
              <a:gd name="connsiteY72" fmla="*/ 1083468 h 1405628"/>
              <a:gd name="connsiteX73" fmla="*/ 183356 w 314325"/>
              <a:gd name="connsiteY73" fmla="*/ 1092993 h 1405628"/>
              <a:gd name="connsiteX74" fmla="*/ 192881 w 314325"/>
              <a:gd name="connsiteY74" fmla="*/ 1102518 h 1405628"/>
              <a:gd name="connsiteX75" fmla="*/ 207169 w 314325"/>
              <a:gd name="connsiteY75" fmla="*/ 1131093 h 1405628"/>
              <a:gd name="connsiteX76" fmla="*/ 211931 w 314325"/>
              <a:gd name="connsiteY76" fmla="*/ 1140618 h 1405628"/>
              <a:gd name="connsiteX77" fmla="*/ 211931 w 314325"/>
              <a:gd name="connsiteY77" fmla="*/ 1197768 h 1405628"/>
              <a:gd name="connsiteX78" fmla="*/ 209550 w 314325"/>
              <a:gd name="connsiteY78" fmla="*/ 1226343 h 1405628"/>
              <a:gd name="connsiteX79" fmla="*/ 204787 w 314325"/>
              <a:gd name="connsiteY79" fmla="*/ 1235868 h 1405628"/>
              <a:gd name="connsiteX80" fmla="*/ 202406 w 314325"/>
              <a:gd name="connsiteY80" fmla="*/ 1266825 h 1405628"/>
              <a:gd name="connsiteX81" fmla="*/ 202406 w 314325"/>
              <a:gd name="connsiteY81" fmla="*/ 1295400 h 1405628"/>
              <a:gd name="connsiteX82" fmla="*/ 211931 w 314325"/>
              <a:gd name="connsiteY82" fmla="*/ 1316831 h 1405628"/>
              <a:gd name="connsiteX83" fmla="*/ 264868 w 314325"/>
              <a:gd name="connsiteY83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78594 w 314325"/>
              <a:gd name="connsiteY8" fmla="*/ 135731 h 1405628"/>
              <a:gd name="connsiteX9" fmla="*/ 169069 w 314325"/>
              <a:gd name="connsiteY9" fmla="*/ 157162 h 1405628"/>
              <a:gd name="connsiteX10" fmla="*/ 161925 w 314325"/>
              <a:gd name="connsiteY10" fmla="*/ 169068 h 1405628"/>
              <a:gd name="connsiteX11" fmla="*/ 152400 w 314325"/>
              <a:gd name="connsiteY11" fmla="*/ 183356 h 1405628"/>
              <a:gd name="connsiteX12" fmla="*/ 142875 w 314325"/>
              <a:gd name="connsiteY12" fmla="*/ 209550 h 1405628"/>
              <a:gd name="connsiteX13" fmla="*/ 135731 w 314325"/>
              <a:gd name="connsiteY13" fmla="*/ 223837 h 1405628"/>
              <a:gd name="connsiteX14" fmla="*/ 133350 w 314325"/>
              <a:gd name="connsiteY14" fmla="*/ 230981 h 1405628"/>
              <a:gd name="connsiteX15" fmla="*/ 121444 w 314325"/>
              <a:gd name="connsiteY15" fmla="*/ 247650 h 1405628"/>
              <a:gd name="connsiteX16" fmla="*/ 111919 w 314325"/>
              <a:gd name="connsiteY16" fmla="*/ 257175 h 1405628"/>
              <a:gd name="connsiteX17" fmla="*/ 100012 w 314325"/>
              <a:gd name="connsiteY17" fmla="*/ 273843 h 1405628"/>
              <a:gd name="connsiteX18" fmla="*/ 90487 w 314325"/>
              <a:gd name="connsiteY18" fmla="*/ 288131 h 1405628"/>
              <a:gd name="connsiteX19" fmla="*/ 83344 w 314325"/>
              <a:gd name="connsiteY19" fmla="*/ 304800 h 1405628"/>
              <a:gd name="connsiteX20" fmla="*/ 85725 w 314325"/>
              <a:gd name="connsiteY20" fmla="*/ 316706 h 1405628"/>
              <a:gd name="connsiteX21" fmla="*/ 85725 w 314325"/>
              <a:gd name="connsiteY21" fmla="*/ 335756 h 1405628"/>
              <a:gd name="connsiteX22" fmla="*/ 92869 w 314325"/>
              <a:gd name="connsiteY22" fmla="*/ 354806 h 1405628"/>
              <a:gd name="connsiteX23" fmla="*/ 100012 w 314325"/>
              <a:gd name="connsiteY23" fmla="*/ 369093 h 1405628"/>
              <a:gd name="connsiteX24" fmla="*/ 102394 w 314325"/>
              <a:gd name="connsiteY24" fmla="*/ 381000 h 1405628"/>
              <a:gd name="connsiteX25" fmla="*/ 111919 w 314325"/>
              <a:gd name="connsiteY25" fmla="*/ 395287 h 1405628"/>
              <a:gd name="connsiteX26" fmla="*/ 119062 w 314325"/>
              <a:gd name="connsiteY26" fmla="*/ 404812 h 1405628"/>
              <a:gd name="connsiteX27" fmla="*/ 123825 w 314325"/>
              <a:gd name="connsiteY27" fmla="*/ 411956 h 1405628"/>
              <a:gd name="connsiteX28" fmla="*/ 130969 w 314325"/>
              <a:gd name="connsiteY28" fmla="*/ 431006 h 1405628"/>
              <a:gd name="connsiteX29" fmla="*/ 123825 w 314325"/>
              <a:gd name="connsiteY29" fmla="*/ 445293 h 1405628"/>
              <a:gd name="connsiteX30" fmla="*/ 111919 w 314325"/>
              <a:gd name="connsiteY30" fmla="*/ 454818 h 1405628"/>
              <a:gd name="connsiteX31" fmla="*/ 102394 w 314325"/>
              <a:gd name="connsiteY31" fmla="*/ 461962 h 1405628"/>
              <a:gd name="connsiteX32" fmla="*/ 95250 w 314325"/>
              <a:gd name="connsiteY32" fmla="*/ 473868 h 1405628"/>
              <a:gd name="connsiteX33" fmla="*/ 95250 w 314325"/>
              <a:gd name="connsiteY33" fmla="*/ 488156 h 1405628"/>
              <a:gd name="connsiteX34" fmla="*/ 97631 w 314325"/>
              <a:gd name="connsiteY34" fmla="*/ 507206 h 1405628"/>
              <a:gd name="connsiteX35" fmla="*/ 80962 w 314325"/>
              <a:gd name="connsiteY35" fmla="*/ 516731 h 1405628"/>
              <a:gd name="connsiteX36" fmla="*/ 64294 w 314325"/>
              <a:gd name="connsiteY36" fmla="*/ 523875 h 1405628"/>
              <a:gd name="connsiteX37" fmla="*/ 42862 w 314325"/>
              <a:gd name="connsiteY37" fmla="*/ 597693 h 1405628"/>
              <a:gd name="connsiteX38" fmla="*/ 35719 w 314325"/>
              <a:gd name="connsiteY38" fmla="*/ 633412 h 1405628"/>
              <a:gd name="connsiteX39" fmla="*/ 28575 w 314325"/>
              <a:gd name="connsiteY39" fmla="*/ 647700 h 1405628"/>
              <a:gd name="connsiteX40" fmla="*/ 21431 w 314325"/>
              <a:gd name="connsiteY40" fmla="*/ 661987 h 1405628"/>
              <a:gd name="connsiteX41" fmla="*/ 9525 w 314325"/>
              <a:gd name="connsiteY41" fmla="*/ 685800 h 1405628"/>
              <a:gd name="connsiteX42" fmla="*/ 9525 w 314325"/>
              <a:gd name="connsiteY42" fmla="*/ 704850 h 1405628"/>
              <a:gd name="connsiteX43" fmla="*/ 2381 w 314325"/>
              <a:gd name="connsiteY43" fmla="*/ 721518 h 1405628"/>
              <a:gd name="connsiteX44" fmla="*/ 0 w 314325"/>
              <a:gd name="connsiteY44" fmla="*/ 742950 h 1405628"/>
              <a:gd name="connsiteX45" fmla="*/ 0 w 314325"/>
              <a:gd name="connsiteY45" fmla="*/ 757237 h 1405628"/>
              <a:gd name="connsiteX46" fmla="*/ 2381 w 314325"/>
              <a:gd name="connsiteY46" fmla="*/ 769143 h 1405628"/>
              <a:gd name="connsiteX47" fmla="*/ 7144 w 314325"/>
              <a:gd name="connsiteY47" fmla="*/ 785812 h 1405628"/>
              <a:gd name="connsiteX48" fmla="*/ 11906 w 314325"/>
              <a:gd name="connsiteY48" fmla="*/ 788193 h 1405628"/>
              <a:gd name="connsiteX49" fmla="*/ 19050 w 314325"/>
              <a:gd name="connsiteY49" fmla="*/ 797718 h 1405628"/>
              <a:gd name="connsiteX50" fmla="*/ 23812 w 314325"/>
              <a:gd name="connsiteY50" fmla="*/ 809625 h 1405628"/>
              <a:gd name="connsiteX51" fmla="*/ 33337 w 314325"/>
              <a:gd name="connsiteY51" fmla="*/ 826293 h 1405628"/>
              <a:gd name="connsiteX52" fmla="*/ 33337 w 314325"/>
              <a:gd name="connsiteY52" fmla="*/ 838200 h 1405628"/>
              <a:gd name="connsiteX53" fmla="*/ 35719 w 314325"/>
              <a:gd name="connsiteY53" fmla="*/ 859631 h 1405628"/>
              <a:gd name="connsiteX54" fmla="*/ 35719 w 314325"/>
              <a:gd name="connsiteY54" fmla="*/ 885825 h 1405628"/>
              <a:gd name="connsiteX55" fmla="*/ 35719 w 314325"/>
              <a:gd name="connsiteY55" fmla="*/ 892968 h 1405628"/>
              <a:gd name="connsiteX56" fmla="*/ 35719 w 314325"/>
              <a:gd name="connsiteY56" fmla="*/ 912018 h 1405628"/>
              <a:gd name="connsiteX57" fmla="*/ 35719 w 314325"/>
              <a:gd name="connsiteY57" fmla="*/ 923925 h 1405628"/>
              <a:gd name="connsiteX58" fmla="*/ 35719 w 314325"/>
              <a:gd name="connsiteY58" fmla="*/ 933450 h 1405628"/>
              <a:gd name="connsiteX59" fmla="*/ 42862 w 314325"/>
              <a:gd name="connsiteY59" fmla="*/ 952500 h 1405628"/>
              <a:gd name="connsiteX60" fmla="*/ 50006 w 314325"/>
              <a:gd name="connsiteY60" fmla="*/ 964406 h 1405628"/>
              <a:gd name="connsiteX61" fmla="*/ 59531 w 314325"/>
              <a:gd name="connsiteY61" fmla="*/ 973931 h 1405628"/>
              <a:gd name="connsiteX62" fmla="*/ 66675 w 314325"/>
              <a:gd name="connsiteY62" fmla="*/ 981075 h 1405628"/>
              <a:gd name="connsiteX63" fmla="*/ 73819 w 314325"/>
              <a:gd name="connsiteY63" fmla="*/ 990600 h 1405628"/>
              <a:gd name="connsiteX64" fmla="*/ 88106 w 314325"/>
              <a:gd name="connsiteY64" fmla="*/ 1004887 h 1405628"/>
              <a:gd name="connsiteX65" fmla="*/ 97631 w 314325"/>
              <a:gd name="connsiteY65" fmla="*/ 1009650 h 1405628"/>
              <a:gd name="connsiteX66" fmla="*/ 104775 w 314325"/>
              <a:gd name="connsiteY66" fmla="*/ 1023937 h 1405628"/>
              <a:gd name="connsiteX67" fmla="*/ 119062 w 314325"/>
              <a:gd name="connsiteY67" fmla="*/ 1033462 h 1405628"/>
              <a:gd name="connsiteX68" fmla="*/ 138112 w 314325"/>
              <a:gd name="connsiteY68" fmla="*/ 1052512 h 1405628"/>
              <a:gd name="connsiteX69" fmla="*/ 150019 w 314325"/>
              <a:gd name="connsiteY69" fmla="*/ 1059656 h 1405628"/>
              <a:gd name="connsiteX70" fmla="*/ 161925 w 314325"/>
              <a:gd name="connsiteY70" fmla="*/ 1078706 h 1405628"/>
              <a:gd name="connsiteX71" fmla="*/ 171450 w 314325"/>
              <a:gd name="connsiteY71" fmla="*/ 1083468 h 1405628"/>
              <a:gd name="connsiteX72" fmla="*/ 183356 w 314325"/>
              <a:gd name="connsiteY72" fmla="*/ 1092993 h 1405628"/>
              <a:gd name="connsiteX73" fmla="*/ 192881 w 314325"/>
              <a:gd name="connsiteY73" fmla="*/ 1102518 h 1405628"/>
              <a:gd name="connsiteX74" fmla="*/ 207169 w 314325"/>
              <a:gd name="connsiteY74" fmla="*/ 1131093 h 1405628"/>
              <a:gd name="connsiteX75" fmla="*/ 211931 w 314325"/>
              <a:gd name="connsiteY75" fmla="*/ 1140618 h 1405628"/>
              <a:gd name="connsiteX76" fmla="*/ 211931 w 314325"/>
              <a:gd name="connsiteY76" fmla="*/ 1197768 h 1405628"/>
              <a:gd name="connsiteX77" fmla="*/ 209550 w 314325"/>
              <a:gd name="connsiteY77" fmla="*/ 1226343 h 1405628"/>
              <a:gd name="connsiteX78" fmla="*/ 204787 w 314325"/>
              <a:gd name="connsiteY78" fmla="*/ 1235868 h 1405628"/>
              <a:gd name="connsiteX79" fmla="*/ 202406 w 314325"/>
              <a:gd name="connsiteY79" fmla="*/ 1266825 h 1405628"/>
              <a:gd name="connsiteX80" fmla="*/ 202406 w 314325"/>
              <a:gd name="connsiteY80" fmla="*/ 1295400 h 1405628"/>
              <a:gd name="connsiteX81" fmla="*/ 211931 w 314325"/>
              <a:gd name="connsiteY81" fmla="*/ 1316831 h 1405628"/>
              <a:gd name="connsiteX82" fmla="*/ 264868 w 314325"/>
              <a:gd name="connsiteY82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78594 w 314325"/>
              <a:gd name="connsiteY8" fmla="*/ 135731 h 1405628"/>
              <a:gd name="connsiteX9" fmla="*/ 169069 w 314325"/>
              <a:gd name="connsiteY9" fmla="*/ 157162 h 1405628"/>
              <a:gd name="connsiteX10" fmla="*/ 161925 w 314325"/>
              <a:gd name="connsiteY10" fmla="*/ 169068 h 1405628"/>
              <a:gd name="connsiteX11" fmla="*/ 152400 w 314325"/>
              <a:gd name="connsiteY11" fmla="*/ 183356 h 1405628"/>
              <a:gd name="connsiteX12" fmla="*/ 142875 w 314325"/>
              <a:gd name="connsiteY12" fmla="*/ 209550 h 1405628"/>
              <a:gd name="connsiteX13" fmla="*/ 135731 w 314325"/>
              <a:gd name="connsiteY13" fmla="*/ 223837 h 1405628"/>
              <a:gd name="connsiteX14" fmla="*/ 121444 w 314325"/>
              <a:gd name="connsiteY14" fmla="*/ 247650 h 1405628"/>
              <a:gd name="connsiteX15" fmla="*/ 111919 w 314325"/>
              <a:gd name="connsiteY15" fmla="*/ 257175 h 1405628"/>
              <a:gd name="connsiteX16" fmla="*/ 100012 w 314325"/>
              <a:gd name="connsiteY16" fmla="*/ 273843 h 1405628"/>
              <a:gd name="connsiteX17" fmla="*/ 90487 w 314325"/>
              <a:gd name="connsiteY17" fmla="*/ 288131 h 1405628"/>
              <a:gd name="connsiteX18" fmla="*/ 83344 w 314325"/>
              <a:gd name="connsiteY18" fmla="*/ 304800 h 1405628"/>
              <a:gd name="connsiteX19" fmla="*/ 85725 w 314325"/>
              <a:gd name="connsiteY19" fmla="*/ 316706 h 1405628"/>
              <a:gd name="connsiteX20" fmla="*/ 85725 w 314325"/>
              <a:gd name="connsiteY20" fmla="*/ 335756 h 1405628"/>
              <a:gd name="connsiteX21" fmla="*/ 92869 w 314325"/>
              <a:gd name="connsiteY21" fmla="*/ 354806 h 1405628"/>
              <a:gd name="connsiteX22" fmla="*/ 100012 w 314325"/>
              <a:gd name="connsiteY22" fmla="*/ 369093 h 1405628"/>
              <a:gd name="connsiteX23" fmla="*/ 102394 w 314325"/>
              <a:gd name="connsiteY23" fmla="*/ 381000 h 1405628"/>
              <a:gd name="connsiteX24" fmla="*/ 111919 w 314325"/>
              <a:gd name="connsiteY24" fmla="*/ 395287 h 1405628"/>
              <a:gd name="connsiteX25" fmla="*/ 119062 w 314325"/>
              <a:gd name="connsiteY25" fmla="*/ 404812 h 1405628"/>
              <a:gd name="connsiteX26" fmla="*/ 123825 w 314325"/>
              <a:gd name="connsiteY26" fmla="*/ 411956 h 1405628"/>
              <a:gd name="connsiteX27" fmla="*/ 130969 w 314325"/>
              <a:gd name="connsiteY27" fmla="*/ 431006 h 1405628"/>
              <a:gd name="connsiteX28" fmla="*/ 123825 w 314325"/>
              <a:gd name="connsiteY28" fmla="*/ 445293 h 1405628"/>
              <a:gd name="connsiteX29" fmla="*/ 111919 w 314325"/>
              <a:gd name="connsiteY29" fmla="*/ 454818 h 1405628"/>
              <a:gd name="connsiteX30" fmla="*/ 102394 w 314325"/>
              <a:gd name="connsiteY30" fmla="*/ 461962 h 1405628"/>
              <a:gd name="connsiteX31" fmla="*/ 95250 w 314325"/>
              <a:gd name="connsiteY31" fmla="*/ 473868 h 1405628"/>
              <a:gd name="connsiteX32" fmla="*/ 95250 w 314325"/>
              <a:gd name="connsiteY32" fmla="*/ 488156 h 1405628"/>
              <a:gd name="connsiteX33" fmla="*/ 97631 w 314325"/>
              <a:gd name="connsiteY33" fmla="*/ 507206 h 1405628"/>
              <a:gd name="connsiteX34" fmla="*/ 80962 w 314325"/>
              <a:gd name="connsiteY34" fmla="*/ 516731 h 1405628"/>
              <a:gd name="connsiteX35" fmla="*/ 64294 w 314325"/>
              <a:gd name="connsiteY35" fmla="*/ 523875 h 1405628"/>
              <a:gd name="connsiteX36" fmla="*/ 42862 w 314325"/>
              <a:gd name="connsiteY36" fmla="*/ 597693 h 1405628"/>
              <a:gd name="connsiteX37" fmla="*/ 35719 w 314325"/>
              <a:gd name="connsiteY37" fmla="*/ 633412 h 1405628"/>
              <a:gd name="connsiteX38" fmla="*/ 28575 w 314325"/>
              <a:gd name="connsiteY38" fmla="*/ 647700 h 1405628"/>
              <a:gd name="connsiteX39" fmla="*/ 21431 w 314325"/>
              <a:gd name="connsiteY39" fmla="*/ 661987 h 1405628"/>
              <a:gd name="connsiteX40" fmla="*/ 9525 w 314325"/>
              <a:gd name="connsiteY40" fmla="*/ 685800 h 1405628"/>
              <a:gd name="connsiteX41" fmla="*/ 9525 w 314325"/>
              <a:gd name="connsiteY41" fmla="*/ 704850 h 1405628"/>
              <a:gd name="connsiteX42" fmla="*/ 2381 w 314325"/>
              <a:gd name="connsiteY42" fmla="*/ 721518 h 1405628"/>
              <a:gd name="connsiteX43" fmla="*/ 0 w 314325"/>
              <a:gd name="connsiteY43" fmla="*/ 742950 h 1405628"/>
              <a:gd name="connsiteX44" fmla="*/ 0 w 314325"/>
              <a:gd name="connsiteY44" fmla="*/ 757237 h 1405628"/>
              <a:gd name="connsiteX45" fmla="*/ 2381 w 314325"/>
              <a:gd name="connsiteY45" fmla="*/ 769143 h 1405628"/>
              <a:gd name="connsiteX46" fmla="*/ 7144 w 314325"/>
              <a:gd name="connsiteY46" fmla="*/ 785812 h 1405628"/>
              <a:gd name="connsiteX47" fmla="*/ 11906 w 314325"/>
              <a:gd name="connsiteY47" fmla="*/ 788193 h 1405628"/>
              <a:gd name="connsiteX48" fmla="*/ 19050 w 314325"/>
              <a:gd name="connsiteY48" fmla="*/ 797718 h 1405628"/>
              <a:gd name="connsiteX49" fmla="*/ 23812 w 314325"/>
              <a:gd name="connsiteY49" fmla="*/ 809625 h 1405628"/>
              <a:gd name="connsiteX50" fmla="*/ 33337 w 314325"/>
              <a:gd name="connsiteY50" fmla="*/ 826293 h 1405628"/>
              <a:gd name="connsiteX51" fmla="*/ 33337 w 314325"/>
              <a:gd name="connsiteY51" fmla="*/ 838200 h 1405628"/>
              <a:gd name="connsiteX52" fmla="*/ 35719 w 314325"/>
              <a:gd name="connsiteY52" fmla="*/ 859631 h 1405628"/>
              <a:gd name="connsiteX53" fmla="*/ 35719 w 314325"/>
              <a:gd name="connsiteY53" fmla="*/ 885825 h 1405628"/>
              <a:gd name="connsiteX54" fmla="*/ 35719 w 314325"/>
              <a:gd name="connsiteY54" fmla="*/ 892968 h 1405628"/>
              <a:gd name="connsiteX55" fmla="*/ 35719 w 314325"/>
              <a:gd name="connsiteY55" fmla="*/ 912018 h 1405628"/>
              <a:gd name="connsiteX56" fmla="*/ 35719 w 314325"/>
              <a:gd name="connsiteY56" fmla="*/ 923925 h 1405628"/>
              <a:gd name="connsiteX57" fmla="*/ 35719 w 314325"/>
              <a:gd name="connsiteY57" fmla="*/ 933450 h 1405628"/>
              <a:gd name="connsiteX58" fmla="*/ 42862 w 314325"/>
              <a:gd name="connsiteY58" fmla="*/ 952500 h 1405628"/>
              <a:gd name="connsiteX59" fmla="*/ 50006 w 314325"/>
              <a:gd name="connsiteY59" fmla="*/ 964406 h 1405628"/>
              <a:gd name="connsiteX60" fmla="*/ 59531 w 314325"/>
              <a:gd name="connsiteY60" fmla="*/ 973931 h 1405628"/>
              <a:gd name="connsiteX61" fmla="*/ 66675 w 314325"/>
              <a:gd name="connsiteY61" fmla="*/ 981075 h 1405628"/>
              <a:gd name="connsiteX62" fmla="*/ 73819 w 314325"/>
              <a:gd name="connsiteY62" fmla="*/ 990600 h 1405628"/>
              <a:gd name="connsiteX63" fmla="*/ 88106 w 314325"/>
              <a:gd name="connsiteY63" fmla="*/ 1004887 h 1405628"/>
              <a:gd name="connsiteX64" fmla="*/ 97631 w 314325"/>
              <a:gd name="connsiteY64" fmla="*/ 1009650 h 1405628"/>
              <a:gd name="connsiteX65" fmla="*/ 104775 w 314325"/>
              <a:gd name="connsiteY65" fmla="*/ 1023937 h 1405628"/>
              <a:gd name="connsiteX66" fmla="*/ 119062 w 314325"/>
              <a:gd name="connsiteY66" fmla="*/ 1033462 h 1405628"/>
              <a:gd name="connsiteX67" fmla="*/ 138112 w 314325"/>
              <a:gd name="connsiteY67" fmla="*/ 1052512 h 1405628"/>
              <a:gd name="connsiteX68" fmla="*/ 150019 w 314325"/>
              <a:gd name="connsiteY68" fmla="*/ 1059656 h 1405628"/>
              <a:gd name="connsiteX69" fmla="*/ 161925 w 314325"/>
              <a:gd name="connsiteY69" fmla="*/ 1078706 h 1405628"/>
              <a:gd name="connsiteX70" fmla="*/ 171450 w 314325"/>
              <a:gd name="connsiteY70" fmla="*/ 1083468 h 1405628"/>
              <a:gd name="connsiteX71" fmla="*/ 183356 w 314325"/>
              <a:gd name="connsiteY71" fmla="*/ 1092993 h 1405628"/>
              <a:gd name="connsiteX72" fmla="*/ 192881 w 314325"/>
              <a:gd name="connsiteY72" fmla="*/ 1102518 h 1405628"/>
              <a:gd name="connsiteX73" fmla="*/ 207169 w 314325"/>
              <a:gd name="connsiteY73" fmla="*/ 1131093 h 1405628"/>
              <a:gd name="connsiteX74" fmla="*/ 211931 w 314325"/>
              <a:gd name="connsiteY74" fmla="*/ 1140618 h 1405628"/>
              <a:gd name="connsiteX75" fmla="*/ 211931 w 314325"/>
              <a:gd name="connsiteY75" fmla="*/ 1197768 h 1405628"/>
              <a:gd name="connsiteX76" fmla="*/ 209550 w 314325"/>
              <a:gd name="connsiteY76" fmla="*/ 1226343 h 1405628"/>
              <a:gd name="connsiteX77" fmla="*/ 204787 w 314325"/>
              <a:gd name="connsiteY77" fmla="*/ 1235868 h 1405628"/>
              <a:gd name="connsiteX78" fmla="*/ 202406 w 314325"/>
              <a:gd name="connsiteY78" fmla="*/ 1266825 h 1405628"/>
              <a:gd name="connsiteX79" fmla="*/ 202406 w 314325"/>
              <a:gd name="connsiteY79" fmla="*/ 1295400 h 1405628"/>
              <a:gd name="connsiteX80" fmla="*/ 211931 w 314325"/>
              <a:gd name="connsiteY80" fmla="*/ 1316831 h 1405628"/>
              <a:gd name="connsiteX81" fmla="*/ 264868 w 314325"/>
              <a:gd name="connsiteY81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78594 w 314325"/>
              <a:gd name="connsiteY8" fmla="*/ 135731 h 1405628"/>
              <a:gd name="connsiteX9" fmla="*/ 169069 w 314325"/>
              <a:gd name="connsiteY9" fmla="*/ 157162 h 1405628"/>
              <a:gd name="connsiteX10" fmla="*/ 161925 w 314325"/>
              <a:gd name="connsiteY10" fmla="*/ 169068 h 1405628"/>
              <a:gd name="connsiteX11" fmla="*/ 142875 w 314325"/>
              <a:gd name="connsiteY11" fmla="*/ 209550 h 1405628"/>
              <a:gd name="connsiteX12" fmla="*/ 135731 w 314325"/>
              <a:gd name="connsiteY12" fmla="*/ 223837 h 1405628"/>
              <a:gd name="connsiteX13" fmla="*/ 121444 w 314325"/>
              <a:gd name="connsiteY13" fmla="*/ 247650 h 1405628"/>
              <a:gd name="connsiteX14" fmla="*/ 111919 w 314325"/>
              <a:gd name="connsiteY14" fmla="*/ 257175 h 1405628"/>
              <a:gd name="connsiteX15" fmla="*/ 100012 w 314325"/>
              <a:gd name="connsiteY15" fmla="*/ 273843 h 1405628"/>
              <a:gd name="connsiteX16" fmla="*/ 90487 w 314325"/>
              <a:gd name="connsiteY16" fmla="*/ 288131 h 1405628"/>
              <a:gd name="connsiteX17" fmla="*/ 83344 w 314325"/>
              <a:gd name="connsiteY17" fmla="*/ 304800 h 1405628"/>
              <a:gd name="connsiteX18" fmla="*/ 85725 w 314325"/>
              <a:gd name="connsiteY18" fmla="*/ 316706 h 1405628"/>
              <a:gd name="connsiteX19" fmla="*/ 85725 w 314325"/>
              <a:gd name="connsiteY19" fmla="*/ 335756 h 1405628"/>
              <a:gd name="connsiteX20" fmla="*/ 92869 w 314325"/>
              <a:gd name="connsiteY20" fmla="*/ 354806 h 1405628"/>
              <a:gd name="connsiteX21" fmla="*/ 100012 w 314325"/>
              <a:gd name="connsiteY21" fmla="*/ 369093 h 1405628"/>
              <a:gd name="connsiteX22" fmla="*/ 102394 w 314325"/>
              <a:gd name="connsiteY22" fmla="*/ 381000 h 1405628"/>
              <a:gd name="connsiteX23" fmla="*/ 111919 w 314325"/>
              <a:gd name="connsiteY23" fmla="*/ 395287 h 1405628"/>
              <a:gd name="connsiteX24" fmla="*/ 119062 w 314325"/>
              <a:gd name="connsiteY24" fmla="*/ 404812 h 1405628"/>
              <a:gd name="connsiteX25" fmla="*/ 123825 w 314325"/>
              <a:gd name="connsiteY25" fmla="*/ 411956 h 1405628"/>
              <a:gd name="connsiteX26" fmla="*/ 130969 w 314325"/>
              <a:gd name="connsiteY26" fmla="*/ 431006 h 1405628"/>
              <a:gd name="connsiteX27" fmla="*/ 123825 w 314325"/>
              <a:gd name="connsiteY27" fmla="*/ 445293 h 1405628"/>
              <a:gd name="connsiteX28" fmla="*/ 111919 w 314325"/>
              <a:gd name="connsiteY28" fmla="*/ 454818 h 1405628"/>
              <a:gd name="connsiteX29" fmla="*/ 102394 w 314325"/>
              <a:gd name="connsiteY29" fmla="*/ 461962 h 1405628"/>
              <a:gd name="connsiteX30" fmla="*/ 95250 w 314325"/>
              <a:gd name="connsiteY30" fmla="*/ 473868 h 1405628"/>
              <a:gd name="connsiteX31" fmla="*/ 95250 w 314325"/>
              <a:gd name="connsiteY31" fmla="*/ 488156 h 1405628"/>
              <a:gd name="connsiteX32" fmla="*/ 97631 w 314325"/>
              <a:gd name="connsiteY32" fmla="*/ 507206 h 1405628"/>
              <a:gd name="connsiteX33" fmla="*/ 80962 w 314325"/>
              <a:gd name="connsiteY33" fmla="*/ 516731 h 1405628"/>
              <a:gd name="connsiteX34" fmla="*/ 64294 w 314325"/>
              <a:gd name="connsiteY34" fmla="*/ 523875 h 1405628"/>
              <a:gd name="connsiteX35" fmla="*/ 42862 w 314325"/>
              <a:gd name="connsiteY35" fmla="*/ 597693 h 1405628"/>
              <a:gd name="connsiteX36" fmla="*/ 35719 w 314325"/>
              <a:gd name="connsiteY36" fmla="*/ 633412 h 1405628"/>
              <a:gd name="connsiteX37" fmla="*/ 28575 w 314325"/>
              <a:gd name="connsiteY37" fmla="*/ 647700 h 1405628"/>
              <a:gd name="connsiteX38" fmla="*/ 21431 w 314325"/>
              <a:gd name="connsiteY38" fmla="*/ 661987 h 1405628"/>
              <a:gd name="connsiteX39" fmla="*/ 9525 w 314325"/>
              <a:gd name="connsiteY39" fmla="*/ 685800 h 1405628"/>
              <a:gd name="connsiteX40" fmla="*/ 9525 w 314325"/>
              <a:gd name="connsiteY40" fmla="*/ 704850 h 1405628"/>
              <a:gd name="connsiteX41" fmla="*/ 2381 w 314325"/>
              <a:gd name="connsiteY41" fmla="*/ 721518 h 1405628"/>
              <a:gd name="connsiteX42" fmla="*/ 0 w 314325"/>
              <a:gd name="connsiteY42" fmla="*/ 742950 h 1405628"/>
              <a:gd name="connsiteX43" fmla="*/ 0 w 314325"/>
              <a:gd name="connsiteY43" fmla="*/ 757237 h 1405628"/>
              <a:gd name="connsiteX44" fmla="*/ 2381 w 314325"/>
              <a:gd name="connsiteY44" fmla="*/ 769143 h 1405628"/>
              <a:gd name="connsiteX45" fmla="*/ 7144 w 314325"/>
              <a:gd name="connsiteY45" fmla="*/ 785812 h 1405628"/>
              <a:gd name="connsiteX46" fmla="*/ 11906 w 314325"/>
              <a:gd name="connsiteY46" fmla="*/ 788193 h 1405628"/>
              <a:gd name="connsiteX47" fmla="*/ 19050 w 314325"/>
              <a:gd name="connsiteY47" fmla="*/ 797718 h 1405628"/>
              <a:gd name="connsiteX48" fmla="*/ 23812 w 314325"/>
              <a:gd name="connsiteY48" fmla="*/ 809625 h 1405628"/>
              <a:gd name="connsiteX49" fmla="*/ 33337 w 314325"/>
              <a:gd name="connsiteY49" fmla="*/ 826293 h 1405628"/>
              <a:gd name="connsiteX50" fmla="*/ 33337 w 314325"/>
              <a:gd name="connsiteY50" fmla="*/ 838200 h 1405628"/>
              <a:gd name="connsiteX51" fmla="*/ 35719 w 314325"/>
              <a:gd name="connsiteY51" fmla="*/ 859631 h 1405628"/>
              <a:gd name="connsiteX52" fmla="*/ 35719 w 314325"/>
              <a:gd name="connsiteY52" fmla="*/ 885825 h 1405628"/>
              <a:gd name="connsiteX53" fmla="*/ 35719 w 314325"/>
              <a:gd name="connsiteY53" fmla="*/ 892968 h 1405628"/>
              <a:gd name="connsiteX54" fmla="*/ 35719 w 314325"/>
              <a:gd name="connsiteY54" fmla="*/ 912018 h 1405628"/>
              <a:gd name="connsiteX55" fmla="*/ 35719 w 314325"/>
              <a:gd name="connsiteY55" fmla="*/ 923925 h 1405628"/>
              <a:gd name="connsiteX56" fmla="*/ 35719 w 314325"/>
              <a:gd name="connsiteY56" fmla="*/ 933450 h 1405628"/>
              <a:gd name="connsiteX57" fmla="*/ 42862 w 314325"/>
              <a:gd name="connsiteY57" fmla="*/ 952500 h 1405628"/>
              <a:gd name="connsiteX58" fmla="*/ 50006 w 314325"/>
              <a:gd name="connsiteY58" fmla="*/ 964406 h 1405628"/>
              <a:gd name="connsiteX59" fmla="*/ 59531 w 314325"/>
              <a:gd name="connsiteY59" fmla="*/ 973931 h 1405628"/>
              <a:gd name="connsiteX60" fmla="*/ 66675 w 314325"/>
              <a:gd name="connsiteY60" fmla="*/ 981075 h 1405628"/>
              <a:gd name="connsiteX61" fmla="*/ 73819 w 314325"/>
              <a:gd name="connsiteY61" fmla="*/ 990600 h 1405628"/>
              <a:gd name="connsiteX62" fmla="*/ 88106 w 314325"/>
              <a:gd name="connsiteY62" fmla="*/ 1004887 h 1405628"/>
              <a:gd name="connsiteX63" fmla="*/ 97631 w 314325"/>
              <a:gd name="connsiteY63" fmla="*/ 1009650 h 1405628"/>
              <a:gd name="connsiteX64" fmla="*/ 104775 w 314325"/>
              <a:gd name="connsiteY64" fmla="*/ 1023937 h 1405628"/>
              <a:gd name="connsiteX65" fmla="*/ 119062 w 314325"/>
              <a:gd name="connsiteY65" fmla="*/ 1033462 h 1405628"/>
              <a:gd name="connsiteX66" fmla="*/ 138112 w 314325"/>
              <a:gd name="connsiteY66" fmla="*/ 1052512 h 1405628"/>
              <a:gd name="connsiteX67" fmla="*/ 150019 w 314325"/>
              <a:gd name="connsiteY67" fmla="*/ 1059656 h 1405628"/>
              <a:gd name="connsiteX68" fmla="*/ 161925 w 314325"/>
              <a:gd name="connsiteY68" fmla="*/ 1078706 h 1405628"/>
              <a:gd name="connsiteX69" fmla="*/ 171450 w 314325"/>
              <a:gd name="connsiteY69" fmla="*/ 1083468 h 1405628"/>
              <a:gd name="connsiteX70" fmla="*/ 183356 w 314325"/>
              <a:gd name="connsiteY70" fmla="*/ 1092993 h 1405628"/>
              <a:gd name="connsiteX71" fmla="*/ 192881 w 314325"/>
              <a:gd name="connsiteY71" fmla="*/ 1102518 h 1405628"/>
              <a:gd name="connsiteX72" fmla="*/ 207169 w 314325"/>
              <a:gd name="connsiteY72" fmla="*/ 1131093 h 1405628"/>
              <a:gd name="connsiteX73" fmla="*/ 211931 w 314325"/>
              <a:gd name="connsiteY73" fmla="*/ 1140618 h 1405628"/>
              <a:gd name="connsiteX74" fmla="*/ 211931 w 314325"/>
              <a:gd name="connsiteY74" fmla="*/ 1197768 h 1405628"/>
              <a:gd name="connsiteX75" fmla="*/ 209550 w 314325"/>
              <a:gd name="connsiteY75" fmla="*/ 1226343 h 1405628"/>
              <a:gd name="connsiteX76" fmla="*/ 204787 w 314325"/>
              <a:gd name="connsiteY76" fmla="*/ 1235868 h 1405628"/>
              <a:gd name="connsiteX77" fmla="*/ 202406 w 314325"/>
              <a:gd name="connsiteY77" fmla="*/ 1266825 h 1405628"/>
              <a:gd name="connsiteX78" fmla="*/ 202406 w 314325"/>
              <a:gd name="connsiteY78" fmla="*/ 1295400 h 1405628"/>
              <a:gd name="connsiteX79" fmla="*/ 211931 w 314325"/>
              <a:gd name="connsiteY79" fmla="*/ 1316831 h 1405628"/>
              <a:gd name="connsiteX80" fmla="*/ 264868 w 314325"/>
              <a:gd name="connsiteY80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78594 w 314325"/>
              <a:gd name="connsiteY8" fmla="*/ 135731 h 1405628"/>
              <a:gd name="connsiteX9" fmla="*/ 169069 w 314325"/>
              <a:gd name="connsiteY9" fmla="*/ 157162 h 1405628"/>
              <a:gd name="connsiteX10" fmla="*/ 142875 w 314325"/>
              <a:gd name="connsiteY10" fmla="*/ 209550 h 1405628"/>
              <a:gd name="connsiteX11" fmla="*/ 135731 w 314325"/>
              <a:gd name="connsiteY11" fmla="*/ 223837 h 1405628"/>
              <a:gd name="connsiteX12" fmla="*/ 121444 w 314325"/>
              <a:gd name="connsiteY12" fmla="*/ 247650 h 1405628"/>
              <a:gd name="connsiteX13" fmla="*/ 111919 w 314325"/>
              <a:gd name="connsiteY13" fmla="*/ 257175 h 1405628"/>
              <a:gd name="connsiteX14" fmla="*/ 100012 w 314325"/>
              <a:gd name="connsiteY14" fmla="*/ 273843 h 1405628"/>
              <a:gd name="connsiteX15" fmla="*/ 90487 w 314325"/>
              <a:gd name="connsiteY15" fmla="*/ 288131 h 1405628"/>
              <a:gd name="connsiteX16" fmla="*/ 83344 w 314325"/>
              <a:gd name="connsiteY16" fmla="*/ 304800 h 1405628"/>
              <a:gd name="connsiteX17" fmla="*/ 85725 w 314325"/>
              <a:gd name="connsiteY17" fmla="*/ 316706 h 1405628"/>
              <a:gd name="connsiteX18" fmla="*/ 85725 w 314325"/>
              <a:gd name="connsiteY18" fmla="*/ 335756 h 1405628"/>
              <a:gd name="connsiteX19" fmla="*/ 92869 w 314325"/>
              <a:gd name="connsiteY19" fmla="*/ 354806 h 1405628"/>
              <a:gd name="connsiteX20" fmla="*/ 100012 w 314325"/>
              <a:gd name="connsiteY20" fmla="*/ 369093 h 1405628"/>
              <a:gd name="connsiteX21" fmla="*/ 102394 w 314325"/>
              <a:gd name="connsiteY21" fmla="*/ 381000 h 1405628"/>
              <a:gd name="connsiteX22" fmla="*/ 111919 w 314325"/>
              <a:gd name="connsiteY22" fmla="*/ 395287 h 1405628"/>
              <a:gd name="connsiteX23" fmla="*/ 119062 w 314325"/>
              <a:gd name="connsiteY23" fmla="*/ 404812 h 1405628"/>
              <a:gd name="connsiteX24" fmla="*/ 123825 w 314325"/>
              <a:gd name="connsiteY24" fmla="*/ 411956 h 1405628"/>
              <a:gd name="connsiteX25" fmla="*/ 130969 w 314325"/>
              <a:gd name="connsiteY25" fmla="*/ 431006 h 1405628"/>
              <a:gd name="connsiteX26" fmla="*/ 123825 w 314325"/>
              <a:gd name="connsiteY26" fmla="*/ 445293 h 1405628"/>
              <a:gd name="connsiteX27" fmla="*/ 111919 w 314325"/>
              <a:gd name="connsiteY27" fmla="*/ 454818 h 1405628"/>
              <a:gd name="connsiteX28" fmla="*/ 102394 w 314325"/>
              <a:gd name="connsiteY28" fmla="*/ 461962 h 1405628"/>
              <a:gd name="connsiteX29" fmla="*/ 95250 w 314325"/>
              <a:gd name="connsiteY29" fmla="*/ 473868 h 1405628"/>
              <a:gd name="connsiteX30" fmla="*/ 95250 w 314325"/>
              <a:gd name="connsiteY30" fmla="*/ 488156 h 1405628"/>
              <a:gd name="connsiteX31" fmla="*/ 97631 w 314325"/>
              <a:gd name="connsiteY31" fmla="*/ 507206 h 1405628"/>
              <a:gd name="connsiteX32" fmla="*/ 80962 w 314325"/>
              <a:gd name="connsiteY32" fmla="*/ 516731 h 1405628"/>
              <a:gd name="connsiteX33" fmla="*/ 64294 w 314325"/>
              <a:gd name="connsiteY33" fmla="*/ 523875 h 1405628"/>
              <a:gd name="connsiteX34" fmla="*/ 42862 w 314325"/>
              <a:gd name="connsiteY34" fmla="*/ 597693 h 1405628"/>
              <a:gd name="connsiteX35" fmla="*/ 35719 w 314325"/>
              <a:gd name="connsiteY35" fmla="*/ 633412 h 1405628"/>
              <a:gd name="connsiteX36" fmla="*/ 28575 w 314325"/>
              <a:gd name="connsiteY36" fmla="*/ 647700 h 1405628"/>
              <a:gd name="connsiteX37" fmla="*/ 21431 w 314325"/>
              <a:gd name="connsiteY37" fmla="*/ 661987 h 1405628"/>
              <a:gd name="connsiteX38" fmla="*/ 9525 w 314325"/>
              <a:gd name="connsiteY38" fmla="*/ 685800 h 1405628"/>
              <a:gd name="connsiteX39" fmla="*/ 9525 w 314325"/>
              <a:gd name="connsiteY39" fmla="*/ 704850 h 1405628"/>
              <a:gd name="connsiteX40" fmla="*/ 2381 w 314325"/>
              <a:gd name="connsiteY40" fmla="*/ 721518 h 1405628"/>
              <a:gd name="connsiteX41" fmla="*/ 0 w 314325"/>
              <a:gd name="connsiteY41" fmla="*/ 742950 h 1405628"/>
              <a:gd name="connsiteX42" fmla="*/ 0 w 314325"/>
              <a:gd name="connsiteY42" fmla="*/ 757237 h 1405628"/>
              <a:gd name="connsiteX43" fmla="*/ 2381 w 314325"/>
              <a:gd name="connsiteY43" fmla="*/ 769143 h 1405628"/>
              <a:gd name="connsiteX44" fmla="*/ 7144 w 314325"/>
              <a:gd name="connsiteY44" fmla="*/ 785812 h 1405628"/>
              <a:gd name="connsiteX45" fmla="*/ 11906 w 314325"/>
              <a:gd name="connsiteY45" fmla="*/ 788193 h 1405628"/>
              <a:gd name="connsiteX46" fmla="*/ 19050 w 314325"/>
              <a:gd name="connsiteY46" fmla="*/ 797718 h 1405628"/>
              <a:gd name="connsiteX47" fmla="*/ 23812 w 314325"/>
              <a:gd name="connsiteY47" fmla="*/ 809625 h 1405628"/>
              <a:gd name="connsiteX48" fmla="*/ 33337 w 314325"/>
              <a:gd name="connsiteY48" fmla="*/ 826293 h 1405628"/>
              <a:gd name="connsiteX49" fmla="*/ 33337 w 314325"/>
              <a:gd name="connsiteY49" fmla="*/ 838200 h 1405628"/>
              <a:gd name="connsiteX50" fmla="*/ 35719 w 314325"/>
              <a:gd name="connsiteY50" fmla="*/ 859631 h 1405628"/>
              <a:gd name="connsiteX51" fmla="*/ 35719 w 314325"/>
              <a:gd name="connsiteY51" fmla="*/ 885825 h 1405628"/>
              <a:gd name="connsiteX52" fmla="*/ 35719 w 314325"/>
              <a:gd name="connsiteY52" fmla="*/ 892968 h 1405628"/>
              <a:gd name="connsiteX53" fmla="*/ 35719 w 314325"/>
              <a:gd name="connsiteY53" fmla="*/ 912018 h 1405628"/>
              <a:gd name="connsiteX54" fmla="*/ 35719 w 314325"/>
              <a:gd name="connsiteY54" fmla="*/ 923925 h 1405628"/>
              <a:gd name="connsiteX55" fmla="*/ 35719 w 314325"/>
              <a:gd name="connsiteY55" fmla="*/ 933450 h 1405628"/>
              <a:gd name="connsiteX56" fmla="*/ 42862 w 314325"/>
              <a:gd name="connsiteY56" fmla="*/ 952500 h 1405628"/>
              <a:gd name="connsiteX57" fmla="*/ 50006 w 314325"/>
              <a:gd name="connsiteY57" fmla="*/ 964406 h 1405628"/>
              <a:gd name="connsiteX58" fmla="*/ 59531 w 314325"/>
              <a:gd name="connsiteY58" fmla="*/ 973931 h 1405628"/>
              <a:gd name="connsiteX59" fmla="*/ 66675 w 314325"/>
              <a:gd name="connsiteY59" fmla="*/ 981075 h 1405628"/>
              <a:gd name="connsiteX60" fmla="*/ 73819 w 314325"/>
              <a:gd name="connsiteY60" fmla="*/ 990600 h 1405628"/>
              <a:gd name="connsiteX61" fmla="*/ 88106 w 314325"/>
              <a:gd name="connsiteY61" fmla="*/ 1004887 h 1405628"/>
              <a:gd name="connsiteX62" fmla="*/ 97631 w 314325"/>
              <a:gd name="connsiteY62" fmla="*/ 1009650 h 1405628"/>
              <a:gd name="connsiteX63" fmla="*/ 104775 w 314325"/>
              <a:gd name="connsiteY63" fmla="*/ 1023937 h 1405628"/>
              <a:gd name="connsiteX64" fmla="*/ 119062 w 314325"/>
              <a:gd name="connsiteY64" fmla="*/ 1033462 h 1405628"/>
              <a:gd name="connsiteX65" fmla="*/ 138112 w 314325"/>
              <a:gd name="connsiteY65" fmla="*/ 1052512 h 1405628"/>
              <a:gd name="connsiteX66" fmla="*/ 150019 w 314325"/>
              <a:gd name="connsiteY66" fmla="*/ 1059656 h 1405628"/>
              <a:gd name="connsiteX67" fmla="*/ 161925 w 314325"/>
              <a:gd name="connsiteY67" fmla="*/ 1078706 h 1405628"/>
              <a:gd name="connsiteX68" fmla="*/ 171450 w 314325"/>
              <a:gd name="connsiteY68" fmla="*/ 1083468 h 1405628"/>
              <a:gd name="connsiteX69" fmla="*/ 183356 w 314325"/>
              <a:gd name="connsiteY69" fmla="*/ 1092993 h 1405628"/>
              <a:gd name="connsiteX70" fmla="*/ 192881 w 314325"/>
              <a:gd name="connsiteY70" fmla="*/ 1102518 h 1405628"/>
              <a:gd name="connsiteX71" fmla="*/ 207169 w 314325"/>
              <a:gd name="connsiteY71" fmla="*/ 1131093 h 1405628"/>
              <a:gd name="connsiteX72" fmla="*/ 211931 w 314325"/>
              <a:gd name="connsiteY72" fmla="*/ 1140618 h 1405628"/>
              <a:gd name="connsiteX73" fmla="*/ 211931 w 314325"/>
              <a:gd name="connsiteY73" fmla="*/ 1197768 h 1405628"/>
              <a:gd name="connsiteX74" fmla="*/ 209550 w 314325"/>
              <a:gd name="connsiteY74" fmla="*/ 1226343 h 1405628"/>
              <a:gd name="connsiteX75" fmla="*/ 204787 w 314325"/>
              <a:gd name="connsiteY75" fmla="*/ 1235868 h 1405628"/>
              <a:gd name="connsiteX76" fmla="*/ 202406 w 314325"/>
              <a:gd name="connsiteY76" fmla="*/ 1266825 h 1405628"/>
              <a:gd name="connsiteX77" fmla="*/ 202406 w 314325"/>
              <a:gd name="connsiteY77" fmla="*/ 1295400 h 1405628"/>
              <a:gd name="connsiteX78" fmla="*/ 211931 w 314325"/>
              <a:gd name="connsiteY78" fmla="*/ 1316831 h 1405628"/>
              <a:gd name="connsiteX79" fmla="*/ 264868 w 314325"/>
              <a:gd name="connsiteY79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78594 w 314325"/>
              <a:gd name="connsiteY8" fmla="*/ 135731 h 1405628"/>
              <a:gd name="connsiteX9" fmla="*/ 142875 w 314325"/>
              <a:gd name="connsiteY9" fmla="*/ 209550 h 1405628"/>
              <a:gd name="connsiteX10" fmla="*/ 135731 w 314325"/>
              <a:gd name="connsiteY10" fmla="*/ 223837 h 1405628"/>
              <a:gd name="connsiteX11" fmla="*/ 121444 w 314325"/>
              <a:gd name="connsiteY11" fmla="*/ 247650 h 1405628"/>
              <a:gd name="connsiteX12" fmla="*/ 111919 w 314325"/>
              <a:gd name="connsiteY12" fmla="*/ 257175 h 1405628"/>
              <a:gd name="connsiteX13" fmla="*/ 100012 w 314325"/>
              <a:gd name="connsiteY13" fmla="*/ 273843 h 1405628"/>
              <a:gd name="connsiteX14" fmla="*/ 90487 w 314325"/>
              <a:gd name="connsiteY14" fmla="*/ 288131 h 1405628"/>
              <a:gd name="connsiteX15" fmla="*/ 83344 w 314325"/>
              <a:gd name="connsiteY15" fmla="*/ 304800 h 1405628"/>
              <a:gd name="connsiteX16" fmla="*/ 85725 w 314325"/>
              <a:gd name="connsiteY16" fmla="*/ 316706 h 1405628"/>
              <a:gd name="connsiteX17" fmla="*/ 85725 w 314325"/>
              <a:gd name="connsiteY17" fmla="*/ 335756 h 1405628"/>
              <a:gd name="connsiteX18" fmla="*/ 92869 w 314325"/>
              <a:gd name="connsiteY18" fmla="*/ 354806 h 1405628"/>
              <a:gd name="connsiteX19" fmla="*/ 100012 w 314325"/>
              <a:gd name="connsiteY19" fmla="*/ 369093 h 1405628"/>
              <a:gd name="connsiteX20" fmla="*/ 102394 w 314325"/>
              <a:gd name="connsiteY20" fmla="*/ 381000 h 1405628"/>
              <a:gd name="connsiteX21" fmla="*/ 111919 w 314325"/>
              <a:gd name="connsiteY21" fmla="*/ 395287 h 1405628"/>
              <a:gd name="connsiteX22" fmla="*/ 119062 w 314325"/>
              <a:gd name="connsiteY22" fmla="*/ 404812 h 1405628"/>
              <a:gd name="connsiteX23" fmla="*/ 123825 w 314325"/>
              <a:gd name="connsiteY23" fmla="*/ 411956 h 1405628"/>
              <a:gd name="connsiteX24" fmla="*/ 130969 w 314325"/>
              <a:gd name="connsiteY24" fmla="*/ 431006 h 1405628"/>
              <a:gd name="connsiteX25" fmla="*/ 123825 w 314325"/>
              <a:gd name="connsiteY25" fmla="*/ 445293 h 1405628"/>
              <a:gd name="connsiteX26" fmla="*/ 111919 w 314325"/>
              <a:gd name="connsiteY26" fmla="*/ 454818 h 1405628"/>
              <a:gd name="connsiteX27" fmla="*/ 102394 w 314325"/>
              <a:gd name="connsiteY27" fmla="*/ 461962 h 1405628"/>
              <a:gd name="connsiteX28" fmla="*/ 95250 w 314325"/>
              <a:gd name="connsiteY28" fmla="*/ 473868 h 1405628"/>
              <a:gd name="connsiteX29" fmla="*/ 95250 w 314325"/>
              <a:gd name="connsiteY29" fmla="*/ 488156 h 1405628"/>
              <a:gd name="connsiteX30" fmla="*/ 97631 w 314325"/>
              <a:gd name="connsiteY30" fmla="*/ 507206 h 1405628"/>
              <a:gd name="connsiteX31" fmla="*/ 80962 w 314325"/>
              <a:gd name="connsiteY31" fmla="*/ 516731 h 1405628"/>
              <a:gd name="connsiteX32" fmla="*/ 64294 w 314325"/>
              <a:gd name="connsiteY32" fmla="*/ 523875 h 1405628"/>
              <a:gd name="connsiteX33" fmla="*/ 42862 w 314325"/>
              <a:gd name="connsiteY33" fmla="*/ 597693 h 1405628"/>
              <a:gd name="connsiteX34" fmla="*/ 35719 w 314325"/>
              <a:gd name="connsiteY34" fmla="*/ 633412 h 1405628"/>
              <a:gd name="connsiteX35" fmla="*/ 28575 w 314325"/>
              <a:gd name="connsiteY35" fmla="*/ 647700 h 1405628"/>
              <a:gd name="connsiteX36" fmla="*/ 21431 w 314325"/>
              <a:gd name="connsiteY36" fmla="*/ 661987 h 1405628"/>
              <a:gd name="connsiteX37" fmla="*/ 9525 w 314325"/>
              <a:gd name="connsiteY37" fmla="*/ 685800 h 1405628"/>
              <a:gd name="connsiteX38" fmla="*/ 9525 w 314325"/>
              <a:gd name="connsiteY38" fmla="*/ 704850 h 1405628"/>
              <a:gd name="connsiteX39" fmla="*/ 2381 w 314325"/>
              <a:gd name="connsiteY39" fmla="*/ 721518 h 1405628"/>
              <a:gd name="connsiteX40" fmla="*/ 0 w 314325"/>
              <a:gd name="connsiteY40" fmla="*/ 742950 h 1405628"/>
              <a:gd name="connsiteX41" fmla="*/ 0 w 314325"/>
              <a:gd name="connsiteY41" fmla="*/ 757237 h 1405628"/>
              <a:gd name="connsiteX42" fmla="*/ 2381 w 314325"/>
              <a:gd name="connsiteY42" fmla="*/ 769143 h 1405628"/>
              <a:gd name="connsiteX43" fmla="*/ 7144 w 314325"/>
              <a:gd name="connsiteY43" fmla="*/ 785812 h 1405628"/>
              <a:gd name="connsiteX44" fmla="*/ 11906 w 314325"/>
              <a:gd name="connsiteY44" fmla="*/ 788193 h 1405628"/>
              <a:gd name="connsiteX45" fmla="*/ 19050 w 314325"/>
              <a:gd name="connsiteY45" fmla="*/ 797718 h 1405628"/>
              <a:gd name="connsiteX46" fmla="*/ 23812 w 314325"/>
              <a:gd name="connsiteY46" fmla="*/ 809625 h 1405628"/>
              <a:gd name="connsiteX47" fmla="*/ 33337 w 314325"/>
              <a:gd name="connsiteY47" fmla="*/ 826293 h 1405628"/>
              <a:gd name="connsiteX48" fmla="*/ 33337 w 314325"/>
              <a:gd name="connsiteY48" fmla="*/ 838200 h 1405628"/>
              <a:gd name="connsiteX49" fmla="*/ 35719 w 314325"/>
              <a:gd name="connsiteY49" fmla="*/ 859631 h 1405628"/>
              <a:gd name="connsiteX50" fmla="*/ 35719 w 314325"/>
              <a:gd name="connsiteY50" fmla="*/ 885825 h 1405628"/>
              <a:gd name="connsiteX51" fmla="*/ 35719 w 314325"/>
              <a:gd name="connsiteY51" fmla="*/ 892968 h 1405628"/>
              <a:gd name="connsiteX52" fmla="*/ 35719 w 314325"/>
              <a:gd name="connsiteY52" fmla="*/ 912018 h 1405628"/>
              <a:gd name="connsiteX53" fmla="*/ 35719 w 314325"/>
              <a:gd name="connsiteY53" fmla="*/ 923925 h 1405628"/>
              <a:gd name="connsiteX54" fmla="*/ 35719 w 314325"/>
              <a:gd name="connsiteY54" fmla="*/ 933450 h 1405628"/>
              <a:gd name="connsiteX55" fmla="*/ 42862 w 314325"/>
              <a:gd name="connsiteY55" fmla="*/ 952500 h 1405628"/>
              <a:gd name="connsiteX56" fmla="*/ 50006 w 314325"/>
              <a:gd name="connsiteY56" fmla="*/ 964406 h 1405628"/>
              <a:gd name="connsiteX57" fmla="*/ 59531 w 314325"/>
              <a:gd name="connsiteY57" fmla="*/ 973931 h 1405628"/>
              <a:gd name="connsiteX58" fmla="*/ 66675 w 314325"/>
              <a:gd name="connsiteY58" fmla="*/ 981075 h 1405628"/>
              <a:gd name="connsiteX59" fmla="*/ 73819 w 314325"/>
              <a:gd name="connsiteY59" fmla="*/ 990600 h 1405628"/>
              <a:gd name="connsiteX60" fmla="*/ 88106 w 314325"/>
              <a:gd name="connsiteY60" fmla="*/ 1004887 h 1405628"/>
              <a:gd name="connsiteX61" fmla="*/ 97631 w 314325"/>
              <a:gd name="connsiteY61" fmla="*/ 1009650 h 1405628"/>
              <a:gd name="connsiteX62" fmla="*/ 104775 w 314325"/>
              <a:gd name="connsiteY62" fmla="*/ 1023937 h 1405628"/>
              <a:gd name="connsiteX63" fmla="*/ 119062 w 314325"/>
              <a:gd name="connsiteY63" fmla="*/ 1033462 h 1405628"/>
              <a:gd name="connsiteX64" fmla="*/ 138112 w 314325"/>
              <a:gd name="connsiteY64" fmla="*/ 1052512 h 1405628"/>
              <a:gd name="connsiteX65" fmla="*/ 150019 w 314325"/>
              <a:gd name="connsiteY65" fmla="*/ 1059656 h 1405628"/>
              <a:gd name="connsiteX66" fmla="*/ 161925 w 314325"/>
              <a:gd name="connsiteY66" fmla="*/ 1078706 h 1405628"/>
              <a:gd name="connsiteX67" fmla="*/ 171450 w 314325"/>
              <a:gd name="connsiteY67" fmla="*/ 1083468 h 1405628"/>
              <a:gd name="connsiteX68" fmla="*/ 183356 w 314325"/>
              <a:gd name="connsiteY68" fmla="*/ 1092993 h 1405628"/>
              <a:gd name="connsiteX69" fmla="*/ 192881 w 314325"/>
              <a:gd name="connsiteY69" fmla="*/ 1102518 h 1405628"/>
              <a:gd name="connsiteX70" fmla="*/ 207169 w 314325"/>
              <a:gd name="connsiteY70" fmla="*/ 1131093 h 1405628"/>
              <a:gd name="connsiteX71" fmla="*/ 211931 w 314325"/>
              <a:gd name="connsiteY71" fmla="*/ 1140618 h 1405628"/>
              <a:gd name="connsiteX72" fmla="*/ 211931 w 314325"/>
              <a:gd name="connsiteY72" fmla="*/ 1197768 h 1405628"/>
              <a:gd name="connsiteX73" fmla="*/ 209550 w 314325"/>
              <a:gd name="connsiteY73" fmla="*/ 1226343 h 1405628"/>
              <a:gd name="connsiteX74" fmla="*/ 204787 w 314325"/>
              <a:gd name="connsiteY74" fmla="*/ 1235868 h 1405628"/>
              <a:gd name="connsiteX75" fmla="*/ 202406 w 314325"/>
              <a:gd name="connsiteY75" fmla="*/ 1266825 h 1405628"/>
              <a:gd name="connsiteX76" fmla="*/ 202406 w 314325"/>
              <a:gd name="connsiteY76" fmla="*/ 1295400 h 1405628"/>
              <a:gd name="connsiteX77" fmla="*/ 211931 w 314325"/>
              <a:gd name="connsiteY77" fmla="*/ 1316831 h 1405628"/>
              <a:gd name="connsiteX78" fmla="*/ 264868 w 314325"/>
              <a:gd name="connsiteY78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95262 w 314325"/>
              <a:gd name="connsiteY6" fmla="*/ 107156 h 1405628"/>
              <a:gd name="connsiteX7" fmla="*/ 185737 w 314325"/>
              <a:gd name="connsiteY7" fmla="*/ 121443 h 1405628"/>
              <a:gd name="connsiteX8" fmla="*/ 142875 w 314325"/>
              <a:gd name="connsiteY8" fmla="*/ 209550 h 1405628"/>
              <a:gd name="connsiteX9" fmla="*/ 135731 w 314325"/>
              <a:gd name="connsiteY9" fmla="*/ 223837 h 1405628"/>
              <a:gd name="connsiteX10" fmla="*/ 121444 w 314325"/>
              <a:gd name="connsiteY10" fmla="*/ 247650 h 1405628"/>
              <a:gd name="connsiteX11" fmla="*/ 111919 w 314325"/>
              <a:gd name="connsiteY11" fmla="*/ 257175 h 1405628"/>
              <a:gd name="connsiteX12" fmla="*/ 100012 w 314325"/>
              <a:gd name="connsiteY12" fmla="*/ 273843 h 1405628"/>
              <a:gd name="connsiteX13" fmla="*/ 90487 w 314325"/>
              <a:gd name="connsiteY13" fmla="*/ 288131 h 1405628"/>
              <a:gd name="connsiteX14" fmla="*/ 83344 w 314325"/>
              <a:gd name="connsiteY14" fmla="*/ 304800 h 1405628"/>
              <a:gd name="connsiteX15" fmla="*/ 85725 w 314325"/>
              <a:gd name="connsiteY15" fmla="*/ 316706 h 1405628"/>
              <a:gd name="connsiteX16" fmla="*/ 85725 w 314325"/>
              <a:gd name="connsiteY16" fmla="*/ 335756 h 1405628"/>
              <a:gd name="connsiteX17" fmla="*/ 92869 w 314325"/>
              <a:gd name="connsiteY17" fmla="*/ 354806 h 1405628"/>
              <a:gd name="connsiteX18" fmla="*/ 100012 w 314325"/>
              <a:gd name="connsiteY18" fmla="*/ 369093 h 1405628"/>
              <a:gd name="connsiteX19" fmla="*/ 102394 w 314325"/>
              <a:gd name="connsiteY19" fmla="*/ 381000 h 1405628"/>
              <a:gd name="connsiteX20" fmla="*/ 111919 w 314325"/>
              <a:gd name="connsiteY20" fmla="*/ 395287 h 1405628"/>
              <a:gd name="connsiteX21" fmla="*/ 119062 w 314325"/>
              <a:gd name="connsiteY21" fmla="*/ 404812 h 1405628"/>
              <a:gd name="connsiteX22" fmla="*/ 123825 w 314325"/>
              <a:gd name="connsiteY22" fmla="*/ 411956 h 1405628"/>
              <a:gd name="connsiteX23" fmla="*/ 130969 w 314325"/>
              <a:gd name="connsiteY23" fmla="*/ 431006 h 1405628"/>
              <a:gd name="connsiteX24" fmla="*/ 123825 w 314325"/>
              <a:gd name="connsiteY24" fmla="*/ 445293 h 1405628"/>
              <a:gd name="connsiteX25" fmla="*/ 111919 w 314325"/>
              <a:gd name="connsiteY25" fmla="*/ 454818 h 1405628"/>
              <a:gd name="connsiteX26" fmla="*/ 102394 w 314325"/>
              <a:gd name="connsiteY26" fmla="*/ 461962 h 1405628"/>
              <a:gd name="connsiteX27" fmla="*/ 95250 w 314325"/>
              <a:gd name="connsiteY27" fmla="*/ 473868 h 1405628"/>
              <a:gd name="connsiteX28" fmla="*/ 95250 w 314325"/>
              <a:gd name="connsiteY28" fmla="*/ 488156 h 1405628"/>
              <a:gd name="connsiteX29" fmla="*/ 97631 w 314325"/>
              <a:gd name="connsiteY29" fmla="*/ 507206 h 1405628"/>
              <a:gd name="connsiteX30" fmla="*/ 80962 w 314325"/>
              <a:gd name="connsiteY30" fmla="*/ 516731 h 1405628"/>
              <a:gd name="connsiteX31" fmla="*/ 64294 w 314325"/>
              <a:gd name="connsiteY31" fmla="*/ 523875 h 1405628"/>
              <a:gd name="connsiteX32" fmla="*/ 42862 w 314325"/>
              <a:gd name="connsiteY32" fmla="*/ 597693 h 1405628"/>
              <a:gd name="connsiteX33" fmla="*/ 35719 w 314325"/>
              <a:gd name="connsiteY33" fmla="*/ 633412 h 1405628"/>
              <a:gd name="connsiteX34" fmla="*/ 28575 w 314325"/>
              <a:gd name="connsiteY34" fmla="*/ 647700 h 1405628"/>
              <a:gd name="connsiteX35" fmla="*/ 21431 w 314325"/>
              <a:gd name="connsiteY35" fmla="*/ 661987 h 1405628"/>
              <a:gd name="connsiteX36" fmla="*/ 9525 w 314325"/>
              <a:gd name="connsiteY36" fmla="*/ 685800 h 1405628"/>
              <a:gd name="connsiteX37" fmla="*/ 9525 w 314325"/>
              <a:gd name="connsiteY37" fmla="*/ 704850 h 1405628"/>
              <a:gd name="connsiteX38" fmla="*/ 2381 w 314325"/>
              <a:gd name="connsiteY38" fmla="*/ 721518 h 1405628"/>
              <a:gd name="connsiteX39" fmla="*/ 0 w 314325"/>
              <a:gd name="connsiteY39" fmla="*/ 742950 h 1405628"/>
              <a:gd name="connsiteX40" fmla="*/ 0 w 314325"/>
              <a:gd name="connsiteY40" fmla="*/ 757237 h 1405628"/>
              <a:gd name="connsiteX41" fmla="*/ 2381 w 314325"/>
              <a:gd name="connsiteY41" fmla="*/ 769143 h 1405628"/>
              <a:gd name="connsiteX42" fmla="*/ 7144 w 314325"/>
              <a:gd name="connsiteY42" fmla="*/ 785812 h 1405628"/>
              <a:gd name="connsiteX43" fmla="*/ 11906 w 314325"/>
              <a:gd name="connsiteY43" fmla="*/ 788193 h 1405628"/>
              <a:gd name="connsiteX44" fmla="*/ 19050 w 314325"/>
              <a:gd name="connsiteY44" fmla="*/ 797718 h 1405628"/>
              <a:gd name="connsiteX45" fmla="*/ 23812 w 314325"/>
              <a:gd name="connsiteY45" fmla="*/ 809625 h 1405628"/>
              <a:gd name="connsiteX46" fmla="*/ 33337 w 314325"/>
              <a:gd name="connsiteY46" fmla="*/ 826293 h 1405628"/>
              <a:gd name="connsiteX47" fmla="*/ 33337 w 314325"/>
              <a:gd name="connsiteY47" fmla="*/ 838200 h 1405628"/>
              <a:gd name="connsiteX48" fmla="*/ 35719 w 314325"/>
              <a:gd name="connsiteY48" fmla="*/ 859631 h 1405628"/>
              <a:gd name="connsiteX49" fmla="*/ 35719 w 314325"/>
              <a:gd name="connsiteY49" fmla="*/ 885825 h 1405628"/>
              <a:gd name="connsiteX50" fmla="*/ 35719 w 314325"/>
              <a:gd name="connsiteY50" fmla="*/ 892968 h 1405628"/>
              <a:gd name="connsiteX51" fmla="*/ 35719 w 314325"/>
              <a:gd name="connsiteY51" fmla="*/ 912018 h 1405628"/>
              <a:gd name="connsiteX52" fmla="*/ 35719 w 314325"/>
              <a:gd name="connsiteY52" fmla="*/ 923925 h 1405628"/>
              <a:gd name="connsiteX53" fmla="*/ 35719 w 314325"/>
              <a:gd name="connsiteY53" fmla="*/ 933450 h 1405628"/>
              <a:gd name="connsiteX54" fmla="*/ 42862 w 314325"/>
              <a:gd name="connsiteY54" fmla="*/ 952500 h 1405628"/>
              <a:gd name="connsiteX55" fmla="*/ 50006 w 314325"/>
              <a:gd name="connsiteY55" fmla="*/ 964406 h 1405628"/>
              <a:gd name="connsiteX56" fmla="*/ 59531 w 314325"/>
              <a:gd name="connsiteY56" fmla="*/ 973931 h 1405628"/>
              <a:gd name="connsiteX57" fmla="*/ 66675 w 314325"/>
              <a:gd name="connsiteY57" fmla="*/ 981075 h 1405628"/>
              <a:gd name="connsiteX58" fmla="*/ 73819 w 314325"/>
              <a:gd name="connsiteY58" fmla="*/ 990600 h 1405628"/>
              <a:gd name="connsiteX59" fmla="*/ 88106 w 314325"/>
              <a:gd name="connsiteY59" fmla="*/ 1004887 h 1405628"/>
              <a:gd name="connsiteX60" fmla="*/ 97631 w 314325"/>
              <a:gd name="connsiteY60" fmla="*/ 1009650 h 1405628"/>
              <a:gd name="connsiteX61" fmla="*/ 104775 w 314325"/>
              <a:gd name="connsiteY61" fmla="*/ 1023937 h 1405628"/>
              <a:gd name="connsiteX62" fmla="*/ 119062 w 314325"/>
              <a:gd name="connsiteY62" fmla="*/ 1033462 h 1405628"/>
              <a:gd name="connsiteX63" fmla="*/ 138112 w 314325"/>
              <a:gd name="connsiteY63" fmla="*/ 1052512 h 1405628"/>
              <a:gd name="connsiteX64" fmla="*/ 150019 w 314325"/>
              <a:gd name="connsiteY64" fmla="*/ 1059656 h 1405628"/>
              <a:gd name="connsiteX65" fmla="*/ 161925 w 314325"/>
              <a:gd name="connsiteY65" fmla="*/ 1078706 h 1405628"/>
              <a:gd name="connsiteX66" fmla="*/ 171450 w 314325"/>
              <a:gd name="connsiteY66" fmla="*/ 1083468 h 1405628"/>
              <a:gd name="connsiteX67" fmla="*/ 183356 w 314325"/>
              <a:gd name="connsiteY67" fmla="*/ 1092993 h 1405628"/>
              <a:gd name="connsiteX68" fmla="*/ 192881 w 314325"/>
              <a:gd name="connsiteY68" fmla="*/ 1102518 h 1405628"/>
              <a:gd name="connsiteX69" fmla="*/ 207169 w 314325"/>
              <a:gd name="connsiteY69" fmla="*/ 1131093 h 1405628"/>
              <a:gd name="connsiteX70" fmla="*/ 211931 w 314325"/>
              <a:gd name="connsiteY70" fmla="*/ 1140618 h 1405628"/>
              <a:gd name="connsiteX71" fmla="*/ 211931 w 314325"/>
              <a:gd name="connsiteY71" fmla="*/ 1197768 h 1405628"/>
              <a:gd name="connsiteX72" fmla="*/ 209550 w 314325"/>
              <a:gd name="connsiteY72" fmla="*/ 1226343 h 1405628"/>
              <a:gd name="connsiteX73" fmla="*/ 204787 w 314325"/>
              <a:gd name="connsiteY73" fmla="*/ 1235868 h 1405628"/>
              <a:gd name="connsiteX74" fmla="*/ 202406 w 314325"/>
              <a:gd name="connsiteY74" fmla="*/ 1266825 h 1405628"/>
              <a:gd name="connsiteX75" fmla="*/ 202406 w 314325"/>
              <a:gd name="connsiteY75" fmla="*/ 1295400 h 1405628"/>
              <a:gd name="connsiteX76" fmla="*/ 211931 w 314325"/>
              <a:gd name="connsiteY76" fmla="*/ 1316831 h 1405628"/>
              <a:gd name="connsiteX77" fmla="*/ 264868 w 314325"/>
              <a:gd name="connsiteY77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85737 w 314325"/>
              <a:gd name="connsiteY6" fmla="*/ 121443 h 1405628"/>
              <a:gd name="connsiteX7" fmla="*/ 142875 w 314325"/>
              <a:gd name="connsiteY7" fmla="*/ 209550 h 1405628"/>
              <a:gd name="connsiteX8" fmla="*/ 135731 w 314325"/>
              <a:gd name="connsiteY8" fmla="*/ 223837 h 1405628"/>
              <a:gd name="connsiteX9" fmla="*/ 121444 w 314325"/>
              <a:gd name="connsiteY9" fmla="*/ 247650 h 1405628"/>
              <a:gd name="connsiteX10" fmla="*/ 111919 w 314325"/>
              <a:gd name="connsiteY10" fmla="*/ 257175 h 1405628"/>
              <a:gd name="connsiteX11" fmla="*/ 100012 w 314325"/>
              <a:gd name="connsiteY11" fmla="*/ 273843 h 1405628"/>
              <a:gd name="connsiteX12" fmla="*/ 90487 w 314325"/>
              <a:gd name="connsiteY12" fmla="*/ 288131 h 1405628"/>
              <a:gd name="connsiteX13" fmla="*/ 83344 w 314325"/>
              <a:gd name="connsiteY13" fmla="*/ 304800 h 1405628"/>
              <a:gd name="connsiteX14" fmla="*/ 85725 w 314325"/>
              <a:gd name="connsiteY14" fmla="*/ 316706 h 1405628"/>
              <a:gd name="connsiteX15" fmla="*/ 85725 w 314325"/>
              <a:gd name="connsiteY15" fmla="*/ 335756 h 1405628"/>
              <a:gd name="connsiteX16" fmla="*/ 92869 w 314325"/>
              <a:gd name="connsiteY16" fmla="*/ 354806 h 1405628"/>
              <a:gd name="connsiteX17" fmla="*/ 100012 w 314325"/>
              <a:gd name="connsiteY17" fmla="*/ 369093 h 1405628"/>
              <a:gd name="connsiteX18" fmla="*/ 102394 w 314325"/>
              <a:gd name="connsiteY18" fmla="*/ 381000 h 1405628"/>
              <a:gd name="connsiteX19" fmla="*/ 111919 w 314325"/>
              <a:gd name="connsiteY19" fmla="*/ 395287 h 1405628"/>
              <a:gd name="connsiteX20" fmla="*/ 119062 w 314325"/>
              <a:gd name="connsiteY20" fmla="*/ 404812 h 1405628"/>
              <a:gd name="connsiteX21" fmla="*/ 123825 w 314325"/>
              <a:gd name="connsiteY21" fmla="*/ 411956 h 1405628"/>
              <a:gd name="connsiteX22" fmla="*/ 130969 w 314325"/>
              <a:gd name="connsiteY22" fmla="*/ 431006 h 1405628"/>
              <a:gd name="connsiteX23" fmla="*/ 123825 w 314325"/>
              <a:gd name="connsiteY23" fmla="*/ 445293 h 1405628"/>
              <a:gd name="connsiteX24" fmla="*/ 111919 w 314325"/>
              <a:gd name="connsiteY24" fmla="*/ 454818 h 1405628"/>
              <a:gd name="connsiteX25" fmla="*/ 102394 w 314325"/>
              <a:gd name="connsiteY25" fmla="*/ 461962 h 1405628"/>
              <a:gd name="connsiteX26" fmla="*/ 95250 w 314325"/>
              <a:gd name="connsiteY26" fmla="*/ 473868 h 1405628"/>
              <a:gd name="connsiteX27" fmla="*/ 95250 w 314325"/>
              <a:gd name="connsiteY27" fmla="*/ 488156 h 1405628"/>
              <a:gd name="connsiteX28" fmla="*/ 97631 w 314325"/>
              <a:gd name="connsiteY28" fmla="*/ 507206 h 1405628"/>
              <a:gd name="connsiteX29" fmla="*/ 80962 w 314325"/>
              <a:gd name="connsiteY29" fmla="*/ 516731 h 1405628"/>
              <a:gd name="connsiteX30" fmla="*/ 64294 w 314325"/>
              <a:gd name="connsiteY30" fmla="*/ 523875 h 1405628"/>
              <a:gd name="connsiteX31" fmla="*/ 42862 w 314325"/>
              <a:gd name="connsiteY31" fmla="*/ 597693 h 1405628"/>
              <a:gd name="connsiteX32" fmla="*/ 35719 w 314325"/>
              <a:gd name="connsiteY32" fmla="*/ 633412 h 1405628"/>
              <a:gd name="connsiteX33" fmla="*/ 28575 w 314325"/>
              <a:gd name="connsiteY33" fmla="*/ 647700 h 1405628"/>
              <a:gd name="connsiteX34" fmla="*/ 21431 w 314325"/>
              <a:gd name="connsiteY34" fmla="*/ 661987 h 1405628"/>
              <a:gd name="connsiteX35" fmla="*/ 9525 w 314325"/>
              <a:gd name="connsiteY35" fmla="*/ 685800 h 1405628"/>
              <a:gd name="connsiteX36" fmla="*/ 9525 w 314325"/>
              <a:gd name="connsiteY36" fmla="*/ 704850 h 1405628"/>
              <a:gd name="connsiteX37" fmla="*/ 2381 w 314325"/>
              <a:gd name="connsiteY37" fmla="*/ 721518 h 1405628"/>
              <a:gd name="connsiteX38" fmla="*/ 0 w 314325"/>
              <a:gd name="connsiteY38" fmla="*/ 742950 h 1405628"/>
              <a:gd name="connsiteX39" fmla="*/ 0 w 314325"/>
              <a:gd name="connsiteY39" fmla="*/ 757237 h 1405628"/>
              <a:gd name="connsiteX40" fmla="*/ 2381 w 314325"/>
              <a:gd name="connsiteY40" fmla="*/ 769143 h 1405628"/>
              <a:gd name="connsiteX41" fmla="*/ 7144 w 314325"/>
              <a:gd name="connsiteY41" fmla="*/ 785812 h 1405628"/>
              <a:gd name="connsiteX42" fmla="*/ 11906 w 314325"/>
              <a:gd name="connsiteY42" fmla="*/ 788193 h 1405628"/>
              <a:gd name="connsiteX43" fmla="*/ 19050 w 314325"/>
              <a:gd name="connsiteY43" fmla="*/ 797718 h 1405628"/>
              <a:gd name="connsiteX44" fmla="*/ 23812 w 314325"/>
              <a:gd name="connsiteY44" fmla="*/ 809625 h 1405628"/>
              <a:gd name="connsiteX45" fmla="*/ 33337 w 314325"/>
              <a:gd name="connsiteY45" fmla="*/ 826293 h 1405628"/>
              <a:gd name="connsiteX46" fmla="*/ 33337 w 314325"/>
              <a:gd name="connsiteY46" fmla="*/ 838200 h 1405628"/>
              <a:gd name="connsiteX47" fmla="*/ 35719 w 314325"/>
              <a:gd name="connsiteY47" fmla="*/ 859631 h 1405628"/>
              <a:gd name="connsiteX48" fmla="*/ 35719 w 314325"/>
              <a:gd name="connsiteY48" fmla="*/ 885825 h 1405628"/>
              <a:gd name="connsiteX49" fmla="*/ 35719 w 314325"/>
              <a:gd name="connsiteY49" fmla="*/ 892968 h 1405628"/>
              <a:gd name="connsiteX50" fmla="*/ 35719 w 314325"/>
              <a:gd name="connsiteY50" fmla="*/ 912018 h 1405628"/>
              <a:gd name="connsiteX51" fmla="*/ 35719 w 314325"/>
              <a:gd name="connsiteY51" fmla="*/ 923925 h 1405628"/>
              <a:gd name="connsiteX52" fmla="*/ 35719 w 314325"/>
              <a:gd name="connsiteY52" fmla="*/ 933450 h 1405628"/>
              <a:gd name="connsiteX53" fmla="*/ 42862 w 314325"/>
              <a:gd name="connsiteY53" fmla="*/ 952500 h 1405628"/>
              <a:gd name="connsiteX54" fmla="*/ 50006 w 314325"/>
              <a:gd name="connsiteY54" fmla="*/ 964406 h 1405628"/>
              <a:gd name="connsiteX55" fmla="*/ 59531 w 314325"/>
              <a:gd name="connsiteY55" fmla="*/ 973931 h 1405628"/>
              <a:gd name="connsiteX56" fmla="*/ 66675 w 314325"/>
              <a:gd name="connsiteY56" fmla="*/ 981075 h 1405628"/>
              <a:gd name="connsiteX57" fmla="*/ 73819 w 314325"/>
              <a:gd name="connsiteY57" fmla="*/ 990600 h 1405628"/>
              <a:gd name="connsiteX58" fmla="*/ 88106 w 314325"/>
              <a:gd name="connsiteY58" fmla="*/ 1004887 h 1405628"/>
              <a:gd name="connsiteX59" fmla="*/ 97631 w 314325"/>
              <a:gd name="connsiteY59" fmla="*/ 1009650 h 1405628"/>
              <a:gd name="connsiteX60" fmla="*/ 104775 w 314325"/>
              <a:gd name="connsiteY60" fmla="*/ 1023937 h 1405628"/>
              <a:gd name="connsiteX61" fmla="*/ 119062 w 314325"/>
              <a:gd name="connsiteY61" fmla="*/ 1033462 h 1405628"/>
              <a:gd name="connsiteX62" fmla="*/ 138112 w 314325"/>
              <a:gd name="connsiteY62" fmla="*/ 1052512 h 1405628"/>
              <a:gd name="connsiteX63" fmla="*/ 150019 w 314325"/>
              <a:gd name="connsiteY63" fmla="*/ 1059656 h 1405628"/>
              <a:gd name="connsiteX64" fmla="*/ 161925 w 314325"/>
              <a:gd name="connsiteY64" fmla="*/ 1078706 h 1405628"/>
              <a:gd name="connsiteX65" fmla="*/ 171450 w 314325"/>
              <a:gd name="connsiteY65" fmla="*/ 1083468 h 1405628"/>
              <a:gd name="connsiteX66" fmla="*/ 183356 w 314325"/>
              <a:gd name="connsiteY66" fmla="*/ 1092993 h 1405628"/>
              <a:gd name="connsiteX67" fmla="*/ 192881 w 314325"/>
              <a:gd name="connsiteY67" fmla="*/ 1102518 h 1405628"/>
              <a:gd name="connsiteX68" fmla="*/ 207169 w 314325"/>
              <a:gd name="connsiteY68" fmla="*/ 1131093 h 1405628"/>
              <a:gd name="connsiteX69" fmla="*/ 211931 w 314325"/>
              <a:gd name="connsiteY69" fmla="*/ 1140618 h 1405628"/>
              <a:gd name="connsiteX70" fmla="*/ 211931 w 314325"/>
              <a:gd name="connsiteY70" fmla="*/ 1197768 h 1405628"/>
              <a:gd name="connsiteX71" fmla="*/ 209550 w 314325"/>
              <a:gd name="connsiteY71" fmla="*/ 1226343 h 1405628"/>
              <a:gd name="connsiteX72" fmla="*/ 204787 w 314325"/>
              <a:gd name="connsiteY72" fmla="*/ 1235868 h 1405628"/>
              <a:gd name="connsiteX73" fmla="*/ 202406 w 314325"/>
              <a:gd name="connsiteY73" fmla="*/ 1266825 h 1405628"/>
              <a:gd name="connsiteX74" fmla="*/ 202406 w 314325"/>
              <a:gd name="connsiteY74" fmla="*/ 1295400 h 1405628"/>
              <a:gd name="connsiteX75" fmla="*/ 211931 w 314325"/>
              <a:gd name="connsiteY75" fmla="*/ 1316831 h 1405628"/>
              <a:gd name="connsiteX76" fmla="*/ 264868 w 314325"/>
              <a:gd name="connsiteY76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23837 w 314325"/>
              <a:gd name="connsiteY4" fmla="*/ 80962 h 1405628"/>
              <a:gd name="connsiteX5" fmla="*/ 204787 w 314325"/>
              <a:gd name="connsiteY5" fmla="*/ 97631 h 1405628"/>
              <a:gd name="connsiteX6" fmla="*/ 142875 w 314325"/>
              <a:gd name="connsiteY6" fmla="*/ 209550 h 1405628"/>
              <a:gd name="connsiteX7" fmla="*/ 135731 w 314325"/>
              <a:gd name="connsiteY7" fmla="*/ 223837 h 1405628"/>
              <a:gd name="connsiteX8" fmla="*/ 121444 w 314325"/>
              <a:gd name="connsiteY8" fmla="*/ 247650 h 1405628"/>
              <a:gd name="connsiteX9" fmla="*/ 111919 w 314325"/>
              <a:gd name="connsiteY9" fmla="*/ 257175 h 1405628"/>
              <a:gd name="connsiteX10" fmla="*/ 100012 w 314325"/>
              <a:gd name="connsiteY10" fmla="*/ 273843 h 1405628"/>
              <a:gd name="connsiteX11" fmla="*/ 90487 w 314325"/>
              <a:gd name="connsiteY11" fmla="*/ 288131 h 1405628"/>
              <a:gd name="connsiteX12" fmla="*/ 83344 w 314325"/>
              <a:gd name="connsiteY12" fmla="*/ 304800 h 1405628"/>
              <a:gd name="connsiteX13" fmla="*/ 85725 w 314325"/>
              <a:gd name="connsiteY13" fmla="*/ 316706 h 1405628"/>
              <a:gd name="connsiteX14" fmla="*/ 85725 w 314325"/>
              <a:gd name="connsiteY14" fmla="*/ 335756 h 1405628"/>
              <a:gd name="connsiteX15" fmla="*/ 92869 w 314325"/>
              <a:gd name="connsiteY15" fmla="*/ 354806 h 1405628"/>
              <a:gd name="connsiteX16" fmla="*/ 100012 w 314325"/>
              <a:gd name="connsiteY16" fmla="*/ 369093 h 1405628"/>
              <a:gd name="connsiteX17" fmla="*/ 102394 w 314325"/>
              <a:gd name="connsiteY17" fmla="*/ 381000 h 1405628"/>
              <a:gd name="connsiteX18" fmla="*/ 111919 w 314325"/>
              <a:gd name="connsiteY18" fmla="*/ 395287 h 1405628"/>
              <a:gd name="connsiteX19" fmla="*/ 119062 w 314325"/>
              <a:gd name="connsiteY19" fmla="*/ 404812 h 1405628"/>
              <a:gd name="connsiteX20" fmla="*/ 123825 w 314325"/>
              <a:gd name="connsiteY20" fmla="*/ 411956 h 1405628"/>
              <a:gd name="connsiteX21" fmla="*/ 130969 w 314325"/>
              <a:gd name="connsiteY21" fmla="*/ 431006 h 1405628"/>
              <a:gd name="connsiteX22" fmla="*/ 123825 w 314325"/>
              <a:gd name="connsiteY22" fmla="*/ 445293 h 1405628"/>
              <a:gd name="connsiteX23" fmla="*/ 111919 w 314325"/>
              <a:gd name="connsiteY23" fmla="*/ 454818 h 1405628"/>
              <a:gd name="connsiteX24" fmla="*/ 102394 w 314325"/>
              <a:gd name="connsiteY24" fmla="*/ 461962 h 1405628"/>
              <a:gd name="connsiteX25" fmla="*/ 95250 w 314325"/>
              <a:gd name="connsiteY25" fmla="*/ 473868 h 1405628"/>
              <a:gd name="connsiteX26" fmla="*/ 95250 w 314325"/>
              <a:gd name="connsiteY26" fmla="*/ 488156 h 1405628"/>
              <a:gd name="connsiteX27" fmla="*/ 97631 w 314325"/>
              <a:gd name="connsiteY27" fmla="*/ 507206 h 1405628"/>
              <a:gd name="connsiteX28" fmla="*/ 80962 w 314325"/>
              <a:gd name="connsiteY28" fmla="*/ 516731 h 1405628"/>
              <a:gd name="connsiteX29" fmla="*/ 64294 w 314325"/>
              <a:gd name="connsiteY29" fmla="*/ 523875 h 1405628"/>
              <a:gd name="connsiteX30" fmla="*/ 42862 w 314325"/>
              <a:gd name="connsiteY30" fmla="*/ 597693 h 1405628"/>
              <a:gd name="connsiteX31" fmla="*/ 35719 w 314325"/>
              <a:gd name="connsiteY31" fmla="*/ 633412 h 1405628"/>
              <a:gd name="connsiteX32" fmla="*/ 28575 w 314325"/>
              <a:gd name="connsiteY32" fmla="*/ 647700 h 1405628"/>
              <a:gd name="connsiteX33" fmla="*/ 21431 w 314325"/>
              <a:gd name="connsiteY33" fmla="*/ 661987 h 1405628"/>
              <a:gd name="connsiteX34" fmla="*/ 9525 w 314325"/>
              <a:gd name="connsiteY34" fmla="*/ 685800 h 1405628"/>
              <a:gd name="connsiteX35" fmla="*/ 9525 w 314325"/>
              <a:gd name="connsiteY35" fmla="*/ 704850 h 1405628"/>
              <a:gd name="connsiteX36" fmla="*/ 2381 w 314325"/>
              <a:gd name="connsiteY36" fmla="*/ 721518 h 1405628"/>
              <a:gd name="connsiteX37" fmla="*/ 0 w 314325"/>
              <a:gd name="connsiteY37" fmla="*/ 742950 h 1405628"/>
              <a:gd name="connsiteX38" fmla="*/ 0 w 314325"/>
              <a:gd name="connsiteY38" fmla="*/ 757237 h 1405628"/>
              <a:gd name="connsiteX39" fmla="*/ 2381 w 314325"/>
              <a:gd name="connsiteY39" fmla="*/ 769143 h 1405628"/>
              <a:gd name="connsiteX40" fmla="*/ 7144 w 314325"/>
              <a:gd name="connsiteY40" fmla="*/ 785812 h 1405628"/>
              <a:gd name="connsiteX41" fmla="*/ 11906 w 314325"/>
              <a:gd name="connsiteY41" fmla="*/ 788193 h 1405628"/>
              <a:gd name="connsiteX42" fmla="*/ 19050 w 314325"/>
              <a:gd name="connsiteY42" fmla="*/ 797718 h 1405628"/>
              <a:gd name="connsiteX43" fmla="*/ 23812 w 314325"/>
              <a:gd name="connsiteY43" fmla="*/ 809625 h 1405628"/>
              <a:gd name="connsiteX44" fmla="*/ 33337 w 314325"/>
              <a:gd name="connsiteY44" fmla="*/ 826293 h 1405628"/>
              <a:gd name="connsiteX45" fmla="*/ 33337 w 314325"/>
              <a:gd name="connsiteY45" fmla="*/ 838200 h 1405628"/>
              <a:gd name="connsiteX46" fmla="*/ 35719 w 314325"/>
              <a:gd name="connsiteY46" fmla="*/ 859631 h 1405628"/>
              <a:gd name="connsiteX47" fmla="*/ 35719 w 314325"/>
              <a:gd name="connsiteY47" fmla="*/ 885825 h 1405628"/>
              <a:gd name="connsiteX48" fmla="*/ 35719 w 314325"/>
              <a:gd name="connsiteY48" fmla="*/ 892968 h 1405628"/>
              <a:gd name="connsiteX49" fmla="*/ 35719 w 314325"/>
              <a:gd name="connsiteY49" fmla="*/ 912018 h 1405628"/>
              <a:gd name="connsiteX50" fmla="*/ 35719 w 314325"/>
              <a:gd name="connsiteY50" fmla="*/ 923925 h 1405628"/>
              <a:gd name="connsiteX51" fmla="*/ 35719 w 314325"/>
              <a:gd name="connsiteY51" fmla="*/ 933450 h 1405628"/>
              <a:gd name="connsiteX52" fmla="*/ 42862 w 314325"/>
              <a:gd name="connsiteY52" fmla="*/ 952500 h 1405628"/>
              <a:gd name="connsiteX53" fmla="*/ 50006 w 314325"/>
              <a:gd name="connsiteY53" fmla="*/ 964406 h 1405628"/>
              <a:gd name="connsiteX54" fmla="*/ 59531 w 314325"/>
              <a:gd name="connsiteY54" fmla="*/ 973931 h 1405628"/>
              <a:gd name="connsiteX55" fmla="*/ 66675 w 314325"/>
              <a:gd name="connsiteY55" fmla="*/ 981075 h 1405628"/>
              <a:gd name="connsiteX56" fmla="*/ 73819 w 314325"/>
              <a:gd name="connsiteY56" fmla="*/ 990600 h 1405628"/>
              <a:gd name="connsiteX57" fmla="*/ 88106 w 314325"/>
              <a:gd name="connsiteY57" fmla="*/ 1004887 h 1405628"/>
              <a:gd name="connsiteX58" fmla="*/ 97631 w 314325"/>
              <a:gd name="connsiteY58" fmla="*/ 1009650 h 1405628"/>
              <a:gd name="connsiteX59" fmla="*/ 104775 w 314325"/>
              <a:gd name="connsiteY59" fmla="*/ 1023937 h 1405628"/>
              <a:gd name="connsiteX60" fmla="*/ 119062 w 314325"/>
              <a:gd name="connsiteY60" fmla="*/ 1033462 h 1405628"/>
              <a:gd name="connsiteX61" fmla="*/ 138112 w 314325"/>
              <a:gd name="connsiteY61" fmla="*/ 1052512 h 1405628"/>
              <a:gd name="connsiteX62" fmla="*/ 150019 w 314325"/>
              <a:gd name="connsiteY62" fmla="*/ 1059656 h 1405628"/>
              <a:gd name="connsiteX63" fmla="*/ 161925 w 314325"/>
              <a:gd name="connsiteY63" fmla="*/ 1078706 h 1405628"/>
              <a:gd name="connsiteX64" fmla="*/ 171450 w 314325"/>
              <a:gd name="connsiteY64" fmla="*/ 1083468 h 1405628"/>
              <a:gd name="connsiteX65" fmla="*/ 183356 w 314325"/>
              <a:gd name="connsiteY65" fmla="*/ 1092993 h 1405628"/>
              <a:gd name="connsiteX66" fmla="*/ 192881 w 314325"/>
              <a:gd name="connsiteY66" fmla="*/ 1102518 h 1405628"/>
              <a:gd name="connsiteX67" fmla="*/ 207169 w 314325"/>
              <a:gd name="connsiteY67" fmla="*/ 1131093 h 1405628"/>
              <a:gd name="connsiteX68" fmla="*/ 211931 w 314325"/>
              <a:gd name="connsiteY68" fmla="*/ 1140618 h 1405628"/>
              <a:gd name="connsiteX69" fmla="*/ 211931 w 314325"/>
              <a:gd name="connsiteY69" fmla="*/ 1197768 h 1405628"/>
              <a:gd name="connsiteX70" fmla="*/ 209550 w 314325"/>
              <a:gd name="connsiteY70" fmla="*/ 1226343 h 1405628"/>
              <a:gd name="connsiteX71" fmla="*/ 204787 w 314325"/>
              <a:gd name="connsiteY71" fmla="*/ 1235868 h 1405628"/>
              <a:gd name="connsiteX72" fmla="*/ 202406 w 314325"/>
              <a:gd name="connsiteY72" fmla="*/ 1266825 h 1405628"/>
              <a:gd name="connsiteX73" fmla="*/ 202406 w 314325"/>
              <a:gd name="connsiteY73" fmla="*/ 1295400 h 1405628"/>
              <a:gd name="connsiteX74" fmla="*/ 211931 w 314325"/>
              <a:gd name="connsiteY74" fmla="*/ 1316831 h 1405628"/>
              <a:gd name="connsiteX75" fmla="*/ 264868 w 314325"/>
              <a:gd name="connsiteY75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204787 w 314325"/>
              <a:gd name="connsiteY4" fmla="*/ 97631 h 1405628"/>
              <a:gd name="connsiteX5" fmla="*/ 142875 w 314325"/>
              <a:gd name="connsiteY5" fmla="*/ 209550 h 1405628"/>
              <a:gd name="connsiteX6" fmla="*/ 135731 w 314325"/>
              <a:gd name="connsiteY6" fmla="*/ 223837 h 1405628"/>
              <a:gd name="connsiteX7" fmla="*/ 121444 w 314325"/>
              <a:gd name="connsiteY7" fmla="*/ 247650 h 1405628"/>
              <a:gd name="connsiteX8" fmla="*/ 111919 w 314325"/>
              <a:gd name="connsiteY8" fmla="*/ 257175 h 1405628"/>
              <a:gd name="connsiteX9" fmla="*/ 100012 w 314325"/>
              <a:gd name="connsiteY9" fmla="*/ 273843 h 1405628"/>
              <a:gd name="connsiteX10" fmla="*/ 90487 w 314325"/>
              <a:gd name="connsiteY10" fmla="*/ 288131 h 1405628"/>
              <a:gd name="connsiteX11" fmla="*/ 83344 w 314325"/>
              <a:gd name="connsiteY11" fmla="*/ 304800 h 1405628"/>
              <a:gd name="connsiteX12" fmla="*/ 85725 w 314325"/>
              <a:gd name="connsiteY12" fmla="*/ 316706 h 1405628"/>
              <a:gd name="connsiteX13" fmla="*/ 85725 w 314325"/>
              <a:gd name="connsiteY13" fmla="*/ 335756 h 1405628"/>
              <a:gd name="connsiteX14" fmla="*/ 92869 w 314325"/>
              <a:gd name="connsiteY14" fmla="*/ 354806 h 1405628"/>
              <a:gd name="connsiteX15" fmla="*/ 100012 w 314325"/>
              <a:gd name="connsiteY15" fmla="*/ 369093 h 1405628"/>
              <a:gd name="connsiteX16" fmla="*/ 102394 w 314325"/>
              <a:gd name="connsiteY16" fmla="*/ 381000 h 1405628"/>
              <a:gd name="connsiteX17" fmla="*/ 111919 w 314325"/>
              <a:gd name="connsiteY17" fmla="*/ 395287 h 1405628"/>
              <a:gd name="connsiteX18" fmla="*/ 119062 w 314325"/>
              <a:gd name="connsiteY18" fmla="*/ 404812 h 1405628"/>
              <a:gd name="connsiteX19" fmla="*/ 123825 w 314325"/>
              <a:gd name="connsiteY19" fmla="*/ 411956 h 1405628"/>
              <a:gd name="connsiteX20" fmla="*/ 130969 w 314325"/>
              <a:gd name="connsiteY20" fmla="*/ 431006 h 1405628"/>
              <a:gd name="connsiteX21" fmla="*/ 123825 w 314325"/>
              <a:gd name="connsiteY21" fmla="*/ 445293 h 1405628"/>
              <a:gd name="connsiteX22" fmla="*/ 111919 w 314325"/>
              <a:gd name="connsiteY22" fmla="*/ 454818 h 1405628"/>
              <a:gd name="connsiteX23" fmla="*/ 102394 w 314325"/>
              <a:gd name="connsiteY23" fmla="*/ 461962 h 1405628"/>
              <a:gd name="connsiteX24" fmla="*/ 95250 w 314325"/>
              <a:gd name="connsiteY24" fmla="*/ 473868 h 1405628"/>
              <a:gd name="connsiteX25" fmla="*/ 95250 w 314325"/>
              <a:gd name="connsiteY25" fmla="*/ 488156 h 1405628"/>
              <a:gd name="connsiteX26" fmla="*/ 97631 w 314325"/>
              <a:gd name="connsiteY26" fmla="*/ 507206 h 1405628"/>
              <a:gd name="connsiteX27" fmla="*/ 80962 w 314325"/>
              <a:gd name="connsiteY27" fmla="*/ 516731 h 1405628"/>
              <a:gd name="connsiteX28" fmla="*/ 64294 w 314325"/>
              <a:gd name="connsiteY28" fmla="*/ 523875 h 1405628"/>
              <a:gd name="connsiteX29" fmla="*/ 42862 w 314325"/>
              <a:gd name="connsiteY29" fmla="*/ 597693 h 1405628"/>
              <a:gd name="connsiteX30" fmla="*/ 35719 w 314325"/>
              <a:gd name="connsiteY30" fmla="*/ 633412 h 1405628"/>
              <a:gd name="connsiteX31" fmla="*/ 28575 w 314325"/>
              <a:gd name="connsiteY31" fmla="*/ 647700 h 1405628"/>
              <a:gd name="connsiteX32" fmla="*/ 21431 w 314325"/>
              <a:gd name="connsiteY32" fmla="*/ 661987 h 1405628"/>
              <a:gd name="connsiteX33" fmla="*/ 9525 w 314325"/>
              <a:gd name="connsiteY33" fmla="*/ 685800 h 1405628"/>
              <a:gd name="connsiteX34" fmla="*/ 9525 w 314325"/>
              <a:gd name="connsiteY34" fmla="*/ 704850 h 1405628"/>
              <a:gd name="connsiteX35" fmla="*/ 2381 w 314325"/>
              <a:gd name="connsiteY35" fmla="*/ 721518 h 1405628"/>
              <a:gd name="connsiteX36" fmla="*/ 0 w 314325"/>
              <a:gd name="connsiteY36" fmla="*/ 742950 h 1405628"/>
              <a:gd name="connsiteX37" fmla="*/ 0 w 314325"/>
              <a:gd name="connsiteY37" fmla="*/ 757237 h 1405628"/>
              <a:gd name="connsiteX38" fmla="*/ 2381 w 314325"/>
              <a:gd name="connsiteY38" fmla="*/ 769143 h 1405628"/>
              <a:gd name="connsiteX39" fmla="*/ 7144 w 314325"/>
              <a:gd name="connsiteY39" fmla="*/ 785812 h 1405628"/>
              <a:gd name="connsiteX40" fmla="*/ 11906 w 314325"/>
              <a:gd name="connsiteY40" fmla="*/ 788193 h 1405628"/>
              <a:gd name="connsiteX41" fmla="*/ 19050 w 314325"/>
              <a:gd name="connsiteY41" fmla="*/ 797718 h 1405628"/>
              <a:gd name="connsiteX42" fmla="*/ 23812 w 314325"/>
              <a:gd name="connsiteY42" fmla="*/ 809625 h 1405628"/>
              <a:gd name="connsiteX43" fmla="*/ 33337 w 314325"/>
              <a:gd name="connsiteY43" fmla="*/ 826293 h 1405628"/>
              <a:gd name="connsiteX44" fmla="*/ 33337 w 314325"/>
              <a:gd name="connsiteY44" fmla="*/ 838200 h 1405628"/>
              <a:gd name="connsiteX45" fmla="*/ 35719 w 314325"/>
              <a:gd name="connsiteY45" fmla="*/ 859631 h 1405628"/>
              <a:gd name="connsiteX46" fmla="*/ 35719 w 314325"/>
              <a:gd name="connsiteY46" fmla="*/ 885825 h 1405628"/>
              <a:gd name="connsiteX47" fmla="*/ 35719 w 314325"/>
              <a:gd name="connsiteY47" fmla="*/ 892968 h 1405628"/>
              <a:gd name="connsiteX48" fmla="*/ 35719 w 314325"/>
              <a:gd name="connsiteY48" fmla="*/ 912018 h 1405628"/>
              <a:gd name="connsiteX49" fmla="*/ 35719 w 314325"/>
              <a:gd name="connsiteY49" fmla="*/ 923925 h 1405628"/>
              <a:gd name="connsiteX50" fmla="*/ 35719 w 314325"/>
              <a:gd name="connsiteY50" fmla="*/ 933450 h 1405628"/>
              <a:gd name="connsiteX51" fmla="*/ 42862 w 314325"/>
              <a:gd name="connsiteY51" fmla="*/ 952500 h 1405628"/>
              <a:gd name="connsiteX52" fmla="*/ 50006 w 314325"/>
              <a:gd name="connsiteY52" fmla="*/ 964406 h 1405628"/>
              <a:gd name="connsiteX53" fmla="*/ 59531 w 314325"/>
              <a:gd name="connsiteY53" fmla="*/ 973931 h 1405628"/>
              <a:gd name="connsiteX54" fmla="*/ 66675 w 314325"/>
              <a:gd name="connsiteY54" fmla="*/ 981075 h 1405628"/>
              <a:gd name="connsiteX55" fmla="*/ 73819 w 314325"/>
              <a:gd name="connsiteY55" fmla="*/ 990600 h 1405628"/>
              <a:gd name="connsiteX56" fmla="*/ 88106 w 314325"/>
              <a:gd name="connsiteY56" fmla="*/ 1004887 h 1405628"/>
              <a:gd name="connsiteX57" fmla="*/ 97631 w 314325"/>
              <a:gd name="connsiteY57" fmla="*/ 1009650 h 1405628"/>
              <a:gd name="connsiteX58" fmla="*/ 104775 w 314325"/>
              <a:gd name="connsiteY58" fmla="*/ 1023937 h 1405628"/>
              <a:gd name="connsiteX59" fmla="*/ 119062 w 314325"/>
              <a:gd name="connsiteY59" fmla="*/ 1033462 h 1405628"/>
              <a:gd name="connsiteX60" fmla="*/ 138112 w 314325"/>
              <a:gd name="connsiteY60" fmla="*/ 1052512 h 1405628"/>
              <a:gd name="connsiteX61" fmla="*/ 150019 w 314325"/>
              <a:gd name="connsiteY61" fmla="*/ 1059656 h 1405628"/>
              <a:gd name="connsiteX62" fmla="*/ 161925 w 314325"/>
              <a:gd name="connsiteY62" fmla="*/ 1078706 h 1405628"/>
              <a:gd name="connsiteX63" fmla="*/ 171450 w 314325"/>
              <a:gd name="connsiteY63" fmla="*/ 1083468 h 1405628"/>
              <a:gd name="connsiteX64" fmla="*/ 183356 w 314325"/>
              <a:gd name="connsiteY64" fmla="*/ 1092993 h 1405628"/>
              <a:gd name="connsiteX65" fmla="*/ 192881 w 314325"/>
              <a:gd name="connsiteY65" fmla="*/ 1102518 h 1405628"/>
              <a:gd name="connsiteX66" fmla="*/ 207169 w 314325"/>
              <a:gd name="connsiteY66" fmla="*/ 1131093 h 1405628"/>
              <a:gd name="connsiteX67" fmla="*/ 211931 w 314325"/>
              <a:gd name="connsiteY67" fmla="*/ 1140618 h 1405628"/>
              <a:gd name="connsiteX68" fmla="*/ 211931 w 314325"/>
              <a:gd name="connsiteY68" fmla="*/ 1197768 h 1405628"/>
              <a:gd name="connsiteX69" fmla="*/ 209550 w 314325"/>
              <a:gd name="connsiteY69" fmla="*/ 1226343 h 1405628"/>
              <a:gd name="connsiteX70" fmla="*/ 204787 w 314325"/>
              <a:gd name="connsiteY70" fmla="*/ 1235868 h 1405628"/>
              <a:gd name="connsiteX71" fmla="*/ 202406 w 314325"/>
              <a:gd name="connsiteY71" fmla="*/ 1266825 h 1405628"/>
              <a:gd name="connsiteX72" fmla="*/ 202406 w 314325"/>
              <a:gd name="connsiteY72" fmla="*/ 1295400 h 1405628"/>
              <a:gd name="connsiteX73" fmla="*/ 211931 w 314325"/>
              <a:gd name="connsiteY73" fmla="*/ 1316831 h 1405628"/>
              <a:gd name="connsiteX74" fmla="*/ 264868 w 314325"/>
              <a:gd name="connsiteY74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276225 w 314325"/>
              <a:gd name="connsiteY3" fmla="*/ 35718 h 1405628"/>
              <a:gd name="connsiteX4" fmla="*/ 142875 w 314325"/>
              <a:gd name="connsiteY4" fmla="*/ 209550 h 1405628"/>
              <a:gd name="connsiteX5" fmla="*/ 135731 w 314325"/>
              <a:gd name="connsiteY5" fmla="*/ 223837 h 1405628"/>
              <a:gd name="connsiteX6" fmla="*/ 121444 w 314325"/>
              <a:gd name="connsiteY6" fmla="*/ 247650 h 1405628"/>
              <a:gd name="connsiteX7" fmla="*/ 111919 w 314325"/>
              <a:gd name="connsiteY7" fmla="*/ 257175 h 1405628"/>
              <a:gd name="connsiteX8" fmla="*/ 100012 w 314325"/>
              <a:gd name="connsiteY8" fmla="*/ 273843 h 1405628"/>
              <a:gd name="connsiteX9" fmla="*/ 90487 w 314325"/>
              <a:gd name="connsiteY9" fmla="*/ 288131 h 1405628"/>
              <a:gd name="connsiteX10" fmla="*/ 83344 w 314325"/>
              <a:gd name="connsiteY10" fmla="*/ 304800 h 1405628"/>
              <a:gd name="connsiteX11" fmla="*/ 85725 w 314325"/>
              <a:gd name="connsiteY11" fmla="*/ 316706 h 1405628"/>
              <a:gd name="connsiteX12" fmla="*/ 85725 w 314325"/>
              <a:gd name="connsiteY12" fmla="*/ 335756 h 1405628"/>
              <a:gd name="connsiteX13" fmla="*/ 92869 w 314325"/>
              <a:gd name="connsiteY13" fmla="*/ 354806 h 1405628"/>
              <a:gd name="connsiteX14" fmla="*/ 100012 w 314325"/>
              <a:gd name="connsiteY14" fmla="*/ 369093 h 1405628"/>
              <a:gd name="connsiteX15" fmla="*/ 102394 w 314325"/>
              <a:gd name="connsiteY15" fmla="*/ 381000 h 1405628"/>
              <a:gd name="connsiteX16" fmla="*/ 111919 w 314325"/>
              <a:gd name="connsiteY16" fmla="*/ 395287 h 1405628"/>
              <a:gd name="connsiteX17" fmla="*/ 119062 w 314325"/>
              <a:gd name="connsiteY17" fmla="*/ 404812 h 1405628"/>
              <a:gd name="connsiteX18" fmla="*/ 123825 w 314325"/>
              <a:gd name="connsiteY18" fmla="*/ 411956 h 1405628"/>
              <a:gd name="connsiteX19" fmla="*/ 130969 w 314325"/>
              <a:gd name="connsiteY19" fmla="*/ 431006 h 1405628"/>
              <a:gd name="connsiteX20" fmla="*/ 123825 w 314325"/>
              <a:gd name="connsiteY20" fmla="*/ 445293 h 1405628"/>
              <a:gd name="connsiteX21" fmla="*/ 111919 w 314325"/>
              <a:gd name="connsiteY21" fmla="*/ 454818 h 1405628"/>
              <a:gd name="connsiteX22" fmla="*/ 102394 w 314325"/>
              <a:gd name="connsiteY22" fmla="*/ 461962 h 1405628"/>
              <a:gd name="connsiteX23" fmla="*/ 95250 w 314325"/>
              <a:gd name="connsiteY23" fmla="*/ 473868 h 1405628"/>
              <a:gd name="connsiteX24" fmla="*/ 95250 w 314325"/>
              <a:gd name="connsiteY24" fmla="*/ 488156 h 1405628"/>
              <a:gd name="connsiteX25" fmla="*/ 97631 w 314325"/>
              <a:gd name="connsiteY25" fmla="*/ 507206 h 1405628"/>
              <a:gd name="connsiteX26" fmla="*/ 80962 w 314325"/>
              <a:gd name="connsiteY26" fmla="*/ 516731 h 1405628"/>
              <a:gd name="connsiteX27" fmla="*/ 64294 w 314325"/>
              <a:gd name="connsiteY27" fmla="*/ 523875 h 1405628"/>
              <a:gd name="connsiteX28" fmla="*/ 42862 w 314325"/>
              <a:gd name="connsiteY28" fmla="*/ 597693 h 1405628"/>
              <a:gd name="connsiteX29" fmla="*/ 35719 w 314325"/>
              <a:gd name="connsiteY29" fmla="*/ 633412 h 1405628"/>
              <a:gd name="connsiteX30" fmla="*/ 28575 w 314325"/>
              <a:gd name="connsiteY30" fmla="*/ 647700 h 1405628"/>
              <a:gd name="connsiteX31" fmla="*/ 21431 w 314325"/>
              <a:gd name="connsiteY31" fmla="*/ 661987 h 1405628"/>
              <a:gd name="connsiteX32" fmla="*/ 9525 w 314325"/>
              <a:gd name="connsiteY32" fmla="*/ 685800 h 1405628"/>
              <a:gd name="connsiteX33" fmla="*/ 9525 w 314325"/>
              <a:gd name="connsiteY33" fmla="*/ 704850 h 1405628"/>
              <a:gd name="connsiteX34" fmla="*/ 2381 w 314325"/>
              <a:gd name="connsiteY34" fmla="*/ 721518 h 1405628"/>
              <a:gd name="connsiteX35" fmla="*/ 0 w 314325"/>
              <a:gd name="connsiteY35" fmla="*/ 742950 h 1405628"/>
              <a:gd name="connsiteX36" fmla="*/ 0 w 314325"/>
              <a:gd name="connsiteY36" fmla="*/ 757237 h 1405628"/>
              <a:gd name="connsiteX37" fmla="*/ 2381 w 314325"/>
              <a:gd name="connsiteY37" fmla="*/ 769143 h 1405628"/>
              <a:gd name="connsiteX38" fmla="*/ 7144 w 314325"/>
              <a:gd name="connsiteY38" fmla="*/ 785812 h 1405628"/>
              <a:gd name="connsiteX39" fmla="*/ 11906 w 314325"/>
              <a:gd name="connsiteY39" fmla="*/ 788193 h 1405628"/>
              <a:gd name="connsiteX40" fmla="*/ 19050 w 314325"/>
              <a:gd name="connsiteY40" fmla="*/ 797718 h 1405628"/>
              <a:gd name="connsiteX41" fmla="*/ 23812 w 314325"/>
              <a:gd name="connsiteY41" fmla="*/ 809625 h 1405628"/>
              <a:gd name="connsiteX42" fmla="*/ 33337 w 314325"/>
              <a:gd name="connsiteY42" fmla="*/ 826293 h 1405628"/>
              <a:gd name="connsiteX43" fmla="*/ 33337 w 314325"/>
              <a:gd name="connsiteY43" fmla="*/ 838200 h 1405628"/>
              <a:gd name="connsiteX44" fmla="*/ 35719 w 314325"/>
              <a:gd name="connsiteY44" fmla="*/ 859631 h 1405628"/>
              <a:gd name="connsiteX45" fmla="*/ 35719 w 314325"/>
              <a:gd name="connsiteY45" fmla="*/ 885825 h 1405628"/>
              <a:gd name="connsiteX46" fmla="*/ 35719 w 314325"/>
              <a:gd name="connsiteY46" fmla="*/ 892968 h 1405628"/>
              <a:gd name="connsiteX47" fmla="*/ 35719 w 314325"/>
              <a:gd name="connsiteY47" fmla="*/ 912018 h 1405628"/>
              <a:gd name="connsiteX48" fmla="*/ 35719 w 314325"/>
              <a:gd name="connsiteY48" fmla="*/ 923925 h 1405628"/>
              <a:gd name="connsiteX49" fmla="*/ 35719 w 314325"/>
              <a:gd name="connsiteY49" fmla="*/ 933450 h 1405628"/>
              <a:gd name="connsiteX50" fmla="*/ 42862 w 314325"/>
              <a:gd name="connsiteY50" fmla="*/ 952500 h 1405628"/>
              <a:gd name="connsiteX51" fmla="*/ 50006 w 314325"/>
              <a:gd name="connsiteY51" fmla="*/ 964406 h 1405628"/>
              <a:gd name="connsiteX52" fmla="*/ 59531 w 314325"/>
              <a:gd name="connsiteY52" fmla="*/ 973931 h 1405628"/>
              <a:gd name="connsiteX53" fmla="*/ 66675 w 314325"/>
              <a:gd name="connsiteY53" fmla="*/ 981075 h 1405628"/>
              <a:gd name="connsiteX54" fmla="*/ 73819 w 314325"/>
              <a:gd name="connsiteY54" fmla="*/ 990600 h 1405628"/>
              <a:gd name="connsiteX55" fmla="*/ 88106 w 314325"/>
              <a:gd name="connsiteY55" fmla="*/ 1004887 h 1405628"/>
              <a:gd name="connsiteX56" fmla="*/ 97631 w 314325"/>
              <a:gd name="connsiteY56" fmla="*/ 1009650 h 1405628"/>
              <a:gd name="connsiteX57" fmla="*/ 104775 w 314325"/>
              <a:gd name="connsiteY57" fmla="*/ 1023937 h 1405628"/>
              <a:gd name="connsiteX58" fmla="*/ 119062 w 314325"/>
              <a:gd name="connsiteY58" fmla="*/ 1033462 h 1405628"/>
              <a:gd name="connsiteX59" fmla="*/ 138112 w 314325"/>
              <a:gd name="connsiteY59" fmla="*/ 1052512 h 1405628"/>
              <a:gd name="connsiteX60" fmla="*/ 150019 w 314325"/>
              <a:gd name="connsiteY60" fmla="*/ 1059656 h 1405628"/>
              <a:gd name="connsiteX61" fmla="*/ 161925 w 314325"/>
              <a:gd name="connsiteY61" fmla="*/ 1078706 h 1405628"/>
              <a:gd name="connsiteX62" fmla="*/ 171450 w 314325"/>
              <a:gd name="connsiteY62" fmla="*/ 1083468 h 1405628"/>
              <a:gd name="connsiteX63" fmla="*/ 183356 w 314325"/>
              <a:gd name="connsiteY63" fmla="*/ 1092993 h 1405628"/>
              <a:gd name="connsiteX64" fmla="*/ 192881 w 314325"/>
              <a:gd name="connsiteY64" fmla="*/ 1102518 h 1405628"/>
              <a:gd name="connsiteX65" fmla="*/ 207169 w 314325"/>
              <a:gd name="connsiteY65" fmla="*/ 1131093 h 1405628"/>
              <a:gd name="connsiteX66" fmla="*/ 211931 w 314325"/>
              <a:gd name="connsiteY66" fmla="*/ 1140618 h 1405628"/>
              <a:gd name="connsiteX67" fmla="*/ 211931 w 314325"/>
              <a:gd name="connsiteY67" fmla="*/ 1197768 h 1405628"/>
              <a:gd name="connsiteX68" fmla="*/ 209550 w 314325"/>
              <a:gd name="connsiteY68" fmla="*/ 1226343 h 1405628"/>
              <a:gd name="connsiteX69" fmla="*/ 204787 w 314325"/>
              <a:gd name="connsiteY69" fmla="*/ 1235868 h 1405628"/>
              <a:gd name="connsiteX70" fmla="*/ 202406 w 314325"/>
              <a:gd name="connsiteY70" fmla="*/ 1266825 h 1405628"/>
              <a:gd name="connsiteX71" fmla="*/ 202406 w 314325"/>
              <a:gd name="connsiteY71" fmla="*/ 1295400 h 1405628"/>
              <a:gd name="connsiteX72" fmla="*/ 211931 w 314325"/>
              <a:gd name="connsiteY72" fmla="*/ 1316831 h 1405628"/>
              <a:gd name="connsiteX73" fmla="*/ 264868 w 314325"/>
              <a:gd name="connsiteY73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284961 w 314325"/>
              <a:gd name="connsiteY2" fmla="*/ 20714 h 1405628"/>
              <a:gd name="connsiteX3" fmla="*/ 142875 w 314325"/>
              <a:gd name="connsiteY3" fmla="*/ 209550 h 1405628"/>
              <a:gd name="connsiteX4" fmla="*/ 135731 w 314325"/>
              <a:gd name="connsiteY4" fmla="*/ 223837 h 1405628"/>
              <a:gd name="connsiteX5" fmla="*/ 121444 w 314325"/>
              <a:gd name="connsiteY5" fmla="*/ 247650 h 1405628"/>
              <a:gd name="connsiteX6" fmla="*/ 111919 w 314325"/>
              <a:gd name="connsiteY6" fmla="*/ 257175 h 1405628"/>
              <a:gd name="connsiteX7" fmla="*/ 100012 w 314325"/>
              <a:gd name="connsiteY7" fmla="*/ 273843 h 1405628"/>
              <a:gd name="connsiteX8" fmla="*/ 90487 w 314325"/>
              <a:gd name="connsiteY8" fmla="*/ 288131 h 1405628"/>
              <a:gd name="connsiteX9" fmla="*/ 83344 w 314325"/>
              <a:gd name="connsiteY9" fmla="*/ 304800 h 1405628"/>
              <a:gd name="connsiteX10" fmla="*/ 85725 w 314325"/>
              <a:gd name="connsiteY10" fmla="*/ 316706 h 1405628"/>
              <a:gd name="connsiteX11" fmla="*/ 85725 w 314325"/>
              <a:gd name="connsiteY11" fmla="*/ 335756 h 1405628"/>
              <a:gd name="connsiteX12" fmla="*/ 92869 w 314325"/>
              <a:gd name="connsiteY12" fmla="*/ 354806 h 1405628"/>
              <a:gd name="connsiteX13" fmla="*/ 100012 w 314325"/>
              <a:gd name="connsiteY13" fmla="*/ 369093 h 1405628"/>
              <a:gd name="connsiteX14" fmla="*/ 102394 w 314325"/>
              <a:gd name="connsiteY14" fmla="*/ 381000 h 1405628"/>
              <a:gd name="connsiteX15" fmla="*/ 111919 w 314325"/>
              <a:gd name="connsiteY15" fmla="*/ 395287 h 1405628"/>
              <a:gd name="connsiteX16" fmla="*/ 119062 w 314325"/>
              <a:gd name="connsiteY16" fmla="*/ 404812 h 1405628"/>
              <a:gd name="connsiteX17" fmla="*/ 123825 w 314325"/>
              <a:gd name="connsiteY17" fmla="*/ 411956 h 1405628"/>
              <a:gd name="connsiteX18" fmla="*/ 130969 w 314325"/>
              <a:gd name="connsiteY18" fmla="*/ 431006 h 1405628"/>
              <a:gd name="connsiteX19" fmla="*/ 123825 w 314325"/>
              <a:gd name="connsiteY19" fmla="*/ 445293 h 1405628"/>
              <a:gd name="connsiteX20" fmla="*/ 111919 w 314325"/>
              <a:gd name="connsiteY20" fmla="*/ 454818 h 1405628"/>
              <a:gd name="connsiteX21" fmla="*/ 102394 w 314325"/>
              <a:gd name="connsiteY21" fmla="*/ 461962 h 1405628"/>
              <a:gd name="connsiteX22" fmla="*/ 95250 w 314325"/>
              <a:gd name="connsiteY22" fmla="*/ 473868 h 1405628"/>
              <a:gd name="connsiteX23" fmla="*/ 95250 w 314325"/>
              <a:gd name="connsiteY23" fmla="*/ 488156 h 1405628"/>
              <a:gd name="connsiteX24" fmla="*/ 97631 w 314325"/>
              <a:gd name="connsiteY24" fmla="*/ 507206 h 1405628"/>
              <a:gd name="connsiteX25" fmla="*/ 80962 w 314325"/>
              <a:gd name="connsiteY25" fmla="*/ 516731 h 1405628"/>
              <a:gd name="connsiteX26" fmla="*/ 64294 w 314325"/>
              <a:gd name="connsiteY26" fmla="*/ 523875 h 1405628"/>
              <a:gd name="connsiteX27" fmla="*/ 42862 w 314325"/>
              <a:gd name="connsiteY27" fmla="*/ 597693 h 1405628"/>
              <a:gd name="connsiteX28" fmla="*/ 35719 w 314325"/>
              <a:gd name="connsiteY28" fmla="*/ 633412 h 1405628"/>
              <a:gd name="connsiteX29" fmla="*/ 28575 w 314325"/>
              <a:gd name="connsiteY29" fmla="*/ 647700 h 1405628"/>
              <a:gd name="connsiteX30" fmla="*/ 21431 w 314325"/>
              <a:gd name="connsiteY30" fmla="*/ 661987 h 1405628"/>
              <a:gd name="connsiteX31" fmla="*/ 9525 w 314325"/>
              <a:gd name="connsiteY31" fmla="*/ 685800 h 1405628"/>
              <a:gd name="connsiteX32" fmla="*/ 9525 w 314325"/>
              <a:gd name="connsiteY32" fmla="*/ 704850 h 1405628"/>
              <a:gd name="connsiteX33" fmla="*/ 2381 w 314325"/>
              <a:gd name="connsiteY33" fmla="*/ 721518 h 1405628"/>
              <a:gd name="connsiteX34" fmla="*/ 0 w 314325"/>
              <a:gd name="connsiteY34" fmla="*/ 742950 h 1405628"/>
              <a:gd name="connsiteX35" fmla="*/ 0 w 314325"/>
              <a:gd name="connsiteY35" fmla="*/ 757237 h 1405628"/>
              <a:gd name="connsiteX36" fmla="*/ 2381 w 314325"/>
              <a:gd name="connsiteY36" fmla="*/ 769143 h 1405628"/>
              <a:gd name="connsiteX37" fmla="*/ 7144 w 314325"/>
              <a:gd name="connsiteY37" fmla="*/ 785812 h 1405628"/>
              <a:gd name="connsiteX38" fmla="*/ 11906 w 314325"/>
              <a:gd name="connsiteY38" fmla="*/ 788193 h 1405628"/>
              <a:gd name="connsiteX39" fmla="*/ 19050 w 314325"/>
              <a:gd name="connsiteY39" fmla="*/ 797718 h 1405628"/>
              <a:gd name="connsiteX40" fmla="*/ 23812 w 314325"/>
              <a:gd name="connsiteY40" fmla="*/ 809625 h 1405628"/>
              <a:gd name="connsiteX41" fmla="*/ 33337 w 314325"/>
              <a:gd name="connsiteY41" fmla="*/ 826293 h 1405628"/>
              <a:gd name="connsiteX42" fmla="*/ 33337 w 314325"/>
              <a:gd name="connsiteY42" fmla="*/ 838200 h 1405628"/>
              <a:gd name="connsiteX43" fmla="*/ 35719 w 314325"/>
              <a:gd name="connsiteY43" fmla="*/ 859631 h 1405628"/>
              <a:gd name="connsiteX44" fmla="*/ 35719 w 314325"/>
              <a:gd name="connsiteY44" fmla="*/ 885825 h 1405628"/>
              <a:gd name="connsiteX45" fmla="*/ 35719 w 314325"/>
              <a:gd name="connsiteY45" fmla="*/ 892968 h 1405628"/>
              <a:gd name="connsiteX46" fmla="*/ 35719 w 314325"/>
              <a:gd name="connsiteY46" fmla="*/ 912018 h 1405628"/>
              <a:gd name="connsiteX47" fmla="*/ 35719 w 314325"/>
              <a:gd name="connsiteY47" fmla="*/ 923925 h 1405628"/>
              <a:gd name="connsiteX48" fmla="*/ 35719 w 314325"/>
              <a:gd name="connsiteY48" fmla="*/ 933450 h 1405628"/>
              <a:gd name="connsiteX49" fmla="*/ 42862 w 314325"/>
              <a:gd name="connsiteY49" fmla="*/ 952500 h 1405628"/>
              <a:gd name="connsiteX50" fmla="*/ 50006 w 314325"/>
              <a:gd name="connsiteY50" fmla="*/ 964406 h 1405628"/>
              <a:gd name="connsiteX51" fmla="*/ 59531 w 314325"/>
              <a:gd name="connsiteY51" fmla="*/ 973931 h 1405628"/>
              <a:gd name="connsiteX52" fmla="*/ 66675 w 314325"/>
              <a:gd name="connsiteY52" fmla="*/ 981075 h 1405628"/>
              <a:gd name="connsiteX53" fmla="*/ 73819 w 314325"/>
              <a:gd name="connsiteY53" fmla="*/ 990600 h 1405628"/>
              <a:gd name="connsiteX54" fmla="*/ 88106 w 314325"/>
              <a:gd name="connsiteY54" fmla="*/ 1004887 h 1405628"/>
              <a:gd name="connsiteX55" fmla="*/ 97631 w 314325"/>
              <a:gd name="connsiteY55" fmla="*/ 1009650 h 1405628"/>
              <a:gd name="connsiteX56" fmla="*/ 104775 w 314325"/>
              <a:gd name="connsiteY56" fmla="*/ 1023937 h 1405628"/>
              <a:gd name="connsiteX57" fmla="*/ 119062 w 314325"/>
              <a:gd name="connsiteY57" fmla="*/ 1033462 h 1405628"/>
              <a:gd name="connsiteX58" fmla="*/ 138112 w 314325"/>
              <a:gd name="connsiteY58" fmla="*/ 1052512 h 1405628"/>
              <a:gd name="connsiteX59" fmla="*/ 150019 w 314325"/>
              <a:gd name="connsiteY59" fmla="*/ 1059656 h 1405628"/>
              <a:gd name="connsiteX60" fmla="*/ 161925 w 314325"/>
              <a:gd name="connsiteY60" fmla="*/ 1078706 h 1405628"/>
              <a:gd name="connsiteX61" fmla="*/ 171450 w 314325"/>
              <a:gd name="connsiteY61" fmla="*/ 1083468 h 1405628"/>
              <a:gd name="connsiteX62" fmla="*/ 183356 w 314325"/>
              <a:gd name="connsiteY62" fmla="*/ 1092993 h 1405628"/>
              <a:gd name="connsiteX63" fmla="*/ 192881 w 314325"/>
              <a:gd name="connsiteY63" fmla="*/ 1102518 h 1405628"/>
              <a:gd name="connsiteX64" fmla="*/ 207169 w 314325"/>
              <a:gd name="connsiteY64" fmla="*/ 1131093 h 1405628"/>
              <a:gd name="connsiteX65" fmla="*/ 211931 w 314325"/>
              <a:gd name="connsiteY65" fmla="*/ 1140618 h 1405628"/>
              <a:gd name="connsiteX66" fmla="*/ 211931 w 314325"/>
              <a:gd name="connsiteY66" fmla="*/ 1197768 h 1405628"/>
              <a:gd name="connsiteX67" fmla="*/ 209550 w 314325"/>
              <a:gd name="connsiteY67" fmla="*/ 1226343 h 1405628"/>
              <a:gd name="connsiteX68" fmla="*/ 204787 w 314325"/>
              <a:gd name="connsiteY68" fmla="*/ 1235868 h 1405628"/>
              <a:gd name="connsiteX69" fmla="*/ 202406 w 314325"/>
              <a:gd name="connsiteY69" fmla="*/ 1266825 h 1405628"/>
              <a:gd name="connsiteX70" fmla="*/ 202406 w 314325"/>
              <a:gd name="connsiteY70" fmla="*/ 1295400 h 1405628"/>
              <a:gd name="connsiteX71" fmla="*/ 211931 w 314325"/>
              <a:gd name="connsiteY71" fmla="*/ 1316831 h 1405628"/>
              <a:gd name="connsiteX72" fmla="*/ 264868 w 314325"/>
              <a:gd name="connsiteY72" fmla="*/ 1405628 h 1405628"/>
              <a:gd name="connsiteX0" fmla="*/ 314325 w 314325"/>
              <a:gd name="connsiteY0" fmla="*/ 0 h 1405628"/>
              <a:gd name="connsiteX1" fmla="*/ 302419 w 314325"/>
              <a:gd name="connsiteY1" fmla="*/ 14287 h 1405628"/>
              <a:gd name="connsiteX2" fmla="*/ 142875 w 314325"/>
              <a:gd name="connsiteY2" fmla="*/ 209550 h 1405628"/>
              <a:gd name="connsiteX3" fmla="*/ 135731 w 314325"/>
              <a:gd name="connsiteY3" fmla="*/ 223837 h 1405628"/>
              <a:gd name="connsiteX4" fmla="*/ 121444 w 314325"/>
              <a:gd name="connsiteY4" fmla="*/ 247650 h 1405628"/>
              <a:gd name="connsiteX5" fmla="*/ 111919 w 314325"/>
              <a:gd name="connsiteY5" fmla="*/ 257175 h 1405628"/>
              <a:gd name="connsiteX6" fmla="*/ 100012 w 314325"/>
              <a:gd name="connsiteY6" fmla="*/ 273843 h 1405628"/>
              <a:gd name="connsiteX7" fmla="*/ 90487 w 314325"/>
              <a:gd name="connsiteY7" fmla="*/ 288131 h 1405628"/>
              <a:gd name="connsiteX8" fmla="*/ 83344 w 314325"/>
              <a:gd name="connsiteY8" fmla="*/ 304800 h 1405628"/>
              <a:gd name="connsiteX9" fmla="*/ 85725 w 314325"/>
              <a:gd name="connsiteY9" fmla="*/ 316706 h 1405628"/>
              <a:gd name="connsiteX10" fmla="*/ 85725 w 314325"/>
              <a:gd name="connsiteY10" fmla="*/ 335756 h 1405628"/>
              <a:gd name="connsiteX11" fmla="*/ 92869 w 314325"/>
              <a:gd name="connsiteY11" fmla="*/ 354806 h 1405628"/>
              <a:gd name="connsiteX12" fmla="*/ 100012 w 314325"/>
              <a:gd name="connsiteY12" fmla="*/ 369093 h 1405628"/>
              <a:gd name="connsiteX13" fmla="*/ 102394 w 314325"/>
              <a:gd name="connsiteY13" fmla="*/ 381000 h 1405628"/>
              <a:gd name="connsiteX14" fmla="*/ 111919 w 314325"/>
              <a:gd name="connsiteY14" fmla="*/ 395287 h 1405628"/>
              <a:gd name="connsiteX15" fmla="*/ 119062 w 314325"/>
              <a:gd name="connsiteY15" fmla="*/ 404812 h 1405628"/>
              <a:gd name="connsiteX16" fmla="*/ 123825 w 314325"/>
              <a:gd name="connsiteY16" fmla="*/ 411956 h 1405628"/>
              <a:gd name="connsiteX17" fmla="*/ 130969 w 314325"/>
              <a:gd name="connsiteY17" fmla="*/ 431006 h 1405628"/>
              <a:gd name="connsiteX18" fmla="*/ 123825 w 314325"/>
              <a:gd name="connsiteY18" fmla="*/ 445293 h 1405628"/>
              <a:gd name="connsiteX19" fmla="*/ 111919 w 314325"/>
              <a:gd name="connsiteY19" fmla="*/ 454818 h 1405628"/>
              <a:gd name="connsiteX20" fmla="*/ 102394 w 314325"/>
              <a:gd name="connsiteY20" fmla="*/ 461962 h 1405628"/>
              <a:gd name="connsiteX21" fmla="*/ 95250 w 314325"/>
              <a:gd name="connsiteY21" fmla="*/ 473868 h 1405628"/>
              <a:gd name="connsiteX22" fmla="*/ 95250 w 314325"/>
              <a:gd name="connsiteY22" fmla="*/ 488156 h 1405628"/>
              <a:gd name="connsiteX23" fmla="*/ 97631 w 314325"/>
              <a:gd name="connsiteY23" fmla="*/ 507206 h 1405628"/>
              <a:gd name="connsiteX24" fmla="*/ 80962 w 314325"/>
              <a:gd name="connsiteY24" fmla="*/ 516731 h 1405628"/>
              <a:gd name="connsiteX25" fmla="*/ 64294 w 314325"/>
              <a:gd name="connsiteY25" fmla="*/ 523875 h 1405628"/>
              <a:gd name="connsiteX26" fmla="*/ 42862 w 314325"/>
              <a:gd name="connsiteY26" fmla="*/ 597693 h 1405628"/>
              <a:gd name="connsiteX27" fmla="*/ 35719 w 314325"/>
              <a:gd name="connsiteY27" fmla="*/ 633412 h 1405628"/>
              <a:gd name="connsiteX28" fmla="*/ 28575 w 314325"/>
              <a:gd name="connsiteY28" fmla="*/ 647700 h 1405628"/>
              <a:gd name="connsiteX29" fmla="*/ 21431 w 314325"/>
              <a:gd name="connsiteY29" fmla="*/ 661987 h 1405628"/>
              <a:gd name="connsiteX30" fmla="*/ 9525 w 314325"/>
              <a:gd name="connsiteY30" fmla="*/ 685800 h 1405628"/>
              <a:gd name="connsiteX31" fmla="*/ 9525 w 314325"/>
              <a:gd name="connsiteY31" fmla="*/ 704850 h 1405628"/>
              <a:gd name="connsiteX32" fmla="*/ 2381 w 314325"/>
              <a:gd name="connsiteY32" fmla="*/ 721518 h 1405628"/>
              <a:gd name="connsiteX33" fmla="*/ 0 w 314325"/>
              <a:gd name="connsiteY33" fmla="*/ 742950 h 1405628"/>
              <a:gd name="connsiteX34" fmla="*/ 0 w 314325"/>
              <a:gd name="connsiteY34" fmla="*/ 757237 h 1405628"/>
              <a:gd name="connsiteX35" fmla="*/ 2381 w 314325"/>
              <a:gd name="connsiteY35" fmla="*/ 769143 h 1405628"/>
              <a:gd name="connsiteX36" fmla="*/ 7144 w 314325"/>
              <a:gd name="connsiteY36" fmla="*/ 785812 h 1405628"/>
              <a:gd name="connsiteX37" fmla="*/ 11906 w 314325"/>
              <a:gd name="connsiteY37" fmla="*/ 788193 h 1405628"/>
              <a:gd name="connsiteX38" fmla="*/ 19050 w 314325"/>
              <a:gd name="connsiteY38" fmla="*/ 797718 h 1405628"/>
              <a:gd name="connsiteX39" fmla="*/ 23812 w 314325"/>
              <a:gd name="connsiteY39" fmla="*/ 809625 h 1405628"/>
              <a:gd name="connsiteX40" fmla="*/ 33337 w 314325"/>
              <a:gd name="connsiteY40" fmla="*/ 826293 h 1405628"/>
              <a:gd name="connsiteX41" fmla="*/ 33337 w 314325"/>
              <a:gd name="connsiteY41" fmla="*/ 838200 h 1405628"/>
              <a:gd name="connsiteX42" fmla="*/ 35719 w 314325"/>
              <a:gd name="connsiteY42" fmla="*/ 859631 h 1405628"/>
              <a:gd name="connsiteX43" fmla="*/ 35719 w 314325"/>
              <a:gd name="connsiteY43" fmla="*/ 885825 h 1405628"/>
              <a:gd name="connsiteX44" fmla="*/ 35719 w 314325"/>
              <a:gd name="connsiteY44" fmla="*/ 892968 h 1405628"/>
              <a:gd name="connsiteX45" fmla="*/ 35719 w 314325"/>
              <a:gd name="connsiteY45" fmla="*/ 912018 h 1405628"/>
              <a:gd name="connsiteX46" fmla="*/ 35719 w 314325"/>
              <a:gd name="connsiteY46" fmla="*/ 923925 h 1405628"/>
              <a:gd name="connsiteX47" fmla="*/ 35719 w 314325"/>
              <a:gd name="connsiteY47" fmla="*/ 933450 h 1405628"/>
              <a:gd name="connsiteX48" fmla="*/ 42862 w 314325"/>
              <a:gd name="connsiteY48" fmla="*/ 952500 h 1405628"/>
              <a:gd name="connsiteX49" fmla="*/ 50006 w 314325"/>
              <a:gd name="connsiteY49" fmla="*/ 964406 h 1405628"/>
              <a:gd name="connsiteX50" fmla="*/ 59531 w 314325"/>
              <a:gd name="connsiteY50" fmla="*/ 973931 h 1405628"/>
              <a:gd name="connsiteX51" fmla="*/ 66675 w 314325"/>
              <a:gd name="connsiteY51" fmla="*/ 981075 h 1405628"/>
              <a:gd name="connsiteX52" fmla="*/ 73819 w 314325"/>
              <a:gd name="connsiteY52" fmla="*/ 990600 h 1405628"/>
              <a:gd name="connsiteX53" fmla="*/ 88106 w 314325"/>
              <a:gd name="connsiteY53" fmla="*/ 1004887 h 1405628"/>
              <a:gd name="connsiteX54" fmla="*/ 97631 w 314325"/>
              <a:gd name="connsiteY54" fmla="*/ 1009650 h 1405628"/>
              <a:gd name="connsiteX55" fmla="*/ 104775 w 314325"/>
              <a:gd name="connsiteY55" fmla="*/ 1023937 h 1405628"/>
              <a:gd name="connsiteX56" fmla="*/ 119062 w 314325"/>
              <a:gd name="connsiteY56" fmla="*/ 1033462 h 1405628"/>
              <a:gd name="connsiteX57" fmla="*/ 138112 w 314325"/>
              <a:gd name="connsiteY57" fmla="*/ 1052512 h 1405628"/>
              <a:gd name="connsiteX58" fmla="*/ 150019 w 314325"/>
              <a:gd name="connsiteY58" fmla="*/ 1059656 h 1405628"/>
              <a:gd name="connsiteX59" fmla="*/ 161925 w 314325"/>
              <a:gd name="connsiteY59" fmla="*/ 1078706 h 1405628"/>
              <a:gd name="connsiteX60" fmla="*/ 171450 w 314325"/>
              <a:gd name="connsiteY60" fmla="*/ 1083468 h 1405628"/>
              <a:gd name="connsiteX61" fmla="*/ 183356 w 314325"/>
              <a:gd name="connsiteY61" fmla="*/ 1092993 h 1405628"/>
              <a:gd name="connsiteX62" fmla="*/ 192881 w 314325"/>
              <a:gd name="connsiteY62" fmla="*/ 1102518 h 1405628"/>
              <a:gd name="connsiteX63" fmla="*/ 207169 w 314325"/>
              <a:gd name="connsiteY63" fmla="*/ 1131093 h 1405628"/>
              <a:gd name="connsiteX64" fmla="*/ 211931 w 314325"/>
              <a:gd name="connsiteY64" fmla="*/ 1140618 h 1405628"/>
              <a:gd name="connsiteX65" fmla="*/ 211931 w 314325"/>
              <a:gd name="connsiteY65" fmla="*/ 1197768 h 1405628"/>
              <a:gd name="connsiteX66" fmla="*/ 209550 w 314325"/>
              <a:gd name="connsiteY66" fmla="*/ 1226343 h 1405628"/>
              <a:gd name="connsiteX67" fmla="*/ 204787 w 314325"/>
              <a:gd name="connsiteY67" fmla="*/ 1235868 h 1405628"/>
              <a:gd name="connsiteX68" fmla="*/ 202406 w 314325"/>
              <a:gd name="connsiteY68" fmla="*/ 1266825 h 1405628"/>
              <a:gd name="connsiteX69" fmla="*/ 202406 w 314325"/>
              <a:gd name="connsiteY69" fmla="*/ 1295400 h 1405628"/>
              <a:gd name="connsiteX70" fmla="*/ 211931 w 314325"/>
              <a:gd name="connsiteY70" fmla="*/ 1316831 h 1405628"/>
              <a:gd name="connsiteX71" fmla="*/ 264868 w 314325"/>
              <a:gd name="connsiteY71" fmla="*/ 1405628 h 1405628"/>
              <a:gd name="connsiteX0" fmla="*/ 314325 w 314325"/>
              <a:gd name="connsiteY0" fmla="*/ 0 h 1405628"/>
              <a:gd name="connsiteX1" fmla="*/ 142875 w 314325"/>
              <a:gd name="connsiteY1" fmla="*/ 209550 h 1405628"/>
              <a:gd name="connsiteX2" fmla="*/ 135731 w 314325"/>
              <a:gd name="connsiteY2" fmla="*/ 223837 h 1405628"/>
              <a:gd name="connsiteX3" fmla="*/ 121444 w 314325"/>
              <a:gd name="connsiteY3" fmla="*/ 247650 h 1405628"/>
              <a:gd name="connsiteX4" fmla="*/ 111919 w 314325"/>
              <a:gd name="connsiteY4" fmla="*/ 257175 h 1405628"/>
              <a:gd name="connsiteX5" fmla="*/ 100012 w 314325"/>
              <a:gd name="connsiteY5" fmla="*/ 273843 h 1405628"/>
              <a:gd name="connsiteX6" fmla="*/ 90487 w 314325"/>
              <a:gd name="connsiteY6" fmla="*/ 288131 h 1405628"/>
              <a:gd name="connsiteX7" fmla="*/ 83344 w 314325"/>
              <a:gd name="connsiteY7" fmla="*/ 304800 h 1405628"/>
              <a:gd name="connsiteX8" fmla="*/ 85725 w 314325"/>
              <a:gd name="connsiteY8" fmla="*/ 316706 h 1405628"/>
              <a:gd name="connsiteX9" fmla="*/ 85725 w 314325"/>
              <a:gd name="connsiteY9" fmla="*/ 335756 h 1405628"/>
              <a:gd name="connsiteX10" fmla="*/ 92869 w 314325"/>
              <a:gd name="connsiteY10" fmla="*/ 354806 h 1405628"/>
              <a:gd name="connsiteX11" fmla="*/ 100012 w 314325"/>
              <a:gd name="connsiteY11" fmla="*/ 369093 h 1405628"/>
              <a:gd name="connsiteX12" fmla="*/ 102394 w 314325"/>
              <a:gd name="connsiteY12" fmla="*/ 381000 h 1405628"/>
              <a:gd name="connsiteX13" fmla="*/ 111919 w 314325"/>
              <a:gd name="connsiteY13" fmla="*/ 395287 h 1405628"/>
              <a:gd name="connsiteX14" fmla="*/ 119062 w 314325"/>
              <a:gd name="connsiteY14" fmla="*/ 404812 h 1405628"/>
              <a:gd name="connsiteX15" fmla="*/ 123825 w 314325"/>
              <a:gd name="connsiteY15" fmla="*/ 411956 h 1405628"/>
              <a:gd name="connsiteX16" fmla="*/ 130969 w 314325"/>
              <a:gd name="connsiteY16" fmla="*/ 431006 h 1405628"/>
              <a:gd name="connsiteX17" fmla="*/ 123825 w 314325"/>
              <a:gd name="connsiteY17" fmla="*/ 445293 h 1405628"/>
              <a:gd name="connsiteX18" fmla="*/ 111919 w 314325"/>
              <a:gd name="connsiteY18" fmla="*/ 454818 h 1405628"/>
              <a:gd name="connsiteX19" fmla="*/ 102394 w 314325"/>
              <a:gd name="connsiteY19" fmla="*/ 461962 h 1405628"/>
              <a:gd name="connsiteX20" fmla="*/ 95250 w 314325"/>
              <a:gd name="connsiteY20" fmla="*/ 473868 h 1405628"/>
              <a:gd name="connsiteX21" fmla="*/ 95250 w 314325"/>
              <a:gd name="connsiteY21" fmla="*/ 488156 h 1405628"/>
              <a:gd name="connsiteX22" fmla="*/ 97631 w 314325"/>
              <a:gd name="connsiteY22" fmla="*/ 507206 h 1405628"/>
              <a:gd name="connsiteX23" fmla="*/ 80962 w 314325"/>
              <a:gd name="connsiteY23" fmla="*/ 516731 h 1405628"/>
              <a:gd name="connsiteX24" fmla="*/ 64294 w 314325"/>
              <a:gd name="connsiteY24" fmla="*/ 523875 h 1405628"/>
              <a:gd name="connsiteX25" fmla="*/ 42862 w 314325"/>
              <a:gd name="connsiteY25" fmla="*/ 597693 h 1405628"/>
              <a:gd name="connsiteX26" fmla="*/ 35719 w 314325"/>
              <a:gd name="connsiteY26" fmla="*/ 633412 h 1405628"/>
              <a:gd name="connsiteX27" fmla="*/ 28575 w 314325"/>
              <a:gd name="connsiteY27" fmla="*/ 647700 h 1405628"/>
              <a:gd name="connsiteX28" fmla="*/ 21431 w 314325"/>
              <a:gd name="connsiteY28" fmla="*/ 661987 h 1405628"/>
              <a:gd name="connsiteX29" fmla="*/ 9525 w 314325"/>
              <a:gd name="connsiteY29" fmla="*/ 685800 h 1405628"/>
              <a:gd name="connsiteX30" fmla="*/ 9525 w 314325"/>
              <a:gd name="connsiteY30" fmla="*/ 704850 h 1405628"/>
              <a:gd name="connsiteX31" fmla="*/ 2381 w 314325"/>
              <a:gd name="connsiteY31" fmla="*/ 721518 h 1405628"/>
              <a:gd name="connsiteX32" fmla="*/ 0 w 314325"/>
              <a:gd name="connsiteY32" fmla="*/ 742950 h 1405628"/>
              <a:gd name="connsiteX33" fmla="*/ 0 w 314325"/>
              <a:gd name="connsiteY33" fmla="*/ 757237 h 1405628"/>
              <a:gd name="connsiteX34" fmla="*/ 2381 w 314325"/>
              <a:gd name="connsiteY34" fmla="*/ 769143 h 1405628"/>
              <a:gd name="connsiteX35" fmla="*/ 7144 w 314325"/>
              <a:gd name="connsiteY35" fmla="*/ 785812 h 1405628"/>
              <a:gd name="connsiteX36" fmla="*/ 11906 w 314325"/>
              <a:gd name="connsiteY36" fmla="*/ 788193 h 1405628"/>
              <a:gd name="connsiteX37" fmla="*/ 19050 w 314325"/>
              <a:gd name="connsiteY37" fmla="*/ 797718 h 1405628"/>
              <a:gd name="connsiteX38" fmla="*/ 23812 w 314325"/>
              <a:gd name="connsiteY38" fmla="*/ 809625 h 1405628"/>
              <a:gd name="connsiteX39" fmla="*/ 33337 w 314325"/>
              <a:gd name="connsiteY39" fmla="*/ 826293 h 1405628"/>
              <a:gd name="connsiteX40" fmla="*/ 33337 w 314325"/>
              <a:gd name="connsiteY40" fmla="*/ 838200 h 1405628"/>
              <a:gd name="connsiteX41" fmla="*/ 35719 w 314325"/>
              <a:gd name="connsiteY41" fmla="*/ 859631 h 1405628"/>
              <a:gd name="connsiteX42" fmla="*/ 35719 w 314325"/>
              <a:gd name="connsiteY42" fmla="*/ 885825 h 1405628"/>
              <a:gd name="connsiteX43" fmla="*/ 35719 w 314325"/>
              <a:gd name="connsiteY43" fmla="*/ 892968 h 1405628"/>
              <a:gd name="connsiteX44" fmla="*/ 35719 w 314325"/>
              <a:gd name="connsiteY44" fmla="*/ 912018 h 1405628"/>
              <a:gd name="connsiteX45" fmla="*/ 35719 w 314325"/>
              <a:gd name="connsiteY45" fmla="*/ 923925 h 1405628"/>
              <a:gd name="connsiteX46" fmla="*/ 35719 w 314325"/>
              <a:gd name="connsiteY46" fmla="*/ 933450 h 1405628"/>
              <a:gd name="connsiteX47" fmla="*/ 42862 w 314325"/>
              <a:gd name="connsiteY47" fmla="*/ 952500 h 1405628"/>
              <a:gd name="connsiteX48" fmla="*/ 50006 w 314325"/>
              <a:gd name="connsiteY48" fmla="*/ 964406 h 1405628"/>
              <a:gd name="connsiteX49" fmla="*/ 59531 w 314325"/>
              <a:gd name="connsiteY49" fmla="*/ 973931 h 1405628"/>
              <a:gd name="connsiteX50" fmla="*/ 66675 w 314325"/>
              <a:gd name="connsiteY50" fmla="*/ 981075 h 1405628"/>
              <a:gd name="connsiteX51" fmla="*/ 73819 w 314325"/>
              <a:gd name="connsiteY51" fmla="*/ 990600 h 1405628"/>
              <a:gd name="connsiteX52" fmla="*/ 88106 w 314325"/>
              <a:gd name="connsiteY52" fmla="*/ 1004887 h 1405628"/>
              <a:gd name="connsiteX53" fmla="*/ 97631 w 314325"/>
              <a:gd name="connsiteY53" fmla="*/ 1009650 h 1405628"/>
              <a:gd name="connsiteX54" fmla="*/ 104775 w 314325"/>
              <a:gd name="connsiteY54" fmla="*/ 1023937 h 1405628"/>
              <a:gd name="connsiteX55" fmla="*/ 119062 w 314325"/>
              <a:gd name="connsiteY55" fmla="*/ 1033462 h 1405628"/>
              <a:gd name="connsiteX56" fmla="*/ 138112 w 314325"/>
              <a:gd name="connsiteY56" fmla="*/ 1052512 h 1405628"/>
              <a:gd name="connsiteX57" fmla="*/ 150019 w 314325"/>
              <a:gd name="connsiteY57" fmla="*/ 1059656 h 1405628"/>
              <a:gd name="connsiteX58" fmla="*/ 161925 w 314325"/>
              <a:gd name="connsiteY58" fmla="*/ 1078706 h 1405628"/>
              <a:gd name="connsiteX59" fmla="*/ 171450 w 314325"/>
              <a:gd name="connsiteY59" fmla="*/ 1083468 h 1405628"/>
              <a:gd name="connsiteX60" fmla="*/ 183356 w 314325"/>
              <a:gd name="connsiteY60" fmla="*/ 1092993 h 1405628"/>
              <a:gd name="connsiteX61" fmla="*/ 192881 w 314325"/>
              <a:gd name="connsiteY61" fmla="*/ 1102518 h 1405628"/>
              <a:gd name="connsiteX62" fmla="*/ 207169 w 314325"/>
              <a:gd name="connsiteY62" fmla="*/ 1131093 h 1405628"/>
              <a:gd name="connsiteX63" fmla="*/ 211931 w 314325"/>
              <a:gd name="connsiteY63" fmla="*/ 1140618 h 1405628"/>
              <a:gd name="connsiteX64" fmla="*/ 211931 w 314325"/>
              <a:gd name="connsiteY64" fmla="*/ 1197768 h 1405628"/>
              <a:gd name="connsiteX65" fmla="*/ 209550 w 314325"/>
              <a:gd name="connsiteY65" fmla="*/ 1226343 h 1405628"/>
              <a:gd name="connsiteX66" fmla="*/ 204787 w 314325"/>
              <a:gd name="connsiteY66" fmla="*/ 1235868 h 1405628"/>
              <a:gd name="connsiteX67" fmla="*/ 202406 w 314325"/>
              <a:gd name="connsiteY67" fmla="*/ 1266825 h 1405628"/>
              <a:gd name="connsiteX68" fmla="*/ 202406 w 314325"/>
              <a:gd name="connsiteY68" fmla="*/ 1295400 h 1405628"/>
              <a:gd name="connsiteX69" fmla="*/ 211931 w 314325"/>
              <a:gd name="connsiteY69" fmla="*/ 1316831 h 1405628"/>
              <a:gd name="connsiteX70" fmla="*/ 264868 w 314325"/>
              <a:gd name="connsiteY70" fmla="*/ 1405628 h 1405628"/>
              <a:gd name="connsiteX0" fmla="*/ 142875 w 264868"/>
              <a:gd name="connsiteY0" fmla="*/ 0 h 1196078"/>
              <a:gd name="connsiteX1" fmla="*/ 135731 w 264868"/>
              <a:gd name="connsiteY1" fmla="*/ 14287 h 1196078"/>
              <a:gd name="connsiteX2" fmla="*/ 121444 w 264868"/>
              <a:gd name="connsiteY2" fmla="*/ 38100 h 1196078"/>
              <a:gd name="connsiteX3" fmla="*/ 111919 w 264868"/>
              <a:gd name="connsiteY3" fmla="*/ 47625 h 1196078"/>
              <a:gd name="connsiteX4" fmla="*/ 100012 w 264868"/>
              <a:gd name="connsiteY4" fmla="*/ 64293 h 1196078"/>
              <a:gd name="connsiteX5" fmla="*/ 90487 w 264868"/>
              <a:gd name="connsiteY5" fmla="*/ 78581 h 1196078"/>
              <a:gd name="connsiteX6" fmla="*/ 83344 w 264868"/>
              <a:gd name="connsiteY6" fmla="*/ 95250 h 1196078"/>
              <a:gd name="connsiteX7" fmla="*/ 85725 w 264868"/>
              <a:gd name="connsiteY7" fmla="*/ 107156 h 1196078"/>
              <a:gd name="connsiteX8" fmla="*/ 85725 w 264868"/>
              <a:gd name="connsiteY8" fmla="*/ 126206 h 1196078"/>
              <a:gd name="connsiteX9" fmla="*/ 92869 w 264868"/>
              <a:gd name="connsiteY9" fmla="*/ 145256 h 1196078"/>
              <a:gd name="connsiteX10" fmla="*/ 100012 w 264868"/>
              <a:gd name="connsiteY10" fmla="*/ 159543 h 1196078"/>
              <a:gd name="connsiteX11" fmla="*/ 102394 w 264868"/>
              <a:gd name="connsiteY11" fmla="*/ 171450 h 1196078"/>
              <a:gd name="connsiteX12" fmla="*/ 111919 w 264868"/>
              <a:gd name="connsiteY12" fmla="*/ 185737 h 1196078"/>
              <a:gd name="connsiteX13" fmla="*/ 119062 w 264868"/>
              <a:gd name="connsiteY13" fmla="*/ 195262 h 1196078"/>
              <a:gd name="connsiteX14" fmla="*/ 123825 w 264868"/>
              <a:gd name="connsiteY14" fmla="*/ 202406 h 1196078"/>
              <a:gd name="connsiteX15" fmla="*/ 130969 w 264868"/>
              <a:gd name="connsiteY15" fmla="*/ 221456 h 1196078"/>
              <a:gd name="connsiteX16" fmla="*/ 123825 w 264868"/>
              <a:gd name="connsiteY16" fmla="*/ 235743 h 1196078"/>
              <a:gd name="connsiteX17" fmla="*/ 111919 w 264868"/>
              <a:gd name="connsiteY17" fmla="*/ 245268 h 1196078"/>
              <a:gd name="connsiteX18" fmla="*/ 102394 w 264868"/>
              <a:gd name="connsiteY18" fmla="*/ 252412 h 1196078"/>
              <a:gd name="connsiteX19" fmla="*/ 95250 w 264868"/>
              <a:gd name="connsiteY19" fmla="*/ 264318 h 1196078"/>
              <a:gd name="connsiteX20" fmla="*/ 95250 w 264868"/>
              <a:gd name="connsiteY20" fmla="*/ 278606 h 1196078"/>
              <a:gd name="connsiteX21" fmla="*/ 97631 w 264868"/>
              <a:gd name="connsiteY21" fmla="*/ 297656 h 1196078"/>
              <a:gd name="connsiteX22" fmla="*/ 80962 w 264868"/>
              <a:gd name="connsiteY22" fmla="*/ 307181 h 1196078"/>
              <a:gd name="connsiteX23" fmla="*/ 64294 w 264868"/>
              <a:gd name="connsiteY23" fmla="*/ 314325 h 1196078"/>
              <a:gd name="connsiteX24" fmla="*/ 42862 w 264868"/>
              <a:gd name="connsiteY24" fmla="*/ 388143 h 1196078"/>
              <a:gd name="connsiteX25" fmla="*/ 35719 w 264868"/>
              <a:gd name="connsiteY25" fmla="*/ 423862 h 1196078"/>
              <a:gd name="connsiteX26" fmla="*/ 28575 w 264868"/>
              <a:gd name="connsiteY26" fmla="*/ 438150 h 1196078"/>
              <a:gd name="connsiteX27" fmla="*/ 21431 w 264868"/>
              <a:gd name="connsiteY27" fmla="*/ 452437 h 1196078"/>
              <a:gd name="connsiteX28" fmla="*/ 9525 w 264868"/>
              <a:gd name="connsiteY28" fmla="*/ 476250 h 1196078"/>
              <a:gd name="connsiteX29" fmla="*/ 9525 w 264868"/>
              <a:gd name="connsiteY29" fmla="*/ 495300 h 1196078"/>
              <a:gd name="connsiteX30" fmla="*/ 2381 w 264868"/>
              <a:gd name="connsiteY30" fmla="*/ 511968 h 1196078"/>
              <a:gd name="connsiteX31" fmla="*/ 0 w 264868"/>
              <a:gd name="connsiteY31" fmla="*/ 533400 h 1196078"/>
              <a:gd name="connsiteX32" fmla="*/ 0 w 264868"/>
              <a:gd name="connsiteY32" fmla="*/ 547687 h 1196078"/>
              <a:gd name="connsiteX33" fmla="*/ 2381 w 264868"/>
              <a:gd name="connsiteY33" fmla="*/ 559593 h 1196078"/>
              <a:gd name="connsiteX34" fmla="*/ 7144 w 264868"/>
              <a:gd name="connsiteY34" fmla="*/ 576262 h 1196078"/>
              <a:gd name="connsiteX35" fmla="*/ 11906 w 264868"/>
              <a:gd name="connsiteY35" fmla="*/ 578643 h 1196078"/>
              <a:gd name="connsiteX36" fmla="*/ 19050 w 264868"/>
              <a:gd name="connsiteY36" fmla="*/ 588168 h 1196078"/>
              <a:gd name="connsiteX37" fmla="*/ 23812 w 264868"/>
              <a:gd name="connsiteY37" fmla="*/ 600075 h 1196078"/>
              <a:gd name="connsiteX38" fmla="*/ 33337 w 264868"/>
              <a:gd name="connsiteY38" fmla="*/ 616743 h 1196078"/>
              <a:gd name="connsiteX39" fmla="*/ 33337 w 264868"/>
              <a:gd name="connsiteY39" fmla="*/ 628650 h 1196078"/>
              <a:gd name="connsiteX40" fmla="*/ 35719 w 264868"/>
              <a:gd name="connsiteY40" fmla="*/ 650081 h 1196078"/>
              <a:gd name="connsiteX41" fmla="*/ 35719 w 264868"/>
              <a:gd name="connsiteY41" fmla="*/ 676275 h 1196078"/>
              <a:gd name="connsiteX42" fmla="*/ 35719 w 264868"/>
              <a:gd name="connsiteY42" fmla="*/ 683418 h 1196078"/>
              <a:gd name="connsiteX43" fmla="*/ 35719 w 264868"/>
              <a:gd name="connsiteY43" fmla="*/ 702468 h 1196078"/>
              <a:gd name="connsiteX44" fmla="*/ 35719 w 264868"/>
              <a:gd name="connsiteY44" fmla="*/ 714375 h 1196078"/>
              <a:gd name="connsiteX45" fmla="*/ 35719 w 264868"/>
              <a:gd name="connsiteY45" fmla="*/ 723900 h 1196078"/>
              <a:gd name="connsiteX46" fmla="*/ 42862 w 264868"/>
              <a:gd name="connsiteY46" fmla="*/ 742950 h 1196078"/>
              <a:gd name="connsiteX47" fmla="*/ 50006 w 264868"/>
              <a:gd name="connsiteY47" fmla="*/ 754856 h 1196078"/>
              <a:gd name="connsiteX48" fmla="*/ 59531 w 264868"/>
              <a:gd name="connsiteY48" fmla="*/ 764381 h 1196078"/>
              <a:gd name="connsiteX49" fmla="*/ 66675 w 264868"/>
              <a:gd name="connsiteY49" fmla="*/ 771525 h 1196078"/>
              <a:gd name="connsiteX50" fmla="*/ 73819 w 264868"/>
              <a:gd name="connsiteY50" fmla="*/ 781050 h 1196078"/>
              <a:gd name="connsiteX51" fmla="*/ 88106 w 264868"/>
              <a:gd name="connsiteY51" fmla="*/ 795337 h 1196078"/>
              <a:gd name="connsiteX52" fmla="*/ 97631 w 264868"/>
              <a:gd name="connsiteY52" fmla="*/ 800100 h 1196078"/>
              <a:gd name="connsiteX53" fmla="*/ 104775 w 264868"/>
              <a:gd name="connsiteY53" fmla="*/ 814387 h 1196078"/>
              <a:gd name="connsiteX54" fmla="*/ 119062 w 264868"/>
              <a:gd name="connsiteY54" fmla="*/ 823912 h 1196078"/>
              <a:gd name="connsiteX55" fmla="*/ 138112 w 264868"/>
              <a:gd name="connsiteY55" fmla="*/ 842962 h 1196078"/>
              <a:gd name="connsiteX56" fmla="*/ 150019 w 264868"/>
              <a:gd name="connsiteY56" fmla="*/ 850106 h 1196078"/>
              <a:gd name="connsiteX57" fmla="*/ 161925 w 264868"/>
              <a:gd name="connsiteY57" fmla="*/ 869156 h 1196078"/>
              <a:gd name="connsiteX58" fmla="*/ 171450 w 264868"/>
              <a:gd name="connsiteY58" fmla="*/ 873918 h 1196078"/>
              <a:gd name="connsiteX59" fmla="*/ 183356 w 264868"/>
              <a:gd name="connsiteY59" fmla="*/ 883443 h 1196078"/>
              <a:gd name="connsiteX60" fmla="*/ 192881 w 264868"/>
              <a:gd name="connsiteY60" fmla="*/ 892968 h 1196078"/>
              <a:gd name="connsiteX61" fmla="*/ 207169 w 264868"/>
              <a:gd name="connsiteY61" fmla="*/ 921543 h 1196078"/>
              <a:gd name="connsiteX62" fmla="*/ 211931 w 264868"/>
              <a:gd name="connsiteY62" fmla="*/ 931068 h 1196078"/>
              <a:gd name="connsiteX63" fmla="*/ 211931 w 264868"/>
              <a:gd name="connsiteY63" fmla="*/ 988218 h 1196078"/>
              <a:gd name="connsiteX64" fmla="*/ 209550 w 264868"/>
              <a:gd name="connsiteY64" fmla="*/ 1016793 h 1196078"/>
              <a:gd name="connsiteX65" fmla="*/ 204787 w 264868"/>
              <a:gd name="connsiteY65" fmla="*/ 1026318 h 1196078"/>
              <a:gd name="connsiteX66" fmla="*/ 202406 w 264868"/>
              <a:gd name="connsiteY66" fmla="*/ 1057275 h 1196078"/>
              <a:gd name="connsiteX67" fmla="*/ 202406 w 264868"/>
              <a:gd name="connsiteY67" fmla="*/ 1085850 h 1196078"/>
              <a:gd name="connsiteX68" fmla="*/ 211931 w 264868"/>
              <a:gd name="connsiteY68" fmla="*/ 1107281 h 1196078"/>
              <a:gd name="connsiteX69" fmla="*/ 264868 w 264868"/>
              <a:gd name="connsiteY69" fmla="*/ 1196078 h 1196078"/>
              <a:gd name="connsiteX0" fmla="*/ 135731 w 264868"/>
              <a:gd name="connsiteY0" fmla="*/ 0 h 1181791"/>
              <a:gd name="connsiteX1" fmla="*/ 121444 w 264868"/>
              <a:gd name="connsiteY1" fmla="*/ 23813 h 1181791"/>
              <a:gd name="connsiteX2" fmla="*/ 111919 w 264868"/>
              <a:gd name="connsiteY2" fmla="*/ 33338 h 1181791"/>
              <a:gd name="connsiteX3" fmla="*/ 100012 w 264868"/>
              <a:gd name="connsiteY3" fmla="*/ 50006 h 1181791"/>
              <a:gd name="connsiteX4" fmla="*/ 90487 w 264868"/>
              <a:gd name="connsiteY4" fmla="*/ 64294 h 1181791"/>
              <a:gd name="connsiteX5" fmla="*/ 83344 w 264868"/>
              <a:gd name="connsiteY5" fmla="*/ 80963 h 1181791"/>
              <a:gd name="connsiteX6" fmla="*/ 85725 w 264868"/>
              <a:gd name="connsiteY6" fmla="*/ 92869 h 1181791"/>
              <a:gd name="connsiteX7" fmla="*/ 85725 w 264868"/>
              <a:gd name="connsiteY7" fmla="*/ 111919 h 1181791"/>
              <a:gd name="connsiteX8" fmla="*/ 92869 w 264868"/>
              <a:gd name="connsiteY8" fmla="*/ 130969 h 1181791"/>
              <a:gd name="connsiteX9" fmla="*/ 100012 w 264868"/>
              <a:gd name="connsiteY9" fmla="*/ 145256 h 1181791"/>
              <a:gd name="connsiteX10" fmla="*/ 102394 w 264868"/>
              <a:gd name="connsiteY10" fmla="*/ 157163 h 1181791"/>
              <a:gd name="connsiteX11" fmla="*/ 111919 w 264868"/>
              <a:gd name="connsiteY11" fmla="*/ 171450 h 1181791"/>
              <a:gd name="connsiteX12" fmla="*/ 119062 w 264868"/>
              <a:gd name="connsiteY12" fmla="*/ 180975 h 1181791"/>
              <a:gd name="connsiteX13" fmla="*/ 123825 w 264868"/>
              <a:gd name="connsiteY13" fmla="*/ 188119 h 1181791"/>
              <a:gd name="connsiteX14" fmla="*/ 130969 w 264868"/>
              <a:gd name="connsiteY14" fmla="*/ 207169 h 1181791"/>
              <a:gd name="connsiteX15" fmla="*/ 123825 w 264868"/>
              <a:gd name="connsiteY15" fmla="*/ 221456 h 1181791"/>
              <a:gd name="connsiteX16" fmla="*/ 111919 w 264868"/>
              <a:gd name="connsiteY16" fmla="*/ 230981 h 1181791"/>
              <a:gd name="connsiteX17" fmla="*/ 102394 w 264868"/>
              <a:gd name="connsiteY17" fmla="*/ 238125 h 1181791"/>
              <a:gd name="connsiteX18" fmla="*/ 95250 w 264868"/>
              <a:gd name="connsiteY18" fmla="*/ 250031 h 1181791"/>
              <a:gd name="connsiteX19" fmla="*/ 95250 w 264868"/>
              <a:gd name="connsiteY19" fmla="*/ 264319 h 1181791"/>
              <a:gd name="connsiteX20" fmla="*/ 97631 w 264868"/>
              <a:gd name="connsiteY20" fmla="*/ 283369 h 1181791"/>
              <a:gd name="connsiteX21" fmla="*/ 80962 w 264868"/>
              <a:gd name="connsiteY21" fmla="*/ 292894 h 1181791"/>
              <a:gd name="connsiteX22" fmla="*/ 64294 w 264868"/>
              <a:gd name="connsiteY22" fmla="*/ 300038 h 1181791"/>
              <a:gd name="connsiteX23" fmla="*/ 42862 w 264868"/>
              <a:gd name="connsiteY23" fmla="*/ 373856 h 1181791"/>
              <a:gd name="connsiteX24" fmla="*/ 35719 w 264868"/>
              <a:gd name="connsiteY24" fmla="*/ 409575 h 1181791"/>
              <a:gd name="connsiteX25" fmla="*/ 28575 w 264868"/>
              <a:gd name="connsiteY25" fmla="*/ 423863 h 1181791"/>
              <a:gd name="connsiteX26" fmla="*/ 21431 w 264868"/>
              <a:gd name="connsiteY26" fmla="*/ 438150 h 1181791"/>
              <a:gd name="connsiteX27" fmla="*/ 9525 w 264868"/>
              <a:gd name="connsiteY27" fmla="*/ 461963 h 1181791"/>
              <a:gd name="connsiteX28" fmla="*/ 9525 w 264868"/>
              <a:gd name="connsiteY28" fmla="*/ 481013 h 1181791"/>
              <a:gd name="connsiteX29" fmla="*/ 2381 w 264868"/>
              <a:gd name="connsiteY29" fmla="*/ 497681 h 1181791"/>
              <a:gd name="connsiteX30" fmla="*/ 0 w 264868"/>
              <a:gd name="connsiteY30" fmla="*/ 519113 h 1181791"/>
              <a:gd name="connsiteX31" fmla="*/ 0 w 264868"/>
              <a:gd name="connsiteY31" fmla="*/ 533400 h 1181791"/>
              <a:gd name="connsiteX32" fmla="*/ 2381 w 264868"/>
              <a:gd name="connsiteY32" fmla="*/ 545306 h 1181791"/>
              <a:gd name="connsiteX33" fmla="*/ 7144 w 264868"/>
              <a:gd name="connsiteY33" fmla="*/ 561975 h 1181791"/>
              <a:gd name="connsiteX34" fmla="*/ 11906 w 264868"/>
              <a:gd name="connsiteY34" fmla="*/ 564356 h 1181791"/>
              <a:gd name="connsiteX35" fmla="*/ 19050 w 264868"/>
              <a:gd name="connsiteY35" fmla="*/ 573881 h 1181791"/>
              <a:gd name="connsiteX36" fmla="*/ 23812 w 264868"/>
              <a:gd name="connsiteY36" fmla="*/ 585788 h 1181791"/>
              <a:gd name="connsiteX37" fmla="*/ 33337 w 264868"/>
              <a:gd name="connsiteY37" fmla="*/ 602456 h 1181791"/>
              <a:gd name="connsiteX38" fmla="*/ 33337 w 264868"/>
              <a:gd name="connsiteY38" fmla="*/ 614363 h 1181791"/>
              <a:gd name="connsiteX39" fmla="*/ 35719 w 264868"/>
              <a:gd name="connsiteY39" fmla="*/ 635794 h 1181791"/>
              <a:gd name="connsiteX40" fmla="*/ 35719 w 264868"/>
              <a:gd name="connsiteY40" fmla="*/ 661988 h 1181791"/>
              <a:gd name="connsiteX41" fmla="*/ 35719 w 264868"/>
              <a:gd name="connsiteY41" fmla="*/ 669131 h 1181791"/>
              <a:gd name="connsiteX42" fmla="*/ 35719 w 264868"/>
              <a:gd name="connsiteY42" fmla="*/ 688181 h 1181791"/>
              <a:gd name="connsiteX43" fmla="*/ 35719 w 264868"/>
              <a:gd name="connsiteY43" fmla="*/ 700088 h 1181791"/>
              <a:gd name="connsiteX44" fmla="*/ 35719 w 264868"/>
              <a:gd name="connsiteY44" fmla="*/ 709613 h 1181791"/>
              <a:gd name="connsiteX45" fmla="*/ 42862 w 264868"/>
              <a:gd name="connsiteY45" fmla="*/ 728663 h 1181791"/>
              <a:gd name="connsiteX46" fmla="*/ 50006 w 264868"/>
              <a:gd name="connsiteY46" fmla="*/ 740569 h 1181791"/>
              <a:gd name="connsiteX47" fmla="*/ 59531 w 264868"/>
              <a:gd name="connsiteY47" fmla="*/ 750094 h 1181791"/>
              <a:gd name="connsiteX48" fmla="*/ 66675 w 264868"/>
              <a:gd name="connsiteY48" fmla="*/ 757238 h 1181791"/>
              <a:gd name="connsiteX49" fmla="*/ 73819 w 264868"/>
              <a:gd name="connsiteY49" fmla="*/ 766763 h 1181791"/>
              <a:gd name="connsiteX50" fmla="*/ 88106 w 264868"/>
              <a:gd name="connsiteY50" fmla="*/ 781050 h 1181791"/>
              <a:gd name="connsiteX51" fmla="*/ 97631 w 264868"/>
              <a:gd name="connsiteY51" fmla="*/ 785813 h 1181791"/>
              <a:gd name="connsiteX52" fmla="*/ 104775 w 264868"/>
              <a:gd name="connsiteY52" fmla="*/ 800100 h 1181791"/>
              <a:gd name="connsiteX53" fmla="*/ 119062 w 264868"/>
              <a:gd name="connsiteY53" fmla="*/ 809625 h 1181791"/>
              <a:gd name="connsiteX54" fmla="*/ 138112 w 264868"/>
              <a:gd name="connsiteY54" fmla="*/ 828675 h 1181791"/>
              <a:gd name="connsiteX55" fmla="*/ 150019 w 264868"/>
              <a:gd name="connsiteY55" fmla="*/ 835819 h 1181791"/>
              <a:gd name="connsiteX56" fmla="*/ 161925 w 264868"/>
              <a:gd name="connsiteY56" fmla="*/ 854869 h 1181791"/>
              <a:gd name="connsiteX57" fmla="*/ 171450 w 264868"/>
              <a:gd name="connsiteY57" fmla="*/ 859631 h 1181791"/>
              <a:gd name="connsiteX58" fmla="*/ 183356 w 264868"/>
              <a:gd name="connsiteY58" fmla="*/ 869156 h 1181791"/>
              <a:gd name="connsiteX59" fmla="*/ 192881 w 264868"/>
              <a:gd name="connsiteY59" fmla="*/ 878681 h 1181791"/>
              <a:gd name="connsiteX60" fmla="*/ 207169 w 264868"/>
              <a:gd name="connsiteY60" fmla="*/ 907256 h 1181791"/>
              <a:gd name="connsiteX61" fmla="*/ 211931 w 264868"/>
              <a:gd name="connsiteY61" fmla="*/ 916781 h 1181791"/>
              <a:gd name="connsiteX62" fmla="*/ 211931 w 264868"/>
              <a:gd name="connsiteY62" fmla="*/ 973931 h 1181791"/>
              <a:gd name="connsiteX63" fmla="*/ 209550 w 264868"/>
              <a:gd name="connsiteY63" fmla="*/ 1002506 h 1181791"/>
              <a:gd name="connsiteX64" fmla="*/ 204787 w 264868"/>
              <a:gd name="connsiteY64" fmla="*/ 1012031 h 1181791"/>
              <a:gd name="connsiteX65" fmla="*/ 202406 w 264868"/>
              <a:gd name="connsiteY65" fmla="*/ 1042988 h 1181791"/>
              <a:gd name="connsiteX66" fmla="*/ 202406 w 264868"/>
              <a:gd name="connsiteY66" fmla="*/ 1071563 h 1181791"/>
              <a:gd name="connsiteX67" fmla="*/ 211931 w 264868"/>
              <a:gd name="connsiteY67" fmla="*/ 1092994 h 1181791"/>
              <a:gd name="connsiteX68" fmla="*/ 264868 w 264868"/>
              <a:gd name="connsiteY68" fmla="*/ 1181791 h 1181791"/>
              <a:gd name="connsiteX0" fmla="*/ 135731 w 264868"/>
              <a:gd name="connsiteY0" fmla="*/ 0 h 1181791"/>
              <a:gd name="connsiteX1" fmla="*/ 124679 w 264868"/>
              <a:gd name="connsiteY1" fmla="*/ 11222 h 1181791"/>
              <a:gd name="connsiteX2" fmla="*/ 121444 w 264868"/>
              <a:gd name="connsiteY2" fmla="*/ 23813 h 1181791"/>
              <a:gd name="connsiteX3" fmla="*/ 111919 w 264868"/>
              <a:gd name="connsiteY3" fmla="*/ 33338 h 1181791"/>
              <a:gd name="connsiteX4" fmla="*/ 100012 w 264868"/>
              <a:gd name="connsiteY4" fmla="*/ 50006 h 1181791"/>
              <a:gd name="connsiteX5" fmla="*/ 90487 w 264868"/>
              <a:gd name="connsiteY5" fmla="*/ 64294 h 1181791"/>
              <a:gd name="connsiteX6" fmla="*/ 83344 w 264868"/>
              <a:gd name="connsiteY6" fmla="*/ 80963 h 1181791"/>
              <a:gd name="connsiteX7" fmla="*/ 85725 w 264868"/>
              <a:gd name="connsiteY7" fmla="*/ 92869 h 1181791"/>
              <a:gd name="connsiteX8" fmla="*/ 85725 w 264868"/>
              <a:gd name="connsiteY8" fmla="*/ 111919 h 1181791"/>
              <a:gd name="connsiteX9" fmla="*/ 92869 w 264868"/>
              <a:gd name="connsiteY9" fmla="*/ 130969 h 1181791"/>
              <a:gd name="connsiteX10" fmla="*/ 100012 w 264868"/>
              <a:gd name="connsiteY10" fmla="*/ 145256 h 1181791"/>
              <a:gd name="connsiteX11" fmla="*/ 102394 w 264868"/>
              <a:gd name="connsiteY11" fmla="*/ 157163 h 1181791"/>
              <a:gd name="connsiteX12" fmla="*/ 111919 w 264868"/>
              <a:gd name="connsiteY12" fmla="*/ 171450 h 1181791"/>
              <a:gd name="connsiteX13" fmla="*/ 119062 w 264868"/>
              <a:gd name="connsiteY13" fmla="*/ 180975 h 1181791"/>
              <a:gd name="connsiteX14" fmla="*/ 123825 w 264868"/>
              <a:gd name="connsiteY14" fmla="*/ 188119 h 1181791"/>
              <a:gd name="connsiteX15" fmla="*/ 130969 w 264868"/>
              <a:gd name="connsiteY15" fmla="*/ 207169 h 1181791"/>
              <a:gd name="connsiteX16" fmla="*/ 123825 w 264868"/>
              <a:gd name="connsiteY16" fmla="*/ 221456 h 1181791"/>
              <a:gd name="connsiteX17" fmla="*/ 111919 w 264868"/>
              <a:gd name="connsiteY17" fmla="*/ 230981 h 1181791"/>
              <a:gd name="connsiteX18" fmla="*/ 102394 w 264868"/>
              <a:gd name="connsiteY18" fmla="*/ 238125 h 1181791"/>
              <a:gd name="connsiteX19" fmla="*/ 95250 w 264868"/>
              <a:gd name="connsiteY19" fmla="*/ 250031 h 1181791"/>
              <a:gd name="connsiteX20" fmla="*/ 95250 w 264868"/>
              <a:gd name="connsiteY20" fmla="*/ 264319 h 1181791"/>
              <a:gd name="connsiteX21" fmla="*/ 97631 w 264868"/>
              <a:gd name="connsiteY21" fmla="*/ 283369 h 1181791"/>
              <a:gd name="connsiteX22" fmla="*/ 80962 w 264868"/>
              <a:gd name="connsiteY22" fmla="*/ 292894 h 1181791"/>
              <a:gd name="connsiteX23" fmla="*/ 64294 w 264868"/>
              <a:gd name="connsiteY23" fmla="*/ 300038 h 1181791"/>
              <a:gd name="connsiteX24" fmla="*/ 42862 w 264868"/>
              <a:gd name="connsiteY24" fmla="*/ 373856 h 1181791"/>
              <a:gd name="connsiteX25" fmla="*/ 35719 w 264868"/>
              <a:gd name="connsiteY25" fmla="*/ 409575 h 1181791"/>
              <a:gd name="connsiteX26" fmla="*/ 28575 w 264868"/>
              <a:gd name="connsiteY26" fmla="*/ 423863 h 1181791"/>
              <a:gd name="connsiteX27" fmla="*/ 21431 w 264868"/>
              <a:gd name="connsiteY27" fmla="*/ 438150 h 1181791"/>
              <a:gd name="connsiteX28" fmla="*/ 9525 w 264868"/>
              <a:gd name="connsiteY28" fmla="*/ 461963 h 1181791"/>
              <a:gd name="connsiteX29" fmla="*/ 9525 w 264868"/>
              <a:gd name="connsiteY29" fmla="*/ 481013 h 1181791"/>
              <a:gd name="connsiteX30" fmla="*/ 2381 w 264868"/>
              <a:gd name="connsiteY30" fmla="*/ 497681 h 1181791"/>
              <a:gd name="connsiteX31" fmla="*/ 0 w 264868"/>
              <a:gd name="connsiteY31" fmla="*/ 519113 h 1181791"/>
              <a:gd name="connsiteX32" fmla="*/ 0 w 264868"/>
              <a:gd name="connsiteY32" fmla="*/ 533400 h 1181791"/>
              <a:gd name="connsiteX33" fmla="*/ 2381 w 264868"/>
              <a:gd name="connsiteY33" fmla="*/ 545306 h 1181791"/>
              <a:gd name="connsiteX34" fmla="*/ 7144 w 264868"/>
              <a:gd name="connsiteY34" fmla="*/ 561975 h 1181791"/>
              <a:gd name="connsiteX35" fmla="*/ 11906 w 264868"/>
              <a:gd name="connsiteY35" fmla="*/ 564356 h 1181791"/>
              <a:gd name="connsiteX36" fmla="*/ 19050 w 264868"/>
              <a:gd name="connsiteY36" fmla="*/ 573881 h 1181791"/>
              <a:gd name="connsiteX37" fmla="*/ 23812 w 264868"/>
              <a:gd name="connsiteY37" fmla="*/ 585788 h 1181791"/>
              <a:gd name="connsiteX38" fmla="*/ 33337 w 264868"/>
              <a:gd name="connsiteY38" fmla="*/ 602456 h 1181791"/>
              <a:gd name="connsiteX39" fmla="*/ 33337 w 264868"/>
              <a:gd name="connsiteY39" fmla="*/ 614363 h 1181791"/>
              <a:gd name="connsiteX40" fmla="*/ 35719 w 264868"/>
              <a:gd name="connsiteY40" fmla="*/ 635794 h 1181791"/>
              <a:gd name="connsiteX41" fmla="*/ 35719 w 264868"/>
              <a:gd name="connsiteY41" fmla="*/ 661988 h 1181791"/>
              <a:gd name="connsiteX42" fmla="*/ 35719 w 264868"/>
              <a:gd name="connsiteY42" fmla="*/ 669131 h 1181791"/>
              <a:gd name="connsiteX43" fmla="*/ 35719 w 264868"/>
              <a:gd name="connsiteY43" fmla="*/ 688181 h 1181791"/>
              <a:gd name="connsiteX44" fmla="*/ 35719 w 264868"/>
              <a:gd name="connsiteY44" fmla="*/ 700088 h 1181791"/>
              <a:gd name="connsiteX45" fmla="*/ 35719 w 264868"/>
              <a:gd name="connsiteY45" fmla="*/ 709613 h 1181791"/>
              <a:gd name="connsiteX46" fmla="*/ 42862 w 264868"/>
              <a:gd name="connsiteY46" fmla="*/ 728663 h 1181791"/>
              <a:gd name="connsiteX47" fmla="*/ 50006 w 264868"/>
              <a:gd name="connsiteY47" fmla="*/ 740569 h 1181791"/>
              <a:gd name="connsiteX48" fmla="*/ 59531 w 264868"/>
              <a:gd name="connsiteY48" fmla="*/ 750094 h 1181791"/>
              <a:gd name="connsiteX49" fmla="*/ 66675 w 264868"/>
              <a:gd name="connsiteY49" fmla="*/ 757238 h 1181791"/>
              <a:gd name="connsiteX50" fmla="*/ 73819 w 264868"/>
              <a:gd name="connsiteY50" fmla="*/ 766763 h 1181791"/>
              <a:gd name="connsiteX51" fmla="*/ 88106 w 264868"/>
              <a:gd name="connsiteY51" fmla="*/ 781050 h 1181791"/>
              <a:gd name="connsiteX52" fmla="*/ 97631 w 264868"/>
              <a:gd name="connsiteY52" fmla="*/ 785813 h 1181791"/>
              <a:gd name="connsiteX53" fmla="*/ 104775 w 264868"/>
              <a:gd name="connsiteY53" fmla="*/ 800100 h 1181791"/>
              <a:gd name="connsiteX54" fmla="*/ 119062 w 264868"/>
              <a:gd name="connsiteY54" fmla="*/ 809625 h 1181791"/>
              <a:gd name="connsiteX55" fmla="*/ 138112 w 264868"/>
              <a:gd name="connsiteY55" fmla="*/ 828675 h 1181791"/>
              <a:gd name="connsiteX56" fmla="*/ 150019 w 264868"/>
              <a:gd name="connsiteY56" fmla="*/ 835819 h 1181791"/>
              <a:gd name="connsiteX57" fmla="*/ 161925 w 264868"/>
              <a:gd name="connsiteY57" fmla="*/ 854869 h 1181791"/>
              <a:gd name="connsiteX58" fmla="*/ 171450 w 264868"/>
              <a:gd name="connsiteY58" fmla="*/ 859631 h 1181791"/>
              <a:gd name="connsiteX59" fmla="*/ 183356 w 264868"/>
              <a:gd name="connsiteY59" fmla="*/ 869156 h 1181791"/>
              <a:gd name="connsiteX60" fmla="*/ 192881 w 264868"/>
              <a:gd name="connsiteY60" fmla="*/ 878681 h 1181791"/>
              <a:gd name="connsiteX61" fmla="*/ 207169 w 264868"/>
              <a:gd name="connsiteY61" fmla="*/ 907256 h 1181791"/>
              <a:gd name="connsiteX62" fmla="*/ 211931 w 264868"/>
              <a:gd name="connsiteY62" fmla="*/ 916781 h 1181791"/>
              <a:gd name="connsiteX63" fmla="*/ 211931 w 264868"/>
              <a:gd name="connsiteY63" fmla="*/ 973931 h 1181791"/>
              <a:gd name="connsiteX64" fmla="*/ 209550 w 264868"/>
              <a:gd name="connsiteY64" fmla="*/ 1002506 h 1181791"/>
              <a:gd name="connsiteX65" fmla="*/ 204787 w 264868"/>
              <a:gd name="connsiteY65" fmla="*/ 1012031 h 1181791"/>
              <a:gd name="connsiteX66" fmla="*/ 202406 w 264868"/>
              <a:gd name="connsiteY66" fmla="*/ 1042988 h 1181791"/>
              <a:gd name="connsiteX67" fmla="*/ 202406 w 264868"/>
              <a:gd name="connsiteY67" fmla="*/ 1071563 h 1181791"/>
              <a:gd name="connsiteX68" fmla="*/ 211931 w 264868"/>
              <a:gd name="connsiteY68" fmla="*/ 1092994 h 1181791"/>
              <a:gd name="connsiteX69" fmla="*/ 264868 w 264868"/>
              <a:gd name="connsiteY69" fmla="*/ 1181791 h 1181791"/>
              <a:gd name="connsiteX0" fmla="*/ 135731 w 264868"/>
              <a:gd name="connsiteY0" fmla="*/ 0 h 1181791"/>
              <a:gd name="connsiteX1" fmla="*/ 124679 w 264868"/>
              <a:gd name="connsiteY1" fmla="*/ 11222 h 1181791"/>
              <a:gd name="connsiteX2" fmla="*/ 121444 w 264868"/>
              <a:gd name="connsiteY2" fmla="*/ 23813 h 1181791"/>
              <a:gd name="connsiteX3" fmla="*/ 100012 w 264868"/>
              <a:gd name="connsiteY3" fmla="*/ 50006 h 1181791"/>
              <a:gd name="connsiteX4" fmla="*/ 90487 w 264868"/>
              <a:gd name="connsiteY4" fmla="*/ 64294 h 1181791"/>
              <a:gd name="connsiteX5" fmla="*/ 83344 w 264868"/>
              <a:gd name="connsiteY5" fmla="*/ 80963 h 1181791"/>
              <a:gd name="connsiteX6" fmla="*/ 85725 w 264868"/>
              <a:gd name="connsiteY6" fmla="*/ 92869 h 1181791"/>
              <a:gd name="connsiteX7" fmla="*/ 85725 w 264868"/>
              <a:gd name="connsiteY7" fmla="*/ 111919 h 1181791"/>
              <a:gd name="connsiteX8" fmla="*/ 92869 w 264868"/>
              <a:gd name="connsiteY8" fmla="*/ 130969 h 1181791"/>
              <a:gd name="connsiteX9" fmla="*/ 100012 w 264868"/>
              <a:gd name="connsiteY9" fmla="*/ 145256 h 1181791"/>
              <a:gd name="connsiteX10" fmla="*/ 102394 w 264868"/>
              <a:gd name="connsiteY10" fmla="*/ 157163 h 1181791"/>
              <a:gd name="connsiteX11" fmla="*/ 111919 w 264868"/>
              <a:gd name="connsiteY11" fmla="*/ 171450 h 1181791"/>
              <a:gd name="connsiteX12" fmla="*/ 119062 w 264868"/>
              <a:gd name="connsiteY12" fmla="*/ 180975 h 1181791"/>
              <a:gd name="connsiteX13" fmla="*/ 123825 w 264868"/>
              <a:gd name="connsiteY13" fmla="*/ 188119 h 1181791"/>
              <a:gd name="connsiteX14" fmla="*/ 130969 w 264868"/>
              <a:gd name="connsiteY14" fmla="*/ 207169 h 1181791"/>
              <a:gd name="connsiteX15" fmla="*/ 123825 w 264868"/>
              <a:gd name="connsiteY15" fmla="*/ 221456 h 1181791"/>
              <a:gd name="connsiteX16" fmla="*/ 111919 w 264868"/>
              <a:gd name="connsiteY16" fmla="*/ 230981 h 1181791"/>
              <a:gd name="connsiteX17" fmla="*/ 102394 w 264868"/>
              <a:gd name="connsiteY17" fmla="*/ 238125 h 1181791"/>
              <a:gd name="connsiteX18" fmla="*/ 95250 w 264868"/>
              <a:gd name="connsiteY18" fmla="*/ 250031 h 1181791"/>
              <a:gd name="connsiteX19" fmla="*/ 95250 w 264868"/>
              <a:gd name="connsiteY19" fmla="*/ 264319 h 1181791"/>
              <a:gd name="connsiteX20" fmla="*/ 97631 w 264868"/>
              <a:gd name="connsiteY20" fmla="*/ 283369 h 1181791"/>
              <a:gd name="connsiteX21" fmla="*/ 80962 w 264868"/>
              <a:gd name="connsiteY21" fmla="*/ 292894 h 1181791"/>
              <a:gd name="connsiteX22" fmla="*/ 64294 w 264868"/>
              <a:gd name="connsiteY22" fmla="*/ 300038 h 1181791"/>
              <a:gd name="connsiteX23" fmla="*/ 42862 w 264868"/>
              <a:gd name="connsiteY23" fmla="*/ 373856 h 1181791"/>
              <a:gd name="connsiteX24" fmla="*/ 35719 w 264868"/>
              <a:gd name="connsiteY24" fmla="*/ 409575 h 1181791"/>
              <a:gd name="connsiteX25" fmla="*/ 28575 w 264868"/>
              <a:gd name="connsiteY25" fmla="*/ 423863 h 1181791"/>
              <a:gd name="connsiteX26" fmla="*/ 21431 w 264868"/>
              <a:gd name="connsiteY26" fmla="*/ 438150 h 1181791"/>
              <a:gd name="connsiteX27" fmla="*/ 9525 w 264868"/>
              <a:gd name="connsiteY27" fmla="*/ 461963 h 1181791"/>
              <a:gd name="connsiteX28" fmla="*/ 9525 w 264868"/>
              <a:gd name="connsiteY28" fmla="*/ 481013 h 1181791"/>
              <a:gd name="connsiteX29" fmla="*/ 2381 w 264868"/>
              <a:gd name="connsiteY29" fmla="*/ 497681 h 1181791"/>
              <a:gd name="connsiteX30" fmla="*/ 0 w 264868"/>
              <a:gd name="connsiteY30" fmla="*/ 519113 h 1181791"/>
              <a:gd name="connsiteX31" fmla="*/ 0 w 264868"/>
              <a:gd name="connsiteY31" fmla="*/ 533400 h 1181791"/>
              <a:gd name="connsiteX32" fmla="*/ 2381 w 264868"/>
              <a:gd name="connsiteY32" fmla="*/ 545306 h 1181791"/>
              <a:gd name="connsiteX33" fmla="*/ 7144 w 264868"/>
              <a:gd name="connsiteY33" fmla="*/ 561975 h 1181791"/>
              <a:gd name="connsiteX34" fmla="*/ 11906 w 264868"/>
              <a:gd name="connsiteY34" fmla="*/ 564356 h 1181791"/>
              <a:gd name="connsiteX35" fmla="*/ 19050 w 264868"/>
              <a:gd name="connsiteY35" fmla="*/ 573881 h 1181791"/>
              <a:gd name="connsiteX36" fmla="*/ 23812 w 264868"/>
              <a:gd name="connsiteY36" fmla="*/ 585788 h 1181791"/>
              <a:gd name="connsiteX37" fmla="*/ 33337 w 264868"/>
              <a:gd name="connsiteY37" fmla="*/ 602456 h 1181791"/>
              <a:gd name="connsiteX38" fmla="*/ 33337 w 264868"/>
              <a:gd name="connsiteY38" fmla="*/ 614363 h 1181791"/>
              <a:gd name="connsiteX39" fmla="*/ 35719 w 264868"/>
              <a:gd name="connsiteY39" fmla="*/ 635794 h 1181791"/>
              <a:gd name="connsiteX40" fmla="*/ 35719 w 264868"/>
              <a:gd name="connsiteY40" fmla="*/ 661988 h 1181791"/>
              <a:gd name="connsiteX41" fmla="*/ 35719 w 264868"/>
              <a:gd name="connsiteY41" fmla="*/ 669131 h 1181791"/>
              <a:gd name="connsiteX42" fmla="*/ 35719 w 264868"/>
              <a:gd name="connsiteY42" fmla="*/ 688181 h 1181791"/>
              <a:gd name="connsiteX43" fmla="*/ 35719 w 264868"/>
              <a:gd name="connsiteY43" fmla="*/ 700088 h 1181791"/>
              <a:gd name="connsiteX44" fmla="*/ 35719 w 264868"/>
              <a:gd name="connsiteY44" fmla="*/ 709613 h 1181791"/>
              <a:gd name="connsiteX45" fmla="*/ 42862 w 264868"/>
              <a:gd name="connsiteY45" fmla="*/ 728663 h 1181791"/>
              <a:gd name="connsiteX46" fmla="*/ 50006 w 264868"/>
              <a:gd name="connsiteY46" fmla="*/ 740569 h 1181791"/>
              <a:gd name="connsiteX47" fmla="*/ 59531 w 264868"/>
              <a:gd name="connsiteY47" fmla="*/ 750094 h 1181791"/>
              <a:gd name="connsiteX48" fmla="*/ 66675 w 264868"/>
              <a:gd name="connsiteY48" fmla="*/ 757238 h 1181791"/>
              <a:gd name="connsiteX49" fmla="*/ 73819 w 264868"/>
              <a:gd name="connsiteY49" fmla="*/ 766763 h 1181791"/>
              <a:gd name="connsiteX50" fmla="*/ 88106 w 264868"/>
              <a:gd name="connsiteY50" fmla="*/ 781050 h 1181791"/>
              <a:gd name="connsiteX51" fmla="*/ 97631 w 264868"/>
              <a:gd name="connsiteY51" fmla="*/ 785813 h 1181791"/>
              <a:gd name="connsiteX52" fmla="*/ 104775 w 264868"/>
              <a:gd name="connsiteY52" fmla="*/ 800100 h 1181791"/>
              <a:gd name="connsiteX53" fmla="*/ 119062 w 264868"/>
              <a:gd name="connsiteY53" fmla="*/ 809625 h 1181791"/>
              <a:gd name="connsiteX54" fmla="*/ 138112 w 264868"/>
              <a:gd name="connsiteY54" fmla="*/ 828675 h 1181791"/>
              <a:gd name="connsiteX55" fmla="*/ 150019 w 264868"/>
              <a:gd name="connsiteY55" fmla="*/ 835819 h 1181791"/>
              <a:gd name="connsiteX56" fmla="*/ 161925 w 264868"/>
              <a:gd name="connsiteY56" fmla="*/ 854869 h 1181791"/>
              <a:gd name="connsiteX57" fmla="*/ 171450 w 264868"/>
              <a:gd name="connsiteY57" fmla="*/ 859631 h 1181791"/>
              <a:gd name="connsiteX58" fmla="*/ 183356 w 264868"/>
              <a:gd name="connsiteY58" fmla="*/ 869156 h 1181791"/>
              <a:gd name="connsiteX59" fmla="*/ 192881 w 264868"/>
              <a:gd name="connsiteY59" fmla="*/ 878681 h 1181791"/>
              <a:gd name="connsiteX60" fmla="*/ 207169 w 264868"/>
              <a:gd name="connsiteY60" fmla="*/ 907256 h 1181791"/>
              <a:gd name="connsiteX61" fmla="*/ 211931 w 264868"/>
              <a:gd name="connsiteY61" fmla="*/ 916781 h 1181791"/>
              <a:gd name="connsiteX62" fmla="*/ 211931 w 264868"/>
              <a:gd name="connsiteY62" fmla="*/ 973931 h 1181791"/>
              <a:gd name="connsiteX63" fmla="*/ 209550 w 264868"/>
              <a:gd name="connsiteY63" fmla="*/ 1002506 h 1181791"/>
              <a:gd name="connsiteX64" fmla="*/ 204787 w 264868"/>
              <a:gd name="connsiteY64" fmla="*/ 1012031 h 1181791"/>
              <a:gd name="connsiteX65" fmla="*/ 202406 w 264868"/>
              <a:gd name="connsiteY65" fmla="*/ 1042988 h 1181791"/>
              <a:gd name="connsiteX66" fmla="*/ 202406 w 264868"/>
              <a:gd name="connsiteY66" fmla="*/ 1071563 h 1181791"/>
              <a:gd name="connsiteX67" fmla="*/ 211931 w 264868"/>
              <a:gd name="connsiteY67" fmla="*/ 1092994 h 1181791"/>
              <a:gd name="connsiteX68" fmla="*/ 264868 w 264868"/>
              <a:gd name="connsiteY68" fmla="*/ 1181791 h 1181791"/>
              <a:gd name="connsiteX0" fmla="*/ 135731 w 264868"/>
              <a:gd name="connsiteY0" fmla="*/ 0 h 1181791"/>
              <a:gd name="connsiteX1" fmla="*/ 121444 w 264868"/>
              <a:gd name="connsiteY1" fmla="*/ 23813 h 1181791"/>
              <a:gd name="connsiteX2" fmla="*/ 100012 w 264868"/>
              <a:gd name="connsiteY2" fmla="*/ 50006 h 1181791"/>
              <a:gd name="connsiteX3" fmla="*/ 90487 w 264868"/>
              <a:gd name="connsiteY3" fmla="*/ 64294 h 1181791"/>
              <a:gd name="connsiteX4" fmla="*/ 83344 w 264868"/>
              <a:gd name="connsiteY4" fmla="*/ 80963 h 1181791"/>
              <a:gd name="connsiteX5" fmla="*/ 85725 w 264868"/>
              <a:gd name="connsiteY5" fmla="*/ 92869 h 1181791"/>
              <a:gd name="connsiteX6" fmla="*/ 85725 w 264868"/>
              <a:gd name="connsiteY6" fmla="*/ 111919 h 1181791"/>
              <a:gd name="connsiteX7" fmla="*/ 92869 w 264868"/>
              <a:gd name="connsiteY7" fmla="*/ 130969 h 1181791"/>
              <a:gd name="connsiteX8" fmla="*/ 100012 w 264868"/>
              <a:gd name="connsiteY8" fmla="*/ 145256 h 1181791"/>
              <a:gd name="connsiteX9" fmla="*/ 102394 w 264868"/>
              <a:gd name="connsiteY9" fmla="*/ 157163 h 1181791"/>
              <a:gd name="connsiteX10" fmla="*/ 111919 w 264868"/>
              <a:gd name="connsiteY10" fmla="*/ 171450 h 1181791"/>
              <a:gd name="connsiteX11" fmla="*/ 119062 w 264868"/>
              <a:gd name="connsiteY11" fmla="*/ 180975 h 1181791"/>
              <a:gd name="connsiteX12" fmla="*/ 123825 w 264868"/>
              <a:gd name="connsiteY12" fmla="*/ 188119 h 1181791"/>
              <a:gd name="connsiteX13" fmla="*/ 130969 w 264868"/>
              <a:gd name="connsiteY13" fmla="*/ 207169 h 1181791"/>
              <a:gd name="connsiteX14" fmla="*/ 123825 w 264868"/>
              <a:gd name="connsiteY14" fmla="*/ 221456 h 1181791"/>
              <a:gd name="connsiteX15" fmla="*/ 111919 w 264868"/>
              <a:gd name="connsiteY15" fmla="*/ 230981 h 1181791"/>
              <a:gd name="connsiteX16" fmla="*/ 102394 w 264868"/>
              <a:gd name="connsiteY16" fmla="*/ 238125 h 1181791"/>
              <a:gd name="connsiteX17" fmla="*/ 95250 w 264868"/>
              <a:gd name="connsiteY17" fmla="*/ 250031 h 1181791"/>
              <a:gd name="connsiteX18" fmla="*/ 95250 w 264868"/>
              <a:gd name="connsiteY18" fmla="*/ 264319 h 1181791"/>
              <a:gd name="connsiteX19" fmla="*/ 97631 w 264868"/>
              <a:gd name="connsiteY19" fmla="*/ 283369 h 1181791"/>
              <a:gd name="connsiteX20" fmla="*/ 80962 w 264868"/>
              <a:gd name="connsiteY20" fmla="*/ 292894 h 1181791"/>
              <a:gd name="connsiteX21" fmla="*/ 64294 w 264868"/>
              <a:gd name="connsiteY21" fmla="*/ 300038 h 1181791"/>
              <a:gd name="connsiteX22" fmla="*/ 42862 w 264868"/>
              <a:gd name="connsiteY22" fmla="*/ 373856 h 1181791"/>
              <a:gd name="connsiteX23" fmla="*/ 35719 w 264868"/>
              <a:gd name="connsiteY23" fmla="*/ 409575 h 1181791"/>
              <a:gd name="connsiteX24" fmla="*/ 28575 w 264868"/>
              <a:gd name="connsiteY24" fmla="*/ 423863 h 1181791"/>
              <a:gd name="connsiteX25" fmla="*/ 21431 w 264868"/>
              <a:gd name="connsiteY25" fmla="*/ 438150 h 1181791"/>
              <a:gd name="connsiteX26" fmla="*/ 9525 w 264868"/>
              <a:gd name="connsiteY26" fmla="*/ 461963 h 1181791"/>
              <a:gd name="connsiteX27" fmla="*/ 9525 w 264868"/>
              <a:gd name="connsiteY27" fmla="*/ 481013 h 1181791"/>
              <a:gd name="connsiteX28" fmla="*/ 2381 w 264868"/>
              <a:gd name="connsiteY28" fmla="*/ 497681 h 1181791"/>
              <a:gd name="connsiteX29" fmla="*/ 0 w 264868"/>
              <a:gd name="connsiteY29" fmla="*/ 519113 h 1181791"/>
              <a:gd name="connsiteX30" fmla="*/ 0 w 264868"/>
              <a:gd name="connsiteY30" fmla="*/ 533400 h 1181791"/>
              <a:gd name="connsiteX31" fmla="*/ 2381 w 264868"/>
              <a:gd name="connsiteY31" fmla="*/ 545306 h 1181791"/>
              <a:gd name="connsiteX32" fmla="*/ 7144 w 264868"/>
              <a:gd name="connsiteY32" fmla="*/ 561975 h 1181791"/>
              <a:gd name="connsiteX33" fmla="*/ 11906 w 264868"/>
              <a:gd name="connsiteY33" fmla="*/ 564356 h 1181791"/>
              <a:gd name="connsiteX34" fmla="*/ 19050 w 264868"/>
              <a:gd name="connsiteY34" fmla="*/ 573881 h 1181791"/>
              <a:gd name="connsiteX35" fmla="*/ 23812 w 264868"/>
              <a:gd name="connsiteY35" fmla="*/ 585788 h 1181791"/>
              <a:gd name="connsiteX36" fmla="*/ 33337 w 264868"/>
              <a:gd name="connsiteY36" fmla="*/ 602456 h 1181791"/>
              <a:gd name="connsiteX37" fmla="*/ 33337 w 264868"/>
              <a:gd name="connsiteY37" fmla="*/ 614363 h 1181791"/>
              <a:gd name="connsiteX38" fmla="*/ 35719 w 264868"/>
              <a:gd name="connsiteY38" fmla="*/ 635794 h 1181791"/>
              <a:gd name="connsiteX39" fmla="*/ 35719 w 264868"/>
              <a:gd name="connsiteY39" fmla="*/ 661988 h 1181791"/>
              <a:gd name="connsiteX40" fmla="*/ 35719 w 264868"/>
              <a:gd name="connsiteY40" fmla="*/ 669131 h 1181791"/>
              <a:gd name="connsiteX41" fmla="*/ 35719 w 264868"/>
              <a:gd name="connsiteY41" fmla="*/ 688181 h 1181791"/>
              <a:gd name="connsiteX42" fmla="*/ 35719 w 264868"/>
              <a:gd name="connsiteY42" fmla="*/ 700088 h 1181791"/>
              <a:gd name="connsiteX43" fmla="*/ 35719 w 264868"/>
              <a:gd name="connsiteY43" fmla="*/ 709613 h 1181791"/>
              <a:gd name="connsiteX44" fmla="*/ 42862 w 264868"/>
              <a:gd name="connsiteY44" fmla="*/ 728663 h 1181791"/>
              <a:gd name="connsiteX45" fmla="*/ 50006 w 264868"/>
              <a:gd name="connsiteY45" fmla="*/ 740569 h 1181791"/>
              <a:gd name="connsiteX46" fmla="*/ 59531 w 264868"/>
              <a:gd name="connsiteY46" fmla="*/ 750094 h 1181791"/>
              <a:gd name="connsiteX47" fmla="*/ 66675 w 264868"/>
              <a:gd name="connsiteY47" fmla="*/ 757238 h 1181791"/>
              <a:gd name="connsiteX48" fmla="*/ 73819 w 264868"/>
              <a:gd name="connsiteY48" fmla="*/ 766763 h 1181791"/>
              <a:gd name="connsiteX49" fmla="*/ 88106 w 264868"/>
              <a:gd name="connsiteY49" fmla="*/ 781050 h 1181791"/>
              <a:gd name="connsiteX50" fmla="*/ 97631 w 264868"/>
              <a:gd name="connsiteY50" fmla="*/ 785813 h 1181791"/>
              <a:gd name="connsiteX51" fmla="*/ 104775 w 264868"/>
              <a:gd name="connsiteY51" fmla="*/ 800100 h 1181791"/>
              <a:gd name="connsiteX52" fmla="*/ 119062 w 264868"/>
              <a:gd name="connsiteY52" fmla="*/ 809625 h 1181791"/>
              <a:gd name="connsiteX53" fmla="*/ 138112 w 264868"/>
              <a:gd name="connsiteY53" fmla="*/ 828675 h 1181791"/>
              <a:gd name="connsiteX54" fmla="*/ 150019 w 264868"/>
              <a:gd name="connsiteY54" fmla="*/ 835819 h 1181791"/>
              <a:gd name="connsiteX55" fmla="*/ 161925 w 264868"/>
              <a:gd name="connsiteY55" fmla="*/ 854869 h 1181791"/>
              <a:gd name="connsiteX56" fmla="*/ 171450 w 264868"/>
              <a:gd name="connsiteY56" fmla="*/ 859631 h 1181791"/>
              <a:gd name="connsiteX57" fmla="*/ 183356 w 264868"/>
              <a:gd name="connsiteY57" fmla="*/ 869156 h 1181791"/>
              <a:gd name="connsiteX58" fmla="*/ 192881 w 264868"/>
              <a:gd name="connsiteY58" fmla="*/ 878681 h 1181791"/>
              <a:gd name="connsiteX59" fmla="*/ 207169 w 264868"/>
              <a:gd name="connsiteY59" fmla="*/ 907256 h 1181791"/>
              <a:gd name="connsiteX60" fmla="*/ 211931 w 264868"/>
              <a:gd name="connsiteY60" fmla="*/ 916781 h 1181791"/>
              <a:gd name="connsiteX61" fmla="*/ 211931 w 264868"/>
              <a:gd name="connsiteY61" fmla="*/ 973931 h 1181791"/>
              <a:gd name="connsiteX62" fmla="*/ 209550 w 264868"/>
              <a:gd name="connsiteY62" fmla="*/ 1002506 h 1181791"/>
              <a:gd name="connsiteX63" fmla="*/ 204787 w 264868"/>
              <a:gd name="connsiteY63" fmla="*/ 1012031 h 1181791"/>
              <a:gd name="connsiteX64" fmla="*/ 202406 w 264868"/>
              <a:gd name="connsiteY64" fmla="*/ 1042988 h 1181791"/>
              <a:gd name="connsiteX65" fmla="*/ 202406 w 264868"/>
              <a:gd name="connsiteY65" fmla="*/ 1071563 h 1181791"/>
              <a:gd name="connsiteX66" fmla="*/ 211931 w 264868"/>
              <a:gd name="connsiteY66" fmla="*/ 1092994 h 1181791"/>
              <a:gd name="connsiteX67" fmla="*/ 264868 w 264868"/>
              <a:gd name="connsiteY67" fmla="*/ 1181791 h 1181791"/>
              <a:gd name="connsiteX0" fmla="*/ 135731 w 264868"/>
              <a:gd name="connsiteY0" fmla="*/ 0 h 1181791"/>
              <a:gd name="connsiteX1" fmla="*/ 100012 w 264868"/>
              <a:gd name="connsiteY1" fmla="*/ 50006 h 1181791"/>
              <a:gd name="connsiteX2" fmla="*/ 90487 w 264868"/>
              <a:gd name="connsiteY2" fmla="*/ 64294 h 1181791"/>
              <a:gd name="connsiteX3" fmla="*/ 83344 w 264868"/>
              <a:gd name="connsiteY3" fmla="*/ 80963 h 1181791"/>
              <a:gd name="connsiteX4" fmla="*/ 85725 w 264868"/>
              <a:gd name="connsiteY4" fmla="*/ 92869 h 1181791"/>
              <a:gd name="connsiteX5" fmla="*/ 85725 w 264868"/>
              <a:gd name="connsiteY5" fmla="*/ 111919 h 1181791"/>
              <a:gd name="connsiteX6" fmla="*/ 92869 w 264868"/>
              <a:gd name="connsiteY6" fmla="*/ 130969 h 1181791"/>
              <a:gd name="connsiteX7" fmla="*/ 100012 w 264868"/>
              <a:gd name="connsiteY7" fmla="*/ 145256 h 1181791"/>
              <a:gd name="connsiteX8" fmla="*/ 102394 w 264868"/>
              <a:gd name="connsiteY8" fmla="*/ 157163 h 1181791"/>
              <a:gd name="connsiteX9" fmla="*/ 111919 w 264868"/>
              <a:gd name="connsiteY9" fmla="*/ 171450 h 1181791"/>
              <a:gd name="connsiteX10" fmla="*/ 119062 w 264868"/>
              <a:gd name="connsiteY10" fmla="*/ 180975 h 1181791"/>
              <a:gd name="connsiteX11" fmla="*/ 123825 w 264868"/>
              <a:gd name="connsiteY11" fmla="*/ 188119 h 1181791"/>
              <a:gd name="connsiteX12" fmla="*/ 130969 w 264868"/>
              <a:gd name="connsiteY12" fmla="*/ 207169 h 1181791"/>
              <a:gd name="connsiteX13" fmla="*/ 123825 w 264868"/>
              <a:gd name="connsiteY13" fmla="*/ 221456 h 1181791"/>
              <a:gd name="connsiteX14" fmla="*/ 111919 w 264868"/>
              <a:gd name="connsiteY14" fmla="*/ 230981 h 1181791"/>
              <a:gd name="connsiteX15" fmla="*/ 102394 w 264868"/>
              <a:gd name="connsiteY15" fmla="*/ 238125 h 1181791"/>
              <a:gd name="connsiteX16" fmla="*/ 95250 w 264868"/>
              <a:gd name="connsiteY16" fmla="*/ 250031 h 1181791"/>
              <a:gd name="connsiteX17" fmla="*/ 95250 w 264868"/>
              <a:gd name="connsiteY17" fmla="*/ 264319 h 1181791"/>
              <a:gd name="connsiteX18" fmla="*/ 97631 w 264868"/>
              <a:gd name="connsiteY18" fmla="*/ 283369 h 1181791"/>
              <a:gd name="connsiteX19" fmla="*/ 80962 w 264868"/>
              <a:gd name="connsiteY19" fmla="*/ 292894 h 1181791"/>
              <a:gd name="connsiteX20" fmla="*/ 64294 w 264868"/>
              <a:gd name="connsiteY20" fmla="*/ 300038 h 1181791"/>
              <a:gd name="connsiteX21" fmla="*/ 42862 w 264868"/>
              <a:gd name="connsiteY21" fmla="*/ 373856 h 1181791"/>
              <a:gd name="connsiteX22" fmla="*/ 35719 w 264868"/>
              <a:gd name="connsiteY22" fmla="*/ 409575 h 1181791"/>
              <a:gd name="connsiteX23" fmla="*/ 28575 w 264868"/>
              <a:gd name="connsiteY23" fmla="*/ 423863 h 1181791"/>
              <a:gd name="connsiteX24" fmla="*/ 21431 w 264868"/>
              <a:gd name="connsiteY24" fmla="*/ 438150 h 1181791"/>
              <a:gd name="connsiteX25" fmla="*/ 9525 w 264868"/>
              <a:gd name="connsiteY25" fmla="*/ 461963 h 1181791"/>
              <a:gd name="connsiteX26" fmla="*/ 9525 w 264868"/>
              <a:gd name="connsiteY26" fmla="*/ 481013 h 1181791"/>
              <a:gd name="connsiteX27" fmla="*/ 2381 w 264868"/>
              <a:gd name="connsiteY27" fmla="*/ 497681 h 1181791"/>
              <a:gd name="connsiteX28" fmla="*/ 0 w 264868"/>
              <a:gd name="connsiteY28" fmla="*/ 519113 h 1181791"/>
              <a:gd name="connsiteX29" fmla="*/ 0 w 264868"/>
              <a:gd name="connsiteY29" fmla="*/ 533400 h 1181791"/>
              <a:gd name="connsiteX30" fmla="*/ 2381 w 264868"/>
              <a:gd name="connsiteY30" fmla="*/ 545306 h 1181791"/>
              <a:gd name="connsiteX31" fmla="*/ 7144 w 264868"/>
              <a:gd name="connsiteY31" fmla="*/ 561975 h 1181791"/>
              <a:gd name="connsiteX32" fmla="*/ 11906 w 264868"/>
              <a:gd name="connsiteY32" fmla="*/ 564356 h 1181791"/>
              <a:gd name="connsiteX33" fmla="*/ 19050 w 264868"/>
              <a:gd name="connsiteY33" fmla="*/ 573881 h 1181791"/>
              <a:gd name="connsiteX34" fmla="*/ 23812 w 264868"/>
              <a:gd name="connsiteY34" fmla="*/ 585788 h 1181791"/>
              <a:gd name="connsiteX35" fmla="*/ 33337 w 264868"/>
              <a:gd name="connsiteY35" fmla="*/ 602456 h 1181791"/>
              <a:gd name="connsiteX36" fmla="*/ 33337 w 264868"/>
              <a:gd name="connsiteY36" fmla="*/ 614363 h 1181791"/>
              <a:gd name="connsiteX37" fmla="*/ 35719 w 264868"/>
              <a:gd name="connsiteY37" fmla="*/ 635794 h 1181791"/>
              <a:gd name="connsiteX38" fmla="*/ 35719 w 264868"/>
              <a:gd name="connsiteY38" fmla="*/ 661988 h 1181791"/>
              <a:gd name="connsiteX39" fmla="*/ 35719 w 264868"/>
              <a:gd name="connsiteY39" fmla="*/ 669131 h 1181791"/>
              <a:gd name="connsiteX40" fmla="*/ 35719 w 264868"/>
              <a:gd name="connsiteY40" fmla="*/ 688181 h 1181791"/>
              <a:gd name="connsiteX41" fmla="*/ 35719 w 264868"/>
              <a:gd name="connsiteY41" fmla="*/ 700088 h 1181791"/>
              <a:gd name="connsiteX42" fmla="*/ 35719 w 264868"/>
              <a:gd name="connsiteY42" fmla="*/ 709613 h 1181791"/>
              <a:gd name="connsiteX43" fmla="*/ 42862 w 264868"/>
              <a:gd name="connsiteY43" fmla="*/ 728663 h 1181791"/>
              <a:gd name="connsiteX44" fmla="*/ 50006 w 264868"/>
              <a:gd name="connsiteY44" fmla="*/ 740569 h 1181791"/>
              <a:gd name="connsiteX45" fmla="*/ 59531 w 264868"/>
              <a:gd name="connsiteY45" fmla="*/ 750094 h 1181791"/>
              <a:gd name="connsiteX46" fmla="*/ 66675 w 264868"/>
              <a:gd name="connsiteY46" fmla="*/ 757238 h 1181791"/>
              <a:gd name="connsiteX47" fmla="*/ 73819 w 264868"/>
              <a:gd name="connsiteY47" fmla="*/ 766763 h 1181791"/>
              <a:gd name="connsiteX48" fmla="*/ 88106 w 264868"/>
              <a:gd name="connsiteY48" fmla="*/ 781050 h 1181791"/>
              <a:gd name="connsiteX49" fmla="*/ 97631 w 264868"/>
              <a:gd name="connsiteY49" fmla="*/ 785813 h 1181791"/>
              <a:gd name="connsiteX50" fmla="*/ 104775 w 264868"/>
              <a:gd name="connsiteY50" fmla="*/ 800100 h 1181791"/>
              <a:gd name="connsiteX51" fmla="*/ 119062 w 264868"/>
              <a:gd name="connsiteY51" fmla="*/ 809625 h 1181791"/>
              <a:gd name="connsiteX52" fmla="*/ 138112 w 264868"/>
              <a:gd name="connsiteY52" fmla="*/ 828675 h 1181791"/>
              <a:gd name="connsiteX53" fmla="*/ 150019 w 264868"/>
              <a:gd name="connsiteY53" fmla="*/ 835819 h 1181791"/>
              <a:gd name="connsiteX54" fmla="*/ 161925 w 264868"/>
              <a:gd name="connsiteY54" fmla="*/ 854869 h 1181791"/>
              <a:gd name="connsiteX55" fmla="*/ 171450 w 264868"/>
              <a:gd name="connsiteY55" fmla="*/ 859631 h 1181791"/>
              <a:gd name="connsiteX56" fmla="*/ 183356 w 264868"/>
              <a:gd name="connsiteY56" fmla="*/ 869156 h 1181791"/>
              <a:gd name="connsiteX57" fmla="*/ 192881 w 264868"/>
              <a:gd name="connsiteY57" fmla="*/ 878681 h 1181791"/>
              <a:gd name="connsiteX58" fmla="*/ 207169 w 264868"/>
              <a:gd name="connsiteY58" fmla="*/ 907256 h 1181791"/>
              <a:gd name="connsiteX59" fmla="*/ 211931 w 264868"/>
              <a:gd name="connsiteY59" fmla="*/ 916781 h 1181791"/>
              <a:gd name="connsiteX60" fmla="*/ 211931 w 264868"/>
              <a:gd name="connsiteY60" fmla="*/ 973931 h 1181791"/>
              <a:gd name="connsiteX61" fmla="*/ 209550 w 264868"/>
              <a:gd name="connsiteY61" fmla="*/ 1002506 h 1181791"/>
              <a:gd name="connsiteX62" fmla="*/ 204787 w 264868"/>
              <a:gd name="connsiteY62" fmla="*/ 1012031 h 1181791"/>
              <a:gd name="connsiteX63" fmla="*/ 202406 w 264868"/>
              <a:gd name="connsiteY63" fmla="*/ 1042988 h 1181791"/>
              <a:gd name="connsiteX64" fmla="*/ 202406 w 264868"/>
              <a:gd name="connsiteY64" fmla="*/ 1071563 h 1181791"/>
              <a:gd name="connsiteX65" fmla="*/ 211931 w 264868"/>
              <a:gd name="connsiteY65" fmla="*/ 1092994 h 1181791"/>
              <a:gd name="connsiteX66" fmla="*/ 264868 w 264868"/>
              <a:gd name="connsiteY66" fmla="*/ 1181791 h 1181791"/>
              <a:gd name="connsiteX0" fmla="*/ 100012 w 264868"/>
              <a:gd name="connsiteY0" fmla="*/ 0 h 1131785"/>
              <a:gd name="connsiteX1" fmla="*/ 90487 w 264868"/>
              <a:gd name="connsiteY1" fmla="*/ 14288 h 1131785"/>
              <a:gd name="connsiteX2" fmla="*/ 83344 w 264868"/>
              <a:gd name="connsiteY2" fmla="*/ 30957 h 1131785"/>
              <a:gd name="connsiteX3" fmla="*/ 85725 w 264868"/>
              <a:gd name="connsiteY3" fmla="*/ 42863 h 1131785"/>
              <a:gd name="connsiteX4" fmla="*/ 85725 w 264868"/>
              <a:gd name="connsiteY4" fmla="*/ 61913 h 1131785"/>
              <a:gd name="connsiteX5" fmla="*/ 92869 w 264868"/>
              <a:gd name="connsiteY5" fmla="*/ 80963 h 1131785"/>
              <a:gd name="connsiteX6" fmla="*/ 100012 w 264868"/>
              <a:gd name="connsiteY6" fmla="*/ 95250 h 1131785"/>
              <a:gd name="connsiteX7" fmla="*/ 102394 w 264868"/>
              <a:gd name="connsiteY7" fmla="*/ 107157 h 1131785"/>
              <a:gd name="connsiteX8" fmla="*/ 111919 w 264868"/>
              <a:gd name="connsiteY8" fmla="*/ 121444 h 1131785"/>
              <a:gd name="connsiteX9" fmla="*/ 119062 w 264868"/>
              <a:gd name="connsiteY9" fmla="*/ 130969 h 1131785"/>
              <a:gd name="connsiteX10" fmla="*/ 123825 w 264868"/>
              <a:gd name="connsiteY10" fmla="*/ 138113 h 1131785"/>
              <a:gd name="connsiteX11" fmla="*/ 130969 w 264868"/>
              <a:gd name="connsiteY11" fmla="*/ 157163 h 1131785"/>
              <a:gd name="connsiteX12" fmla="*/ 123825 w 264868"/>
              <a:gd name="connsiteY12" fmla="*/ 171450 h 1131785"/>
              <a:gd name="connsiteX13" fmla="*/ 111919 w 264868"/>
              <a:gd name="connsiteY13" fmla="*/ 180975 h 1131785"/>
              <a:gd name="connsiteX14" fmla="*/ 102394 w 264868"/>
              <a:gd name="connsiteY14" fmla="*/ 188119 h 1131785"/>
              <a:gd name="connsiteX15" fmla="*/ 95250 w 264868"/>
              <a:gd name="connsiteY15" fmla="*/ 200025 h 1131785"/>
              <a:gd name="connsiteX16" fmla="*/ 95250 w 264868"/>
              <a:gd name="connsiteY16" fmla="*/ 214313 h 1131785"/>
              <a:gd name="connsiteX17" fmla="*/ 97631 w 264868"/>
              <a:gd name="connsiteY17" fmla="*/ 233363 h 1131785"/>
              <a:gd name="connsiteX18" fmla="*/ 80962 w 264868"/>
              <a:gd name="connsiteY18" fmla="*/ 242888 h 1131785"/>
              <a:gd name="connsiteX19" fmla="*/ 64294 w 264868"/>
              <a:gd name="connsiteY19" fmla="*/ 250032 h 1131785"/>
              <a:gd name="connsiteX20" fmla="*/ 42862 w 264868"/>
              <a:gd name="connsiteY20" fmla="*/ 323850 h 1131785"/>
              <a:gd name="connsiteX21" fmla="*/ 35719 w 264868"/>
              <a:gd name="connsiteY21" fmla="*/ 359569 h 1131785"/>
              <a:gd name="connsiteX22" fmla="*/ 28575 w 264868"/>
              <a:gd name="connsiteY22" fmla="*/ 373857 h 1131785"/>
              <a:gd name="connsiteX23" fmla="*/ 21431 w 264868"/>
              <a:gd name="connsiteY23" fmla="*/ 388144 h 1131785"/>
              <a:gd name="connsiteX24" fmla="*/ 9525 w 264868"/>
              <a:gd name="connsiteY24" fmla="*/ 411957 h 1131785"/>
              <a:gd name="connsiteX25" fmla="*/ 9525 w 264868"/>
              <a:gd name="connsiteY25" fmla="*/ 431007 h 1131785"/>
              <a:gd name="connsiteX26" fmla="*/ 2381 w 264868"/>
              <a:gd name="connsiteY26" fmla="*/ 447675 h 1131785"/>
              <a:gd name="connsiteX27" fmla="*/ 0 w 264868"/>
              <a:gd name="connsiteY27" fmla="*/ 469107 h 1131785"/>
              <a:gd name="connsiteX28" fmla="*/ 0 w 264868"/>
              <a:gd name="connsiteY28" fmla="*/ 483394 h 1131785"/>
              <a:gd name="connsiteX29" fmla="*/ 2381 w 264868"/>
              <a:gd name="connsiteY29" fmla="*/ 495300 h 1131785"/>
              <a:gd name="connsiteX30" fmla="*/ 7144 w 264868"/>
              <a:gd name="connsiteY30" fmla="*/ 511969 h 1131785"/>
              <a:gd name="connsiteX31" fmla="*/ 11906 w 264868"/>
              <a:gd name="connsiteY31" fmla="*/ 514350 h 1131785"/>
              <a:gd name="connsiteX32" fmla="*/ 19050 w 264868"/>
              <a:gd name="connsiteY32" fmla="*/ 523875 h 1131785"/>
              <a:gd name="connsiteX33" fmla="*/ 23812 w 264868"/>
              <a:gd name="connsiteY33" fmla="*/ 535782 h 1131785"/>
              <a:gd name="connsiteX34" fmla="*/ 33337 w 264868"/>
              <a:gd name="connsiteY34" fmla="*/ 552450 h 1131785"/>
              <a:gd name="connsiteX35" fmla="*/ 33337 w 264868"/>
              <a:gd name="connsiteY35" fmla="*/ 564357 h 1131785"/>
              <a:gd name="connsiteX36" fmla="*/ 35719 w 264868"/>
              <a:gd name="connsiteY36" fmla="*/ 585788 h 1131785"/>
              <a:gd name="connsiteX37" fmla="*/ 35719 w 264868"/>
              <a:gd name="connsiteY37" fmla="*/ 611982 h 1131785"/>
              <a:gd name="connsiteX38" fmla="*/ 35719 w 264868"/>
              <a:gd name="connsiteY38" fmla="*/ 619125 h 1131785"/>
              <a:gd name="connsiteX39" fmla="*/ 35719 w 264868"/>
              <a:gd name="connsiteY39" fmla="*/ 638175 h 1131785"/>
              <a:gd name="connsiteX40" fmla="*/ 35719 w 264868"/>
              <a:gd name="connsiteY40" fmla="*/ 650082 h 1131785"/>
              <a:gd name="connsiteX41" fmla="*/ 35719 w 264868"/>
              <a:gd name="connsiteY41" fmla="*/ 659607 h 1131785"/>
              <a:gd name="connsiteX42" fmla="*/ 42862 w 264868"/>
              <a:gd name="connsiteY42" fmla="*/ 678657 h 1131785"/>
              <a:gd name="connsiteX43" fmla="*/ 50006 w 264868"/>
              <a:gd name="connsiteY43" fmla="*/ 690563 h 1131785"/>
              <a:gd name="connsiteX44" fmla="*/ 59531 w 264868"/>
              <a:gd name="connsiteY44" fmla="*/ 700088 h 1131785"/>
              <a:gd name="connsiteX45" fmla="*/ 66675 w 264868"/>
              <a:gd name="connsiteY45" fmla="*/ 707232 h 1131785"/>
              <a:gd name="connsiteX46" fmla="*/ 73819 w 264868"/>
              <a:gd name="connsiteY46" fmla="*/ 716757 h 1131785"/>
              <a:gd name="connsiteX47" fmla="*/ 88106 w 264868"/>
              <a:gd name="connsiteY47" fmla="*/ 731044 h 1131785"/>
              <a:gd name="connsiteX48" fmla="*/ 97631 w 264868"/>
              <a:gd name="connsiteY48" fmla="*/ 735807 h 1131785"/>
              <a:gd name="connsiteX49" fmla="*/ 104775 w 264868"/>
              <a:gd name="connsiteY49" fmla="*/ 750094 h 1131785"/>
              <a:gd name="connsiteX50" fmla="*/ 119062 w 264868"/>
              <a:gd name="connsiteY50" fmla="*/ 759619 h 1131785"/>
              <a:gd name="connsiteX51" fmla="*/ 138112 w 264868"/>
              <a:gd name="connsiteY51" fmla="*/ 778669 h 1131785"/>
              <a:gd name="connsiteX52" fmla="*/ 150019 w 264868"/>
              <a:gd name="connsiteY52" fmla="*/ 785813 h 1131785"/>
              <a:gd name="connsiteX53" fmla="*/ 161925 w 264868"/>
              <a:gd name="connsiteY53" fmla="*/ 804863 h 1131785"/>
              <a:gd name="connsiteX54" fmla="*/ 171450 w 264868"/>
              <a:gd name="connsiteY54" fmla="*/ 809625 h 1131785"/>
              <a:gd name="connsiteX55" fmla="*/ 183356 w 264868"/>
              <a:gd name="connsiteY55" fmla="*/ 819150 h 1131785"/>
              <a:gd name="connsiteX56" fmla="*/ 192881 w 264868"/>
              <a:gd name="connsiteY56" fmla="*/ 828675 h 1131785"/>
              <a:gd name="connsiteX57" fmla="*/ 207169 w 264868"/>
              <a:gd name="connsiteY57" fmla="*/ 857250 h 1131785"/>
              <a:gd name="connsiteX58" fmla="*/ 211931 w 264868"/>
              <a:gd name="connsiteY58" fmla="*/ 866775 h 1131785"/>
              <a:gd name="connsiteX59" fmla="*/ 211931 w 264868"/>
              <a:gd name="connsiteY59" fmla="*/ 923925 h 1131785"/>
              <a:gd name="connsiteX60" fmla="*/ 209550 w 264868"/>
              <a:gd name="connsiteY60" fmla="*/ 952500 h 1131785"/>
              <a:gd name="connsiteX61" fmla="*/ 204787 w 264868"/>
              <a:gd name="connsiteY61" fmla="*/ 962025 h 1131785"/>
              <a:gd name="connsiteX62" fmla="*/ 202406 w 264868"/>
              <a:gd name="connsiteY62" fmla="*/ 992982 h 1131785"/>
              <a:gd name="connsiteX63" fmla="*/ 202406 w 264868"/>
              <a:gd name="connsiteY63" fmla="*/ 1021557 h 1131785"/>
              <a:gd name="connsiteX64" fmla="*/ 211931 w 264868"/>
              <a:gd name="connsiteY64" fmla="*/ 1042988 h 1131785"/>
              <a:gd name="connsiteX65" fmla="*/ 264868 w 264868"/>
              <a:gd name="connsiteY65" fmla="*/ 1131785 h 1131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264868" h="1131785">
                <a:moveTo>
                  <a:pt x="100012" y="0"/>
                </a:moveTo>
                <a:cubicBezTo>
                  <a:pt x="92471" y="10716"/>
                  <a:pt x="93265" y="9129"/>
                  <a:pt x="90487" y="14288"/>
                </a:cubicBezTo>
                <a:cubicBezTo>
                  <a:pt x="87709" y="19447"/>
                  <a:pt x="84138" y="26195"/>
                  <a:pt x="83344" y="30957"/>
                </a:cubicBezTo>
                <a:cubicBezTo>
                  <a:pt x="82550" y="35719"/>
                  <a:pt x="85328" y="37704"/>
                  <a:pt x="85725" y="42863"/>
                </a:cubicBezTo>
                <a:cubicBezTo>
                  <a:pt x="86122" y="48022"/>
                  <a:pt x="84534" y="55563"/>
                  <a:pt x="85725" y="61913"/>
                </a:cubicBezTo>
                <a:cubicBezTo>
                  <a:pt x="86916" y="68263"/>
                  <a:pt x="90488" y="75407"/>
                  <a:pt x="92869" y="80963"/>
                </a:cubicBezTo>
                <a:cubicBezTo>
                  <a:pt x="95250" y="86519"/>
                  <a:pt x="98425" y="90884"/>
                  <a:pt x="100012" y="95250"/>
                </a:cubicBezTo>
                <a:cubicBezTo>
                  <a:pt x="101599" y="99616"/>
                  <a:pt x="100410" y="102791"/>
                  <a:pt x="102394" y="107157"/>
                </a:cubicBezTo>
                <a:cubicBezTo>
                  <a:pt x="104378" y="111523"/>
                  <a:pt x="109141" y="117475"/>
                  <a:pt x="111919" y="121444"/>
                </a:cubicBezTo>
                <a:cubicBezTo>
                  <a:pt x="114697" y="125413"/>
                  <a:pt x="117078" y="128191"/>
                  <a:pt x="119062" y="130969"/>
                </a:cubicBezTo>
                <a:cubicBezTo>
                  <a:pt x="121046" y="133747"/>
                  <a:pt x="121841" y="133747"/>
                  <a:pt x="123825" y="138113"/>
                </a:cubicBezTo>
                <a:cubicBezTo>
                  <a:pt x="125809" y="142479"/>
                  <a:pt x="130969" y="151607"/>
                  <a:pt x="130969" y="157163"/>
                </a:cubicBezTo>
                <a:cubicBezTo>
                  <a:pt x="130969" y="162719"/>
                  <a:pt x="127000" y="167481"/>
                  <a:pt x="123825" y="171450"/>
                </a:cubicBezTo>
                <a:cubicBezTo>
                  <a:pt x="120650" y="175419"/>
                  <a:pt x="115491" y="178197"/>
                  <a:pt x="111919" y="180975"/>
                </a:cubicBezTo>
                <a:cubicBezTo>
                  <a:pt x="108347" y="183753"/>
                  <a:pt x="105172" y="184944"/>
                  <a:pt x="102394" y="188119"/>
                </a:cubicBezTo>
                <a:cubicBezTo>
                  <a:pt x="99616" y="191294"/>
                  <a:pt x="96441" y="195659"/>
                  <a:pt x="95250" y="200025"/>
                </a:cubicBezTo>
                <a:cubicBezTo>
                  <a:pt x="94059" y="204391"/>
                  <a:pt x="94853" y="208757"/>
                  <a:pt x="95250" y="214313"/>
                </a:cubicBezTo>
                <a:cubicBezTo>
                  <a:pt x="95647" y="219869"/>
                  <a:pt x="100012" y="228601"/>
                  <a:pt x="97631" y="233363"/>
                </a:cubicBezTo>
                <a:cubicBezTo>
                  <a:pt x="95250" y="238125"/>
                  <a:pt x="86518" y="240110"/>
                  <a:pt x="80962" y="242888"/>
                </a:cubicBezTo>
                <a:cubicBezTo>
                  <a:pt x="75406" y="245666"/>
                  <a:pt x="70644" y="236538"/>
                  <a:pt x="64294" y="250032"/>
                </a:cubicBezTo>
                <a:cubicBezTo>
                  <a:pt x="57944" y="263526"/>
                  <a:pt x="47624" y="305594"/>
                  <a:pt x="42862" y="323850"/>
                </a:cubicBezTo>
                <a:cubicBezTo>
                  <a:pt x="38100" y="342106"/>
                  <a:pt x="38100" y="351235"/>
                  <a:pt x="35719" y="359569"/>
                </a:cubicBezTo>
                <a:cubicBezTo>
                  <a:pt x="33338" y="367903"/>
                  <a:pt x="28575" y="373857"/>
                  <a:pt x="28575" y="373857"/>
                </a:cubicBezTo>
                <a:lnTo>
                  <a:pt x="21431" y="388144"/>
                </a:lnTo>
                <a:cubicBezTo>
                  <a:pt x="18256" y="394494"/>
                  <a:pt x="11509" y="404813"/>
                  <a:pt x="9525" y="411957"/>
                </a:cubicBezTo>
                <a:cubicBezTo>
                  <a:pt x="7541" y="419101"/>
                  <a:pt x="10716" y="425054"/>
                  <a:pt x="9525" y="431007"/>
                </a:cubicBezTo>
                <a:cubicBezTo>
                  <a:pt x="8334" y="436960"/>
                  <a:pt x="3968" y="441325"/>
                  <a:pt x="2381" y="447675"/>
                </a:cubicBezTo>
                <a:cubicBezTo>
                  <a:pt x="793" y="454025"/>
                  <a:pt x="397" y="463154"/>
                  <a:pt x="0" y="469107"/>
                </a:cubicBezTo>
                <a:cubicBezTo>
                  <a:pt x="-397" y="475060"/>
                  <a:pt x="-397" y="479029"/>
                  <a:pt x="0" y="483394"/>
                </a:cubicBezTo>
                <a:cubicBezTo>
                  <a:pt x="397" y="487759"/>
                  <a:pt x="1190" y="490538"/>
                  <a:pt x="2381" y="495300"/>
                </a:cubicBezTo>
                <a:cubicBezTo>
                  <a:pt x="3572" y="500062"/>
                  <a:pt x="5557" y="508794"/>
                  <a:pt x="7144" y="511969"/>
                </a:cubicBezTo>
                <a:cubicBezTo>
                  <a:pt x="8731" y="515144"/>
                  <a:pt x="9922" y="512366"/>
                  <a:pt x="11906" y="514350"/>
                </a:cubicBezTo>
                <a:cubicBezTo>
                  <a:pt x="13890" y="516334"/>
                  <a:pt x="17066" y="520303"/>
                  <a:pt x="19050" y="523875"/>
                </a:cubicBezTo>
                <a:cubicBezTo>
                  <a:pt x="21034" y="527447"/>
                  <a:pt x="21431" y="531020"/>
                  <a:pt x="23812" y="535782"/>
                </a:cubicBezTo>
                <a:cubicBezTo>
                  <a:pt x="26193" y="540544"/>
                  <a:pt x="31750" y="547688"/>
                  <a:pt x="33337" y="552450"/>
                </a:cubicBezTo>
                <a:cubicBezTo>
                  <a:pt x="34924" y="557212"/>
                  <a:pt x="32940" y="558801"/>
                  <a:pt x="33337" y="564357"/>
                </a:cubicBezTo>
                <a:cubicBezTo>
                  <a:pt x="33734" y="569913"/>
                  <a:pt x="35322" y="577851"/>
                  <a:pt x="35719" y="585788"/>
                </a:cubicBezTo>
                <a:cubicBezTo>
                  <a:pt x="36116" y="593725"/>
                  <a:pt x="35719" y="611982"/>
                  <a:pt x="35719" y="611982"/>
                </a:cubicBezTo>
                <a:lnTo>
                  <a:pt x="35719" y="619125"/>
                </a:lnTo>
                <a:lnTo>
                  <a:pt x="35719" y="638175"/>
                </a:lnTo>
                <a:lnTo>
                  <a:pt x="35719" y="650082"/>
                </a:lnTo>
                <a:cubicBezTo>
                  <a:pt x="35719" y="653654"/>
                  <a:pt x="34528" y="654844"/>
                  <a:pt x="35719" y="659607"/>
                </a:cubicBezTo>
                <a:cubicBezTo>
                  <a:pt x="36910" y="664370"/>
                  <a:pt x="40481" y="673498"/>
                  <a:pt x="42862" y="678657"/>
                </a:cubicBezTo>
                <a:cubicBezTo>
                  <a:pt x="45243" y="683816"/>
                  <a:pt x="47228" y="686991"/>
                  <a:pt x="50006" y="690563"/>
                </a:cubicBezTo>
                <a:cubicBezTo>
                  <a:pt x="52784" y="694135"/>
                  <a:pt x="59531" y="700088"/>
                  <a:pt x="59531" y="700088"/>
                </a:cubicBezTo>
                <a:cubicBezTo>
                  <a:pt x="62309" y="702866"/>
                  <a:pt x="64294" y="704454"/>
                  <a:pt x="66675" y="707232"/>
                </a:cubicBezTo>
                <a:cubicBezTo>
                  <a:pt x="69056" y="710010"/>
                  <a:pt x="70247" y="712788"/>
                  <a:pt x="73819" y="716757"/>
                </a:cubicBezTo>
                <a:cubicBezTo>
                  <a:pt x="77391" y="720726"/>
                  <a:pt x="84137" y="727869"/>
                  <a:pt x="88106" y="731044"/>
                </a:cubicBezTo>
                <a:cubicBezTo>
                  <a:pt x="92075" y="734219"/>
                  <a:pt x="94853" y="732632"/>
                  <a:pt x="97631" y="735807"/>
                </a:cubicBezTo>
                <a:cubicBezTo>
                  <a:pt x="100409" y="738982"/>
                  <a:pt x="101203" y="746125"/>
                  <a:pt x="104775" y="750094"/>
                </a:cubicBezTo>
                <a:cubicBezTo>
                  <a:pt x="108347" y="754063"/>
                  <a:pt x="113506" y="754857"/>
                  <a:pt x="119062" y="759619"/>
                </a:cubicBezTo>
                <a:cubicBezTo>
                  <a:pt x="124618" y="764381"/>
                  <a:pt x="132952" y="774303"/>
                  <a:pt x="138112" y="778669"/>
                </a:cubicBezTo>
                <a:cubicBezTo>
                  <a:pt x="143271" y="783035"/>
                  <a:pt x="146050" y="781447"/>
                  <a:pt x="150019" y="785813"/>
                </a:cubicBezTo>
                <a:cubicBezTo>
                  <a:pt x="153988" y="790179"/>
                  <a:pt x="158353" y="800894"/>
                  <a:pt x="161925" y="804863"/>
                </a:cubicBezTo>
                <a:cubicBezTo>
                  <a:pt x="165497" y="808832"/>
                  <a:pt x="167878" y="807244"/>
                  <a:pt x="171450" y="809625"/>
                </a:cubicBezTo>
                <a:cubicBezTo>
                  <a:pt x="175022" y="812006"/>
                  <a:pt x="179784" y="815975"/>
                  <a:pt x="183356" y="819150"/>
                </a:cubicBezTo>
                <a:cubicBezTo>
                  <a:pt x="186928" y="822325"/>
                  <a:pt x="188912" y="822325"/>
                  <a:pt x="192881" y="828675"/>
                </a:cubicBezTo>
                <a:cubicBezTo>
                  <a:pt x="196850" y="835025"/>
                  <a:pt x="207169" y="857250"/>
                  <a:pt x="207169" y="857250"/>
                </a:cubicBezTo>
                <a:cubicBezTo>
                  <a:pt x="210344" y="863600"/>
                  <a:pt x="211137" y="855663"/>
                  <a:pt x="211931" y="866775"/>
                </a:cubicBezTo>
                <a:cubicBezTo>
                  <a:pt x="212725" y="877887"/>
                  <a:pt x="212328" y="909638"/>
                  <a:pt x="211931" y="923925"/>
                </a:cubicBezTo>
                <a:cubicBezTo>
                  <a:pt x="211534" y="938212"/>
                  <a:pt x="210741" y="946150"/>
                  <a:pt x="209550" y="952500"/>
                </a:cubicBezTo>
                <a:cubicBezTo>
                  <a:pt x="208359" y="958850"/>
                  <a:pt x="205978" y="955278"/>
                  <a:pt x="204787" y="962025"/>
                </a:cubicBezTo>
                <a:cubicBezTo>
                  <a:pt x="203596" y="968772"/>
                  <a:pt x="202803" y="983060"/>
                  <a:pt x="202406" y="992982"/>
                </a:cubicBezTo>
                <a:cubicBezTo>
                  <a:pt x="202009" y="1002904"/>
                  <a:pt x="200819" y="1013223"/>
                  <a:pt x="202406" y="1021557"/>
                </a:cubicBezTo>
                <a:cubicBezTo>
                  <a:pt x="203993" y="1029891"/>
                  <a:pt x="207962" y="1035845"/>
                  <a:pt x="211931" y="1042988"/>
                </a:cubicBezTo>
                <a:cubicBezTo>
                  <a:pt x="215900" y="1050131"/>
                  <a:pt x="264868" y="1131785"/>
                  <a:pt x="264868" y="1131785"/>
                </a:cubicBezTo>
              </a:path>
            </a:pathLst>
          </a:custGeom>
          <a:ln w="11684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2699792" y="2977746"/>
            <a:ext cx="1406679" cy="1981420"/>
          </a:xfrm>
          <a:custGeom>
            <a:avLst/>
            <a:gdLst>
              <a:gd name="connsiteX0" fmla="*/ 727258 w 1007268"/>
              <a:gd name="connsiteY0" fmla="*/ 0 h 1790700"/>
              <a:gd name="connsiteX1" fmla="*/ 755833 w 1007268"/>
              <a:gd name="connsiteY1" fmla="*/ 47625 h 1790700"/>
              <a:gd name="connsiteX2" fmla="*/ 768533 w 1007268"/>
              <a:gd name="connsiteY2" fmla="*/ 73025 h 1790700"/>
              <a:gd name="connsiteX3" fmla="*/ 784408 w 1007268"/>
              <a:gd name="connsiteY3" fmla="*/ 82550 h 1790700"/>
              <a:gd name="connsiteX4" fmla="*/ 797108 w 1007268"/>
              <a:gd name="connsiteY4" fmla="*/ 92075 h 1790700"/>
              <a:gd name="connsiteX5" fmla="*/ 803458 w 1007268"/>
              <a:gd name="connsiteY5" fmla="*/ 98425 h 1790700"/>
              <a:gd name="connsiteX6" fmla="*/ 803458 w 1007268"/>
              <a:gd name="connsiteY6" fmla="*/ 127000 h 1790700"/>
              <a:gd name="connsiteX7" fmla="*/ 803458 w 1007268"/>
              <a:gd name="connsiteY7" fmla="*/ 149225 h 1790700"/>
              <a:gd name="connsiteX8" fmla="*/ 806633 w 1007268"/>
              <a:gd name="connsiteY8" fmla="*/ 168275 h 1790700"/>
              <a:gd name="connsiteX9" fmla="*/ 806633 w 1007268"/>
              <a:gd name="connsiteY9" fmla="*/ 177800 h 1790700"/>
              <a:gd name="connsiteX10" fmla="*/ 797108 w 1007268"/>
              <a:gd name="connsiteY10" fmla="*/ 190500 h 1790700"/>
              <a:gd name="connsiteX11" fmla="*/ 793933 w 1007268"/>
              <a:gd name="connsiteY11" fmla="*/ 219075 h 1790700"/>
              <a:gd name="connsiteX12" fmla="*/ 793933 w 1007268"/>
              <a:gd name="connsiteY12" fmla="*/ 231775 h 1790700"/>
              <a:gd name="connsiteX13" fmla="*/ 803458 w 1007268"/>
              <a:gd name="connsiteY13" fmla="*/ 254000 h 1790700"/>
              <a:gd name="connsiteX14" fmla="*/ 816158 w 1007268"/>
              <a:gd name="connsiteY14" fmla="*/ 269875 h 1790700"/>
              <a:gd name="connsiteX15" fmla="*/ 825683 w 1007268"/>
              <a:gd name="connsiteY15" fmla="*/ 285750 h 1790700"/>
              <a:gd name="connsiteX16" fmla="*/ 828858 w 1007268"/>
              <a:gd name="connsiteY16" fmla="*/ 295275 h 1790700"/>
              <a:gd name="connsiteX17" fmla="*/ 825683 w 1007268"/>
              <a:gd name="connsiteY17" fmla="*/ 342900 h 1790700"/>
              <a:gd name="connsiteX18" fmla="*/ 819333 w 1007268"/>
              <a:gd name="connsiteY18" fmla="*/ 365125 h 1790700"/>
              <a:gd name="connsiteX19" fmla="*/ 812983 w 1007268"/>
              <a:gd name="connsiteY19" fmla="*/ 400050 h 1790700"/>
              <a:gd name="connsiteX20" fmla="*/ 806633 w 1007268"/>
              <a:gd name="connsiteY20" fmla="*/ 438150 h 1790700"/>
              <a:gd name="connsiteX21" fmla="*/ 809808 w 1007268"/>
              <a:gd name="connsiteY21" fmla="*/ 466725 h 1790700"/>
              <a:gd name="connsiteX22" fmla="*/ 816158 w 1007268"/>
              <a:gd name="connsiteY22" fmla="*/ 501650 h 1790700"/>
              <a:gd name="connsiteX23" fmla="*/ 838383 w 1007268"/>
              <a:gd name="connsiteY23" fmla="*/ 536575 h 1790700"/>
              <a:gd name="connsiteX24" fmla="*/ 847908 w 1007268"/>
              <a:gd name="connsiteY24" fmla="*/ 542925 h 1790700"/>
              <a:gd name="connsiteX25" fmla="*/ 860608 w 1007268"/>
              <a:gd name="connsiteY25" fmla="*/ 558800 h 1790700"/>
              <a:gd name="connsiteX26" fmla="*/ 873308 w 1007268"/>
              <a:gd name="connsiteY26" fmla="*/ 568325 h 1790700"/>
              <a:gd name="connsiteX27" fmla="*/ 898708 w 1007268"/>
              <a:gd name="connsiteY27" fmla="*/ 600075 h 1790700"/>
              <a:gd name="connsiteX28" fmla="*/ 943158 w 1007268"/>
              <a:gd name="connsiteY28" fmla="*/ 625475 h 1790700"/>
              <a:gd name="connsiteX29" fmla="*/ 968558 w 1007268"/>
              <a:gd name="connsiteY29" fmla="*/ 641350 h 1790700"/>
              <a:gd name="connsiteX30" fmla="*/ 984433 w 1007268"/>
              <a:gd name="connsiteY30" fmla="*/ 657225 h 1790700"/>
              <a:gd name="connsiteX31" fmla="*/ 1000308 w 1007268"/>
              <a:gd name="connsiteY31" fmla="*/ 676275 h 1790700"/>
              <a:gd name="connsiteX32" fmla="*/ 1006658 w 1007268"/>
              <a:gd name="connsiteY32" fmla="*/ 701675 h 1790700"/>
              <a:gd name="connsiteX33" fmla="*/ 1006658 w 1007268"/>
              <a:gd name="connsiteY33" fmla="*/ 723900 h 1790700"/>
              <a:gd name="connsiteX34" fmla="*/ 1003483 w 1007268"/>
              <a:gd name="connsiteY34" fmla="*/ 739775 h 1790700"/>
              <a:gd name="connsiteX35" fmla="*/ 997133 w 1007268"/>
              <a:gd name="connsiteY35" fmla="*/ 749300 h 1790700"/>
              <a:gd name="connsiteX36" fmla="*/ 1000308 w 1007268"/>
              <a:gd name="connsiteY36" fmla="*/ 765175 h 1790700"/>
              <a:gd name="connsiteX37" fmla="*/ 1003483 w 1007268"/>
              <a:gd name="connsiteY37" fmla="*/ 777875 h 1790700"/>
              <a:gd name="connsiteX38" fmla="*/ 990783 w 1007268"/>
              <a:gd name="connsiteY38" fmla="*/ 800100 h 1790700"/>
              <a:gd name="connsiteX39" fmla="*/ 984433 w 1007268"/>
              <a:gd name="connsiteY39" fmla="*/ 819150 h 1790700"/>
              <a:gd name="connsiteX40" fmla="*/ 984433 w 1007268"/>
              <a:gd name="connsiteY40" fmla="*/ 831850 h 1790700"/>
              <a:gd name="connsiteX41" fmla="*/ 974908 w 1007268"/>
              <a:gd name="connsiteY41" fmla="*/ 847725 h 1790700"/>
              <a:gd name="connsiteX42" fmla="*/ 974908 w 1007268"/>
              <a:gd name="connsiteY42" fmla="*/ 857250 h 1790700"/>
              <a:gd name="connsiteX43" fmla="*/ 968558 w 1007268"/>
              <a:gd name="connsiteY43" fmla="*/ 876300 h 1790700"/>
              <a:gd name="connsiteX44" fmla="*/ 965383 w 1007268"/>
              <a:gd name="connsiteY44" fmla="*/ 898525 h 1790700"/>
              <a:gd name="connsiteX45" fmla="*/ 952683 w 1007268"/>
              <a:gd name="connsiteY45" fmla="*/ 911225 h 1790700"/>
              <a:gd name="connsiteX46" fmla="*/ 946333 w 1007268"/>
              <a:gd name="connsiteY46" fmla="*/ 927100 h 1790700"/>
              <a:gd name="connsiteX47" fmla="*/ 939983 w 1007268"/>
              <a:gd name="connsiteY47" fmla="*/ 936625 h 1790700"/>
              <a:gd name="connsiteX48" fmla="*/ 936808 w 1007268"/>
              <a:gd name="connsiteY48" fmla="*/ 949325 h 1790700"/>
              <a:gd name="connsiteX49" fmla="*/ 936808 w 1007268"/>
              <a:gd name="connsiteY49" fmla="*/ 955675 h 1790700"/>
              <a:gd name="connsiteX50" fmla="*/ 936808 w 1007268"/>
              <a:gd name="connsiteY50" fmla="*/ 974725 h 1790700"/>
              <a:gd name="connsiteX51" fmla="*/ 936808 w 1007268"/>
              <a:gd name="connsiteY51" fmla="*/ 993775 h 1790700"/>
              <a:gd name="connsiteX52" fmla="*/ 946333 w 1007268"/>
              <a:gd name="connsiteY52" fmla="*/ 1000125 h 1790700"/>
              <a:gd name="connsiteX53" fmla="*/ 952683 w 1007268"/>
              <a:gd name="connsiteY53" fmla="*/ 1012825 h 1790700"/>
              <a:gd name="connsiteX54" fmla="*/ 949508 w 1007268"/>
              <a:gd name="connsiteY54" fmla="*/ 1019175 h 1790700"/>
              <a:gd name="connsiteX55" fmla="*/ 949508 w 1007268"/>
              <a:gd name="connsiteY55" fmla="*/ 1038225 h 1790700"/>
              <a:gd name="connsiteX56" fmla="*/ 939983 w 1007268"/>
              <a:gd name="connsiteY56" fmla="*/ 1038225 h 1790700"/>
              <a:gd name="connsiteX57" fmla="*/ 920933 w 1007268"/>
              <a:gd name="connsiteY57" fmla="*/ 1038225 h 1790700"/>
              <a:gd name="connsiteX58" fmla="*/ 905058 w 1007268"/>
              <a:gd name="connsiteY58" fmla="*/ 1038225 h 1790700"/>
              <a:gd name="connsiteX59" fmla="*/ 886008 w 1007268"/>
              <a:gd name="connsiteY59" fmla="*/ 1044575 h 1790700"/>
              <a:gd name="connsiteX60" fmla="*/ 870133 w 1007268"/>
              <a:gd name="connsiteY60" fmla="*/ 1050925 h 1790700"/>
              <a:gd name="connsiteX61" fmla="*/ 854258 w 1007268"/>
              <a:gd name="connsiteY61" fmla="*/ 1054100 h 1790700"/>
              <a:gd name="connsiteX62" fmla="*/ 835208 w 1007268"/>
              <a:gd name="connsiteY62" fmla="*/ 1054100 h 1790700"/>
              <a:gd name="connsiteX63" fmla="*/ 822508 w 1007268"/>
              <a:gd name="connsiteY63" fmla="*/ 1047750 h 1790700"/>
              <a:gd name="connsiteX64" fmla="*/ 793933 w 1007268"/>
              <a:gd name="connsiteY64" fmla="*/ 1063625 h 1790700"/>
              <a:gd name="connsiteX65" fmla="*/ 803458 w 1007268"/>
              <a:gd name="connsiteY65" fmla="*/ 1069975 h 1790700"/>
              <a:gd name="connsiteX66" fmla="*/ 819333 w 1007268"/>
              <a:gd name="connsiteY66" fmla="*/ 1079500 h 1790700"/>
              <a:gd name="connsiteX67" fmla="*/ 819333 w 1007268"/>
              <a:gd name="connsiteY67" fmla="*/ 1092200 h 1790700"/>
              <a:gd name="connsiteX68" fmla="*/ 819333 w 1007268"/>
              <a:gd name="connsiteY68" fmla="*/ 1108075 h 1790700"/>
              <a:gd name="connsiteX69" fmla="*/ 809808 w 1007268"/>
              <a:gd name="connsiteY69" fmla="*/ 1114425 h 1790700"/>
              <a:gd name="connsiteX70" fmla="*/ 803458 w 1007268"/>
              <a:gd name="connsiteY70" fmla="*/ 1133475 h 1790700"/>
              <a:gd name="connsiteX71" fmla="*/ 803458 w 1007268"/>
              <a:gd name="connsiteY71" fmla="*/ 1139825 h 1790700"/>
              <a:gd name="connsiteX72" fmla="*/ 803458 w 1007268"/>
              <a:gd name="connsiteY72" fmla="*/ 1152525 h 1790700"/>
              <a:gd name="connsiteX73" fmla="*/ 803458 w 1007268"/>
              <a:gd name="connsiteY73" fmla="*/ 1165225 h 1790700"/>
              <a:gd name="connsiteX74" fmla="*/ 790758 w 1007268"/>
              <a:gd name="connsiteY74" fmla="*/ 1177925 h 1790700"/>
              <a:gd name="connsiteX75" fmla="*/ 762183 w 1007268"/>
              <a:gd name="connsiteY75" fmla="*/ 1200150 h 1790700"/>
              <a:gd name="connsiteX76" fmla="*/ 759008 w 1007268"/>
              <a:gd name="connsiteY76" fmla="*/ 1219200 h 1790700"/>
              <a:gd name="connsiteX77" fmla="*/ 755833 w 1007268"/>
              <a:gd name="connsiteY77" fmla="*/ 1254125 h 1790700"/>
              <a:gd name="connsiteX78" fmla="*/ 759008 w 1007268"/>
              <a:gd name="connsiteY78" fmla="*/ 1260475 h 1790700"/>
              <a:gd name="connsiteX79" fmla="*/ 752658 w 1007268"/>
              <a:gd name="connsiteY79" fmla="*/ 1276350 h 1790700"/>
              <a:gd name="connsiteX80" fmla="*/ 743133 w 1007268"/>
              <a:gd name="connsiteY80" fmla="*/ 1282700 h 1790700"/>
              <a:gd name="connsiteX81" fmla="*/ 730433 w 1007268"/>
              <a:gd name="connsiteY81" fmla="*/ 1295400 h 1790700"/>
              <a:gd name="connsiteX82" fmla="*/ 714558 w 1007268"/>
              <a:gd name="connsiteY82" fmla="*/ 1308100 h 1790700"/>
              <a:gd name="connsiteX83" fmla="*/ 705033 w 1007268"/>
              <a:gd name="connsiteY83" fmla="*/ 1320800 h 1790700"/>
              <a:gd name="connsiteX84" fmla="*/ 701858 w 1007268"/>
              <a:gd name="connsiteY84" fmla="*/ 1339850 h 1790700"/>
              <a:gd name="connsiteX85" fmla="*/ 692333 w 1007268"/>
              <a:gd name="connsiteY85" fmla="*/ 1346200 h 1790700"/>
              <a:gd name="connsiteX86" fmla="*/ 676458 w 1007268"/>
              <a:gd name="connsiteY86" fmla="*/ 1355725 h 1790700"/>
              <a:gd name="connsiteX87" fmla="*/ 663758 w 1007268"/>
              <a:gd name="connsiteY87" fmla="*/ 1365250 h 1790700"/>
              <a:gd name="connsiteX88" fmla="*/ 606608 w 1007268"/>
              <a:gd name="connsiteY88" fmla="*/ 1384300 h 1790700"/>
              <a:gd name="connsiteX89" fmla="*/ 536758 w 1007268"/>
              <a:gd name="connsiteY89" fmla="*/ 1400175 h 1790700"/>
              <a:gd name="connsiteX90" fmla="*/ 489133 w 1007268"/>
              <a:gd name="connsiteY90" fmla="*/ 1409700 h 1790700"/>
              <a:gd name="connsiteX91" fmla="*/ 466908 w 1007268"/>
              <a:gd name="connsiteY91" fmla="*/ 1412875 h 1790700"/>
              <a:gd name="connsiteX92" fmla="*/ 428808 w 1007268"/>
              <a:gd name="connsiteY92" fmla="*/ 1416050 h 1790700"/>
              <a:gd name="connsiteX93" fmla="*/ 387533 w 1007268"/>
              <a:gd name="connsiteY93" fmla="*/ 1419225 h 1790700"/>
              <a:gd name="connsiteX94" fmla="*/ 343083 w 1007268"/>
              <a:gd name="connsiteY94" fmla="*/ 1428750 h 1790700"/>
              <a:gd name="connsiteX95" fmla="*/ 314508 w 1007268"/>
              <a:gd name="connsiteY95" fmla="*/ 1435100 h 1790700"/>
              <a:gd name="connsiteX96" fmla="*/ 289108 w 1007268"/>
              <a:gd name="connsiteY96" fmla="*/ 1438275 h 1790700"/>
              <a:gd name="connsiteX97" fmla="*/ 257358 w 1007268"/>
              <a:gd name="connsiteY97" fmla="*/ 1450975 h 1790700"/>
              <a:gd name="connsiteX98" fmla="*/ 222433 w 1007268"/>
              <a:gd name="connsiteY98" fmla="*/ 1460500 h 1790700"/>
              <a:gd name="connsiteX99" fmla="*/ 209733 w 1007268"/>
              <a:gd name="connsiteY99" fmla="*/ 1463675 h 1790700"/>
              <a:gd name="connsiteX100" fmla="*/ 171633 w 1007268"/>
              <a:gd name="connsiteY100" fmla="*/ 1470025 h 1790700"/>
              <a:gd name="connsiteX101" fmla="*/ 165283 w 1007268"/>
              <a:gd name="connsiteY101" fmla="*/ 1476375 h 1790700"/>
              <a:gd name="connsiteX102" fmla="*/ 117658 w 1007268"/>
              <a:gd name="connsiteY102" fmla="*/ 1489075 h 1790700"/>
              <a:gd name="connsiteX103" fmla="*/ 85908 w 1007268"/>
              <a:gd name="connsiteY103" fmla="*/ 1495425 h 1790700"/>
              <a:gd name="connsiteX104" fmla="*/ 70033 w 1007268"/>
              <a:gd name="connsiteY104" fmla="*/ 1504950 h 1790700"/>
              <a:gd name="connsiteX105" fmla="*/ 70033 w 1007268"/>
              <a:gd name="connsiteY105" fmla="*/ 1530350 h 1790700"/>
              <a:gd name="connsiteX106" fmla="*/ 76383 w 1007268"/>
              <a:gd name="connsiteY106" fmla="*/ 1552575 h 1790700"/>
              <a:gd name="connsiteX107" fmla="*/ 76383 w 1007268"/>
              <a:gd name="connsiteY107" fmla="*/ 1568450 h 1790700"/>
              <a:gd name="connsiteX108" fmla="*/ 41458 w 1007268"/>
              <a:gd name="connsiteY108" fmla="*/ 1628775 h 1790700"/>
              <a:gd name="connsiteX109" fmla="*/ 38283 w 1007268"/>
              <a:gd name="connsiteY109" fmla="*/ 1660525 h 1790700"/>
              <a:gd name="connsiteX110" fmla="*/ 31933 w 1007268"/>
              <a:gd name="connsiteY110" fmla="*/ 1685925 h 1790700"/>
              <a:gd name="connsiteX111" fmla="*/ 25583 w 1007268"/>
              <a:gd name="connsiteY111" fmla="*/ 1711325 h 1790700"/>
              <a:gd name="connsiteX112" fmla="*/ 25583 w 1007268"/>
              <a:gd name="connsiteY112" fmla="*/ 1724025 h 1790700"/>
              <a:gd name="connsiteX113" fmla="*/ 12883 w 1007268"/>
              <a:gd name="connsiteY113" fmla="*/ 1749425 h 1790700"/>
              <a:gd name="connsiteX114" fmla="*/ 183 w 1007268"/>
              <a:gd name="connsiteY114" fmla="*/ 1774825 h 1790700"/>
              <a:gd name="connsiteX115" fmla="*/ 6533 w 1007268"/>
              <a:gd name="connsiteY115" fmla="*/ 1790700 h 1790700"/>
              <a:gd name="connsiteX0" fmla="*/ 727258 w 1007268"/>
              <a:gd name="connsiteY0" fmla="*/ 0 h 1790700"/>
              <a:gd name="connsiteX1" fmla="*/ 768533 w 1007268"/>
              <a:gd name="connsiteY1" fmla="*/ 73025 h 1790700"/>
              <a:gd name="connsiteX2" fmla="*/ 784408 w 1007268"/>
              <a:gd name="connsiteY2" fmla="*/ 82550 h 1790700"/>
              <a:gd name="connsiteX3" fmla="*/ 797108 w 1007268"/>
              <a:gd name="connsiteY3" fmla="*/ 92075 h 1790700"/>
              <a:gd name="connsiteX4" fmla="*/ 803458 w 1007268"/>
              <a:gd name="connsiteY4" fmla="*/ 98425 h 1790700"/>
              <a:gd name="connsiteX5" fmla="*/ 803458 w 1007268"/>
              <a:gd name="connsiteY5" fmla="*/ 127000 h 1790700"/>
              <a:gd name="connsiteX6" fmla="*/ 803458 w 1007268"/>
              <a:gd name="connsiteY6" fmla="*/ 149225 h 1790700"/>
              <a:gd name="connsiteX7" fmla="*/ 806633 w 1007268"/>
              <a:gd name="connsiteY7" fmla="*/ 168275 h 1790700"/>
              <a:gd name="connsiteX8" fmla="*/ 806633 w 1007268"/>
              <a:gd name="connsiteY8" fmla="*/ 177800 h 1790700"/>
              <a:gd name="connsiteX9" fmla="*/ 797108 w 1007268"/>
              <a:gd name="connsiteY9" fmla="*/ 190500 h 1790700"/>
              <a:gd name="connsiteX10" fmla="*/ 793933 w 1007268"/>
              <a:gd name="connsiteY10" fmla="*/ 219075 h 1790700"/>
              <a:gd name="connsiteX11" fmla="*/ 793933 w 1007268"/>
              <a:gd name="connsiteY11" fmla="*/ 231775 h 1790700"/>
              <a:gd name="connsiteX12" fmla="*/ 803458 w 1007268"/>
              <a:gd name="connsiteY12" fmla="*/ 254000 h 1790700"/>
              <a:gd name="connsiteX13" fmla="*/ 816158 w 1007268"/>
              <a:gd name="connsiteY13" fmla="*/ 269875 h 1790700"/>
              <a:gd name="connsiteX14" fmla="*/ 825683 w 1007268"/>
              <a:gd name="connsiteY14" fmla="*/ 285750 h 1790700"/>
              <a:gd name="connsiteX15" fmla="*/ 828858 w 1007268"/>
              <a:gd name="connsiteY15" fmla="*/ 295275 h 1790700"/>
              <a:gd name="connsiteX16" fmla="*/ 825683 w 1007268"/>
              <a:gd name="connsiteY16" fmla="*/ 342900 h 1790700"/>
              <a:gd name="connsiteX17" fmla="*/ 819333 w 1007268"/>
              <a:gd name="connsiteY17" fmla="*/ 365125 h 1790700"/>
              <a:gd name="connsiteX18" fmla="*/ 812983 w 1007268"/>
              <a:gd name="connsiteY18" fmla="*/ 400050 h 1790700"/>
              <a:gd name="connsiteX19" fmla="*/ 806633 w 1007268"/>
              <a:gd name="connsiteY19" fmla="*/ 438150 h 1790700"/>
              <a:gd name="connsiteX20" fmla="*/ 809808 w 1007268"/>
              <a:gd name="connsiteY20" fmla="*/ 466725 h 1790700"/>
              <a:gd name="connsiteX21" fmla="*/ 816158 w 1007268"/>
              <a:gd name="connsiteY21" fmla="*/ 501650 h 1790700"/>
              <a:gd name="connsiteX22" fmla="*/ 838383 w 1007268"/>
              <a:gd name="connsiteY22" fmla="*/ 536575 h 1790700"/>
              <a:gd name="connsiteX23" fmla="*/ 847908 w 1007268"/>
              <a:gd name="connsiteY23" fmla="*/ 542925 h 1790700"/>
              <a:gd name="connsiteX24" fmla="*/ 860608 w 1007268"/>
              <a:gd name="connsiteY24" fmla="*/ 558800 h 1790700"/>
              <a:gd name="connsiteX25" fmla="*/ 873308 w 1007268"/>
              <a:gd name="connsiteY25" fmla="*/ 568325 h 1790700"/>
              <a:gd name="connsiteX26" fmla="*/ 898708 w 1007268"/>
              <a:gd name="connsiteY26" fmla="*/ 600075 h 1790700"/>
              <a:gd name="connsiteX27" fmla="*/ 943158 w 1007268"/>
              <a:gd name="connsiteY27" fmla="*/ 625475 h 1790700"/>
              <a:gd name="connsiteX28" fmla="*/ 968558 w 1007268"/>
              <a:gd name="connsiteY28" fmla="*/ 641350 h 1790700"/>
              <a:gd name="connsiteX29" fmla="*/ 984433 w 1007268"/>
              <a:gd name="connsiteY29" fmla="*/ 657225 h 1790700"/>
              <a:gd name="connsiteX30" fmla="*/ 1000308 w 1007268"/>
              <a:gd name="connsiteY30" fmla="*/ 676275 h 1790700"/>
              <a:gd name="connsiteX31" fmla="*/ 1006658 w 1007268"/>
              <a:gd name="connsiteY31" fmla="*/ 701675 h 1790700"/>
              <a:gd name="connsiteX32" fmla="*/ 1006658 w 1007268"/>
              <a:gd name="connsiteY32" fmla="*/ 723900 h 1790700"/>
              <a:gd name="connsiteX33" fmla="*/ 1003483 w 1007268"/>
              <a:gd name="connsiteY33" fmla="*/ 739775 h 1790700"/>
              <a:gd name="connsiteX34" fmla="*/ 997133 w 1007268"/>
              <a:gd name="connsiteY34" fmla="*/ 749300 h 1790700"/>
              <a:gd name="connsiteX35" fmla="*/ 1000308 w 1007268"/>
              <a:gd name="connsiteY35" fmla="*/ 765175 h 1790700"/>
              <a:gd name="connsiteX36" fmla="*/ 1003483 w 1007268"/>
              <a:gd name="connsiteY36" fmla="*/ 777875 h 1790700"/>
              <a:gd name="connsiteX37" fmla="*/ 990783 w 1007268"/>
              <a:gd name="connsiteY37" fmla="*/ 800100 h 1790700"/>
              <a:gd name="connsiteX38" fmla="*/ 984433 w 1007268"/>
              <a:gd name="connsiteY38" fmla="*/ 819150 h 1790700"/>
              <a:gd name="connsiteX39" fmla="*/ 984433 w 1007268"/>
              <a:gd name="connsiteY39" fmla="*/ 831850 h 1790700"/>
              <a:gd name="connsiteX40" fmla="*/ 974908 w 1007268"/>
              <a:gd name="connsiteY40" fmla="*/ 847725 h 1790700"/>
              <a:gd name="connsiteX41" fmla="*/ 974908 w 1007268"/>
              <a:gd name="connsiteY41" fmla="*/ 857250 h 1790700"/>
              <a:gd name="connsiteX42" fmla="*/ 968558 w 1007268"/>
              <a:gd name="connsiteY42" fmla="*/ 876300 h 1790700"/>
              <a:gd name="connsiteX43" fmla="*/ 965383 w 1007268"/>
              <a:gd name="connsiteY43" fmla="*/ 898525 h 1790700"/>
              <a:gd name="connsiteX44" fmla="*/ 952683 w 1007268"/>
              <a:gd name="connsiteY44" fmla="*/ 911225 h 1790700"/>
              <a:gd name="connsiteX45" fmla="*/ 946333 w 1007268"/>
              <a:gd name="connsiteY45" fmla="*/ 927100 h 1790700"/>
              <a:gd name="connsiteX46" fmla="*/ 939983 w 1007268"/>
              <a:gd name="connsiteY46" fmla="*/ 936625 h 1790700"/>
              <a:gd name="connsiteX47" fmla="*/ 936808 w 1007268"/>
              <a:gd name="connsiteY47" fmla="*/ 949325 h 1790700"/>
              <a:gd name="connsiteX48" fmla="*/ 936808 w 1007268"/>
              <a:gd name="connsiteY48" fmla="*/ 955675 h 1790700"/>
              <a:gd name="connsiteX49" fmla="*/ 936808 w 1007268"/>
              <a:gd name="connsiteY49" fmla="*/ 974725 h 1790700"/>
              <a:gd name="connsiteX50" fmla="*/ 936808 w 1007268"/>
              <a:gd name="connsiteY50" fmla="*/ 993775 h 1790700"/>
              <a:gd name="connsiteX51" fmla="*/ 946333 w 1007268"/>
              <a:gd name="connsiteY51" fmla="*/ 1000125 h 1790700"/>
              <a:gd name="connsiteX52" fmla="*/ 952683 w 1007268"/>
              <a:gd name="connsiteY52" fmla="*/ 1012825 h 1790700"/>
              <a:gd name="connsiteX53" fmla="*/ 949508 w 1007268"/>
              <a:gd name="connsiteY53" fmla="*/ 1019175 h 1790700"/>
              <a:gd name="connsiteX54" fmla="*/ 949508 w 1007268"/>
              <a:gd name="connsiteY54" fmla="*/ 1038225 h 1790700"/>
              <a:gd name="connsiteX55" fmla="*/ 939983 w 1007268"/>
              <a:gd name="connsiteY55" fmla="*/ 1038225 h 1790700"/>
              <a:gd name="connsiteX56" fmla="*/ 920933 w 1007268"/>
              <a:gd name="connsiteY56" fmla="*/ 1038225 h 1790700"/>
              <a:gd name="connsiteX57" fmla="*/ 905058 w 1007268"/>
              <a:gd name="connsiteY57" fmla="*/ 1038225 h 1790700"/>
              <a:gd name="connsiteX58" fmla="*/ 886008 w 1007268"/>
              <a:gd name="connsiteY58" fmla="*/ 1044575 h 1790700"/>
              <a:gd name="connsiteX59" fmla="*/ 870133 w 1007268"/>
              <a:gd name="connsiteY59" fmla="*/ 1050925 h 1790700"/>
              <a:gd name="connsiteX60" fmla="*/ 854258 w 1007268"/>
              <a:gd name="connsiteY60" fmla="*/ 1054100 h 1790700"/>
              <a:gd name="connsiteX61" fmla="*/ 835208 w 1007268"/>
              <a:gd name="connsiteY61" fmla="*/ 1054100 h 1790700"/>
              <a:gd name="connsiteX62" fmla="*/ 822508 w 1007268"/>
              <a:gd name="connsiteY62" fmla="*/ 1047750 h 1790700"/>
              <a:gd name="connsiteX63" fmla="*/ 793933 w 1007268"/>
              <a:gd name="connsiteY63" fmla="*/ 1063625 h 1790700"/>
              <a:gd name="connsiteX64" fmla="*/ 803458 w 1007268"/>
              <a:gd name="connsiteY64" fmla="*/ 1069975 h 1790700"/>
              <a:gd name="connsiteX65" fmla="*/ 819333 w 1007268"/>
              <a:gd name="connsiteY65" fmla="*/ 1079500 h 1790700"/>
              <a:gd name="connsiteX66" fmla="*/ 819333 w 1007268"/>
              <a:gd name="connsiteY66" fmla="*/ 1092200 h 1790700"/>
              <a:gd name="connsiteX67" fmla="*/ 819333 w 1007268"/>
              <a:gd name="connsiteY67" fmla="*/ 1108075 h 1790700"/>
              <a:gd name="connsiteX68" fmla="*/ 809808 w 1007268"/>
              <a:gd name="connsiteY68" fmla="*/ 1114425 h 1790700"/>
              <a:gd name="connsiteX69" fmla="*/ 803458 w 1007268"/>
              <a:gd name="connsiteY69" fmla="*/ 1133475 h 1790700"/>
              <a:gd name="connsiteX70" fmla="*/ 803458 w 1007268"/>
              <a:gd name="connsiteY70" fmla="*/ 1139825 h 1790700"/>
              <a:gd name="connsiteX71" fmla="*/ 803458 w 1007268"/>
              <a:gd name="connsiteY71" fmla="*/ 1152525 h 1790700"/>
              <a:gd name="connsiteX72" fmla="*/ 803458 w 1007268"/>
              <a:gd name="connsiteY72" fmla="*/ 1165225 h 1790700"/>
              <a:gd name="connsiteX73" fmla="*/ 790758 w 1007268"/>
              <a:gd name="connsiteY73" fmla="*/ 1177925 h 1790700"/>
              <a:gd name="connsiteX74" fmla="*/ 762183 w 1007268"/>
              <a:gd name="connsiteY74" fmla="*/ 1200150 h 1790700"/>
              <a:gd name="connsiteX75" fmla="*/ 759008 w 1007268"/>
              <a:gd name="connsiteY75" fmla="*/ 1219200 h 1790700"/>
              <a:gd name="connsiteX76" fmla="*/ 755833 w 1007268"/>
              <a:gd name="connsiteY76" fmla="*/ 1254125 h 1790700"/>
              <a:gd name="connsiteX77" fmla="*/ 759008 w 1007268"/>
              <a:gd name="connsiteY77" fmla="*/ 1260475 h 1790700"/>
              <a:gd name="connsiteX78" fmla="*/ 752658 w 1007268"/>
              <a:gd name="connsiteY78" fmla="*/ 1276350 h 1790700"/>
              <a:gd name="connsiteX79" fmla="*/ 743133 w 1007268"/>
              <a:gd name="connsiteY79" fmla="*/ 1282700 h 1790700"/>
              <a:gd name="connsiteX80" fmla="*/ 730433 w 1007268"/>
              <a:gd name="connsiteY80" fmla="*/ 1295400 h 1790700"/>
              <a:gd name="connsiteX81" fmla="*/ 714558 w 1007268"/>
              <a:gd name="connsiteY81" fmla="*/ 1308100 h 1790700"/>
              <a:gd name="connsiteX82" fmla="*/ 705033 w 1007268"/>
              <a:gd name="connsiteY82" fmla="*/ 1320800 h 1790700"/>
              <a:gd name="connsiteX83" fmla="*/ 701858 w 1007268"/>
              <a:gd name="connsiteY83" fmla="*/ 1339850 h 1790700"/>
              <a:gd name="connsiteX84" fmla="*/ 692333 w 1007268"/>
              <a:gd name="connsiteY84" fmla="*/ 1346200 h 1790700"/>
              <a:gd name="connsiteX85" fmla="*/ 676458 w 1007268"/>
              <a:gd name="connsiteY85" fmla="*/ 1355725 h 1790700"/>
              <a:gd name="connsiteX86" fmla="*/ 663758 w 1007268"/>
              <a:gd name="connsiteY86" fmla="*/ 1365250 h 1790700"/>
              <a:gd name="connsiteX87" fmla="*/ 606608 w 1007268"/>
              <a:gd name="connsiteY87" fmla="*/ 1384300 h 1790700"/>
              <a:gd name="connsiteX88" fmla="*/ 536758 w 1007268"/>
              <a:gd name="connsiteY88" fmla="*/ 1400175 h 1790700"/>
              <a:gd name="connsiteX89" fmla="*/ 489133 w 1007268"/>
              <a:gd name="connsiteY89" fmla="*/ 1409700 h 1790700"/>
              <a:gd name="connsiteX90" fmla="*/ 466908 w 1007268"/>
              <a:gd name="connsiteY90" fmla="*/ 1412875 h 1790700"/>
              <a:gd name="connsiteX91" fmla="*/ 428808 w 1007268"/>
              <a:gd name="connsiteY91" fmla="*/ 1416050 h 1790700"/>
              <a:gd name="connsiteX92" fmla="*/ 387533 w 1007268"/>
              <a:gd name="connsiteY92" fmla="*/ 1419225 h 1790700"/>
              <a:gd name="connsiteX93" fmla="*/ 343083 w 1007268"/>
              <a:gd name="connsiteY93" fmla="*/ 1428750 h 1790700"/>
              <a:gd name="connsiteX94" fmla="*/ 314508 w 1007268"/>
              <a:gd name="connsiteY94" fmla="*/ 1435100 h 1790700"/>
              <a:gd name="connsiteX95" fmla="*/ 289108 w 1007268"/>
              <a:gd name="connsiteY95" fmla="*/ 1438275 h 1790700"/>
              <a:gd name="connsiteX96" fmla="*/ 257358 w 1007268"/>
              <a:gd name="connsiteY96" fmla="*/ 1450975 h 1790700"/>
              <a:gd name="connsiteX97" fmla="*/ 222433 w 1007268"/>
              <a:gd name="connsiteY97" fmla="*/ 1460500 h 1790700"/>
              <a:gd name="connsiteX98" fmla="*/ 209733 w 1007268"/>
              <a:gd name="connsiteY98" fmla="*/ 1463675 h 1790700"/>
              <a:gd name="connsiteX99" fmla="*/ 171633 w 1007268"/>
              <a:gd name="connsiteY99" fmla="*/ 1470025 h 1790700"/>
              <a:gd name="connsiteX100" fmla="*/ 165283 w 1007268"/>
              <a:gd name="connsiteY100" fmla="*/ 1476375 h 1790700"/>
              <a:gd name="connsiteX101" fmla="*/ 117658 w 1007268"/>
              <a:gd name="connsiteY101" fmla="*/ 1489075 h 1790700"/>
              <a:gd name="connsiteX102" fmla="*/ 85908 w 1007268"/>
              <a:gd name="connsiteY102" fmla="*/ 1495425 h 1790700"/>
              <a:gd name="connsiteX103" fmla="*/ 70033 w 1007268"/>
              <a:gd name="connsiteY103" fmla="*/ 1504950 h 1790700"/>
              <a:gd name="connsiteX104" fmla="*/ 70033 w 1007268"/>
              <a:gd name="connsiteY104" fmla="*/ 1530350 h 1790700"/>
              <a:gd name="connsiteX105" fmla="*/ 76383 w 1007268"/>
              <a:gd name="connsiteY105" fmla="*/ 1552575 h 1790700"/>
              <a:gd name="connsiteX106" fmla="*/ 76383 w 1007268"/>
              <a:gd name="connsiteY106" fmla="*/ 1568450 h 1790700"/>
              <a:gd name="connsiteX107" fmla="*/ 41458 w 1007268"/>
              <a:gd name="connsiteY107" fmla="*/ 1628775 h 1790700"/>
              <a:gd name="connsiteX108" fmla="*/ 38283 w 1007268"/>
              <a:gd name="connsiteY108" fmla="*/ 1660525 h 1790700"/>
              <a:gd name="connsiteX109" fmla="*/ 31933 w 1007268"/>
              <a:gd name="connsiteY109" fmla="*/ 1685925 h 1790700"/>
              <a:gd name="connsiteX110" fmla="*/ 25583 w 1007268"/>
              <a:gd name="connsiteY110" fmla="*/ 1711325 h 1790700"/>
              <a:gd name="connsiteX111" fmla="*/ 25583 w 1007268"/>
              <a:gd name="connsiteY111" fmla="*/ 1724025 h 1790700"/>
              <a:gd name="connsiteX112" fmla="*/ 12883 w 1007268"/>
              <a:gd name="connsiteY112" fmla="*/ 1749425 h 1790700"/>
              <a:gd name="connsiteX113" fmla="*/ 183 w 1007268"/>
              <a:gd name="connsiteY113" fmla="*/ 1774825 h 1790700"/>
              <a:gd name="connsiteX114" fmla="*/ 6533 w 1007268"/>
              <a:gd name="connsiteY114" fmla="*/ 1790700 h 1790700"/>
              <a:gd name="connsiteX0" fmla="*/ 768533 w 1007268"/>
              <a:gd name="connsiteY0" fmla="*/ 0 h 1717675"/>
              <a:gd name="connsiteX1" fmla="*/ 784408 w 1007268"/>
              <a:gd name="connsiteY1" fmla="*/ 9525 h 1717675"/>
              <a:gd name="connsiteX2" fmla="*/ 797108 w 1007268"/>
              <a:gd name="connsiteY2" fmla="*/ 19050 h 1717675"/>
              <a:gd name="connsiteX3" fmla="*/ 803458 w 1007268"/>
              <a:gd name="connsiteY3" fmla="*/ 25400 h 1717675"/>
              <a:gd name="connsiteX4" fmla="*/ 803458 w 1007268"/>
              <a:gd name="connsiteY4" fmla="*/ 53975 h 1717675"/>
              <a:gd name="connsiteX5" fmla="*/ 803458 w 1007268"/>
              <a:gd name="connsiteY5" fmla="*/ 76200 h 1717675"/>
              <a:gd name="connsiteX6" fmla="*/ 806633 w 1007268"/>
              <a:gd name="connsiteY6" fmla="*/ 95250 h 1717675"/>
              <a:gd name="connsiteX7" fmla="*/ 806633 w 1007268"/>
              <a:gd name="connsiteY7" fmla="*/ 104775 h 1717675"/>
              <a:gd name="connsiteX8" fmla="*/ 797108 w 1007268"/>
              <a:gd name="connsiteY8" fmla="*/ 117475 h 1717675"/>
              <a:gd name="connsiteX9" fmla="*/ 793933 w 1007268"/>
              <a:gd name="connsiteY9" fmla="*/ 146050 h 1717675"/>
              <a:gd name="connsiteX10" fmla="*/ 793933 w 1007268"/>
              <a:gd name="connsiteY10" fmla="*/ 158750 h 1717675"/>
              <a:gd name="connsiteX11" fmla="*/ 803458 w 1007268"/>
              <a:gd name="connsiteY11" fmla="*/ 180975 h 1717675"/>
              <a:gd name="connsiteX12" fmla="*/ 816158 w 1007268"/>
              <a:gd name="connsiteY12" fmla="*/ 196850 h 1717675"/>
              <a:gd name="connsiteX13" fmla="*/ 825683 w 1007268"/>
              <a:gd name="connsiteY13" fmla="*/ 212725 h 1717675"/>
              <a:gd name="connsiteX14" fmla="*/ 828858 w 1007268"/>
              <a:gd name="connsiteY14" fmla="*/ 222250 h 1717675"/>
              <a:gd name="connsiteX15" fmla="*/ 825683 w 1007268"/>
              <a:gd name="connsiteY15" fmla="*/ 269875 h 1717675"/>
              <a:gd name="connsiteX16" fmla="*/ 819333 w 1007268"/>
              <a:gd name="connsiteY16" fmla="*/ 292100 h 1717675"/>
              <a:gd name="connsiteX17" fmla="*/ 812983 w 1007268"/>
              <a:gd name="connsiteY17" fmla="*/ 327025 h 1717675"/>
              <a:gd name="connsiteX18" fmla="*/ 806633 w 1007268"/>
              <a:gd name="connsiteY18" fmla="*/ 365125 h 1717675"/>
              <a:gd name="connsiteX19" fmla="*/ 809808 w 1007268"/>
              <a:gd name="connsiteY19" fmla="*/ 393700 h 1717675"/>
              <a:gd name="connsiteX20" fmla="*/ 816158 w 1007268"/>
              <a:gd name="connsiteY20" fmla="*/ 428625 h 1717675"/>
              <a:gd name="connsiteX21" fmla="*/ 838383 w 1007268"/>
              <a:gd name="connsiteY21" fmla="*/ 463550 h 1717675"/>
              <a:gd name="connsiteX22" fmla="*/ 847908 w 1007268"/>
              <a:gd name="connsiteY22" fmla="*/ 469900 h 1717675"/>
              <a:gd name="connsiteX23" fmla="*/ 860608 w 1007268"/>
              <a:gd name="connsiteY23" fmla="*/ 485775 h 1717675"/>
              <a:gd name="connsiteX24" fmla="*/ 873308 w 1007268"/>
              <a:gd name="connsiteY24" fmla="*/ 495300 h 1717675"/>
              <a:gd name="connsiteX25" fmla="*/ 898708 w 1007268"/>
              <a:gd name="connsiteY25" fmla="*/ 527050 h 1717675"/>
              <a:gd name="connsiteX26" fmla="*/ 943158 w 1007268"/>
              <a:gd name="connsiteY26" fmla="*/ 552450 h 1717675"/>
              <a:gd name="connsiteX27" fmla="*/ 968558 w 1007268"/>
              <a:gd name="connsiteY27" fmla="*/ 568325 h 1717675"/>
              <a:gd name="connsiteX28" fmla="*/ 984433 w 1007268"/>
              <a:gd name="connsiteY28" fmla="*/ 584200 h 1717675"/>
              <a:gd name="connsiteX29" fmla="*/ 1000308 w 1007268"/>
              <a:gd name="connsiteY29" fmla="*/ 603250 h 1717675"/>
              <a:gd name="connsiteX30" fmla="*/ 1006658 w 1007268"/>
              <a:gd name="connsiteY30" fmla="*/ 628650 h 1717675"/>
              <a:gd name="connsiteX31" fmla="*/ 1006658 w 1007268"/>
              <a:gd name="connsiteY31" fmla="*/ 650875 h 1717675"/>
              <a:gd name="connsiteX32" fmla="*/ 1003483 w 1007268"/>
              <a:gd name="connsiteY32" fmla="*/ 666750 h 1717675"/>
              <a:gd name="connsiteX33" fmla="*/ 997133 w 1007268"/>
              <a:gd name="connsiteY33" fmla="*/ 676275 h 1717675"/>
              <a:gd name="connsiteX34" fmla="*/ 1000308 w 1007268"/>
              <a:gd name="connsiteY34" fmla="*/ 692150 h 1717675"/>
              <a:gd name="connsiteX35" fmla="*/ 1003483 w 1007268"/>
              <a:gd name="connsiteY35" fmla="*/ 704850 h 1717675"/>
              <a:gd name="connsiteX36" fmla="*/ 990783 w 1007268"/>
              <a:gd name="connsiteY36" fmla="*/ 727075 h 1717675"/>
              <a:gd name="connsiteX37" fmla="*/ 984433 w 1007268"/>
              <a:gd name="connsiteY37" fmla="*/ 746125 h 1717675"/>
              <a:gd name="connsiteX38" fmla="*/ 984433 w 1007268"/>
              <a:gd name="connsiteY38" fmla="*/ 758825 h 1717675"/>
              <a:gd name="connsiteX39" fmla="*/ 974908 w 1007268"/>
              <a:gd name="connsiteY39" fmla="*/ 774700 h 1717675"/>
              <a:gd name="connsiteX40" fmla="*/ 974908 w 1007268"/>
              <a:gd name="connsiteY40" fmla="*/ 784225 h 1717675"/>
              <a:gd name="connsiteX41" fmla="*/ 968558 w 1007268"/>
              <a:gd name="connsiteY41" fmla="*/ 803275 h 1717675"/>
              <a:gd name="connsiteX42" fmla="*/ 965383 w 1007268"/>
              <a:gd name="connsiteY42" fmla="*/ 825500 h 1717675"/>
              <a:gd name="connsiteX43" fmla="*/ 952683 w 1007268"/>
              <a:gd name="connsiteY43" fmla="*/ 838200 h 1717675"/>
              <a:gd name="connsiteX44" fmla="*/ 946333 w 1007268"/>
              <a:gd name="connsiteY44" fmla="*/ 854075 h 1717675"/>
              <a:gd name="connsiteX45" fmla="*/ 939983 w 1007268"/>
              <a:gd name="connsiteY45" fmla="*/ 863600 h 1717675"/>
              <a:gd name="connsiteX46" fmla="*/ 936808 w 1007268"/>
              <a:gd name="connsiteY46" fmla="*/ 876300 h 1717675"/>
              <a:gd name="connsiteX47" fmla="*/ 936808 w 1007268"/>
              <a:gd name="connsiteY47" fmla="*/ 882650 h 1717675"/>
              <a:gd name="connsiteX48" fmla="*/ 936808 w 1007268"/>
              <a:gd name="connsiteY48" fmla="*/ 901700 h 1717675"/>
              <a:gd name="connsiteX49" fmla="*/ 936808 w 1007268"/>
              <a:gd name="connsiteY49" fmla="*/ 920750 h 1717675"/>
              <a:gd name="connsiteX50" fmla="*/ 946333 w 1007268"/>
              <a:gd name="connsiteY50" fmla="*/ 927100 h 1717675"/>
              <a:gd name="connsiteX51" fmla="*/ 952683 w 1007268"/>
              <a:gd name="connsiteY51" fmla="*/ 939800 h 1717675"/>
              <a:gd name="connsiteX52" fmla="*/ 949508 w 1007268"/>
              <a:gd name="connsiteY52" fmla="*/ 946150 h 1717675"/>
              <a:gd name="connsiteX53" fmla="*/ 949508 w 1007268"/>
              <a:gd name="connsiteY53" fmla="*/ 965200 h 1717675"/>
              <a:gd name="connsiteX54" fmla="*/ 939983 w 1007268"/>
              <a:gd name="connsiteY54" fmla="*/ 965200 h 1717675"/>
              <a:gd name="connsiteX55" fmla="*/ 920933 w 1007268"/>
              <a:gd name="connsiteY55" fmla="*/ 965200 h 1717675"/>
              <a:gd name="connsiteX56" fmla="*/ 905058 w 1007268"/>
              <a:gd name="connsiteY56" fmla="*/ 965200 h 1717675"/>
              <a:gd name="connsiteX57" fmla="*/ 886008 w 1007268"/>
              <a:gd name="connsiteY57" fmla="*/ 971550 h 1717675"/>
              <a:gd name="connsiteX58" fmla="*/ 870133 w 1007268"/>
              <a:gd name="connsiteY58" fmla="*/ 977900 h 1717675"/>
              <a:gd name="connsiteX59" fmla="*/ 854258 w 1007268"/>
              <a:gd name="connsiteY59" fmla="*/ 981075 h 1717675"/>
              <a:gd name="connsiteX60" fmla="*/ 835208 w 1007268"/>
              <a:gd name="connsiteY60" fmla="*/ 981075 h 1717675"/>
              <a:gd name="connsiteX61" fmla="*/ 822508 w 1007268"/>
              <a:gd name="connsiteY61" fmla="*/ 974725 h 1717675"/>
              <a:gd name="connsiteX62" fmla="*/ 793933 w 1007268"/>
              <a:gd name="connsiteY62" fmla="*/ 990600 h 1717675"/>
              <a:gd name="connsiteX63" fmla="*/ 803458 w 1007268"/>
              <a:gd name="connsiteY63" fmla="*/ 996950 h 1717675"/>
              <a:gd name="connsiteX64" fmla="*/ 819333 w 1007268"/>
              <a:gd name="connsiteY64" fmla="*/ 1006475 h 1717675"/>
              <a:gd name="connsiteX65" fmla="*/ 819333 w 1007268"/>
              <a:gd name="connsiteY65" fmla="*/ 1019175 h 1717675"/>
              <a:gd name="connsiteX66" fmla="*/ 819333 w 1007268"/>
              <a:gd name="connsiteY66" fmla="*/ 1035050 h 1717675"/>
              <a:gd name="connsiteX67" fmla="*/ 809808 w 1007268"/>
              <a:gd name="connsiteY67" fmla="*/ 1041400 h 1717675"/>
              <a:gd name="connsiteX68" fmla="*/ 803458 w 1007268"/>
              <a:gd name="connsiteY68" fmla="*/ 1060450 h 1717675"/>
              <a:gd name="connsiteX69" fmla="*/ 803458 w 1007268"/>
              <a:gd name="connsiteY69" fmla="*/ 1066800 h 1717675"/>
              <a:gd name="connsiteX70" fmla="*/ 803458 w 1007268"/>
              <a:gd name="connsiteY70" fmla="*/ 1079500 h 1717675"/>
              <a:gd name="connsiteX71" fmla="*/ 803458 w 1007268"/>
              <a:gd name="connsiteY71" fmla="*/ 1092200 h 1717675"/>
              <a:gd name="connsiteX72" fmla="*/ 790758 w 1007268"/>
              <a:gd name="connsiteY72" fmla="*/ 1104900 h 1717675"/>
              <a:gd name="connsiteX73" fmla="*/ 762183 w 1007268"/>
              <a:gd name="connsiteY73" fmla="*/ 1127125 h 1717675"/>
              <a:gd name="connsiteX74" fmla="*/ 759008 w 1007268"/>
              <a:gd name="connsiteY74" fmla="*/ 1146175 h 1717675"/>
              <a:gd name="connsiteX75" fmla="*/ 755833 w 1007268"/>
              <a:gd name="connsiteY75" fmla="*/ 1181100 h 1717675"/>
              <a:gd name="connsiteX76" fmla="*/ 759008 w 1007268"/>
              <a:gd name="connsiteY76" fmla="*/ 1187450 h 1717675"/>
              <a:gd name="connsiteX77" fmla="*/ 752658 w 1007268"/>
              <a:gd name="connsiteY77" fmla="*/ 1203325 h 1717675"/>
              <a:gd name="connsiteX78" fmla="*/ 743133 w 1007268"/>
              <a:gd name="connsiteY78" fmla="*/ 1209675 h 1717675"/>
              <a:gd name="connsiteX79" fmla="*/ 730433 w 1007268"/>
              <a:gd name="connsiteY79" fmla="*/ 1222375 h 1717675"/>
              <a:gd name="connsiteX80" fmla="*/ 714558 w 1007268"/>
              <a:gd name="connsiteY80" fmla="*/ 1235075 h 1717675"/>
              <a:gd name="connsiteX81" fmla="*/ 705033 w 1007268"/>
              <a:gd name="connsiteY81" fmla="*/ 1247775 h 1717675"/>
              <a:gd name="connsiteX82" fmla="*/ 701858 w 1007268"/>
              <a:gd name="connsiteY82" fmla="*/ 1266825 h 1717675"/>
              <a:gd name="connsiteX83" fmla="*/ 692333 w 1007268"/>
              <a:gd name="connsiteY83" fmla="*/ 1273175 h 1717675"/>
              <a:gd name="connsiteX84" fmla="*/ 676458 w 1007268"/>
              <a:gd name="connsiteY84" fmla="*/ 1282700 h 1717675"/>
              <a:gd name="connsiteX85" fmla="*/ 663758 w 1007268"/>
              <a:gd name="connsiteY85" fmla="*/ 1292225 h 1717675"/>
              <a:gd name="connsiteX86" fmla="*/ 606608 w 1007268"/>
              <a:gd name="connsiteY86" fmla="*/ 1311275 h 1717675"/>
              <a:gd name="connsiteX87" fmla="*/ 536758 w 1007268"/>
              <a:gd name="connsiteY87" fmla="*/ 1327150 h 1717675"/>
              <a:gd name="connsiteX88" fmla="*/ 489133 w 1007268"/>
              <a:gd name="connsiteY88" fmla="*/ 1336675 h 1717675"/>
              <a:gd name="connsiteX89" fmla="*/ 466908 w 1007268"/>
              <a:gd name="connsiteY89" fmla="*/ 1339850 h 1717675"/>
              <a:gd name="connsiteX90" fmla="*/ 428808 w 1007268"/>
              <a:gd name="connsiteY90" fmla="*/ 1343025 h 1717675"/>
              <a:gd name="connsiteX91" fmla="*/ 387533 w 1007268"/>
              <a:gd name="connsiteY91" fmla="*/ 1346200 h 1717675"/>
              <a:gd name="connsiteX92" fmla="*/ 343083 w 1007268"/>
              <a:gd name="connsiteY92" fmla="*/ 1355725 h 1717675"/>
              <a:gd name="connsiteX93" fmla="*/ 314508 w 1007268"/>
              <a:gd name="connsiteY93" fmla="*/ 1362075 h 1717675"/>
              <a:gd name="connsiteX94" fmla="*/ 289108 w 1007268"/>
              <a:gd name="connsiteY94" fmla="*/ 1365250 h 1717675"/>
              <a:gd name="connsiteX95" fmla="*/ 257358 w 1007268"/>
              <a:gd name="connsiteY95" fmla="*/ 1377950 h 1717675"/>
              <a:gd name="connsiteX96" fmla="*/ 222433 w 1007268"/>
              <a:gd name="connsiteY96" fmla="*/ 1387475 h 1717675"/>
              <a:gd name="connsiteX97" fmla="*/ 209733 w 1007268"/>
              <a:gd name="connsiteY97" fmla="*/ 1390650 h 1717675"/>
              <a:gd name="connsiteX98" fmla="*/ 171633 w 1007268"/>
              <a:gd name="connsiteY98" fmla="*/ 1397000 h 1717675"/>
              <a:gd name="connsiteX99" fmla="*/ 165283 w 1007268"/>
              <a:gd name="connsiteY99" fmla="*/ 1403350 h 1717675"/>
              <a:gd name="connsiteX100" fmla="*/ 117658 w 1007268"/>
              <a:gd name="connsiteY100" fmla="*/ 1416050 h 1717675"/>
              <a:gd name="connsiteX101" fmla="*/ 85908 w 1007268"/>
              <a:gd name="connsiteY101" fmla="*/ 1422400 h 1717675"/>
              <a:gd name="connsiteX102" fmla="*/ 70033 w 1007268"/>
              <a:gd name="connsiteY102" fmla="*/ 1431925 h 1717675"/>
              <a:gd name="connsiteX103" fmla="*/ 70033 w 1007268"/>
              <a:gd name="connsiteY103" fmla="*/ 1457325 h 1717675"/>
              <a:gd name="connsiteX104" fmla="*/ 76383 w 1007268"/>
              <a:gd name="connsiteY104" fmla="*/ 1479550 h 1717675"/>
              <a:gd name="connsiteX105" fmla="*/ 76383 w 1007268"/>
              <a:gd name="connsiteY105" fmla="*/ 1495425 h 1717675"/>
              <a:gd name="connsiteX106" fmla="*/ 41458 w 1007268"/>
              <a:gd name="connsiteY106" fmla="*/ 1555750 h 1717675"/>
              <a:gd name="connsiteX107" fmla="*/ 38283 w 1007268"/>
              <a:gd name="connsiteY107" fmla="*/ 1587500 h 1717675"/>
              <a:gd name="connsiteX108" fmla="*/ 31933 w 1007268"/>
              <a:gd name="connsiteY108" fmla="*/ 1612900 h 1717675"/>
              <a:gd name="connsiteX109" fmla="*/ 25583 w 1007268"/>
              <a:gd name="connsiteY109" fmla="*/ 1638300 h 1717675"/>
              <a:gd name="connsiteX110" fmla="*/ 25583 w 1007268"/>
              <a:gd name="connsiteY110" fmla="*/ 1651000 h 1717675"/>
              <a:gd name="connsiteX111" fmla="*/ 12883 w 1007268"/>
              <a:gd name="connsiteY111" fmla="*/ 1676400 h 1717675"/>
              <a:gd name="connsiteX112" fmla="*/ 183 w 1007268"/>
              <a:gd name="connsiteY112" fmla="*/ 1701800 h 1717675"/>
              <a:gd name="connsiteX113" fmla="*/ 6533 w 1007268"/>
              <a:gd name="connsiteY113" fmla="*/ 1717675 h 1717675"/>
              <a:gd name="connsiteX0" fmla="*/ 768533 w 1007268"/>
              <a:gd name="connsiteY0" fmla="*/ 0 h 1717675"/>
              <a:gd name="connsiteX1" fmla="*/ 797108 w 1007268"/>
              <a:gd name="connsiteY1" fmla="*/ 19050 h 1717675"/>
              <a:gd name="connsiteX2" fmla="*/ 803458 w 1007268"/>
              <a:gd name="connsiteY2" fmla="*/ 25400 h 1717675"/>
              <a:gd name="connsiteX3" fmla="*/ 803458 w 1007268"/>
              <a:gd name="connsiteY3" fmla="*/ 53975 h 1717675"/>
              <a:gd name="connsiteX4" fmla="*/ 803458 w 1007268"/>
              <a:gd name="connsiteY4" fmla="*/ 76200 h 1717675"/>
              <a:gd name="connsiteX5" fmla="*/ 806633 w 1007268"/>
              <a:gd name="connsiteY5" fmla="*/ 95250 h 1717675"/>
              <a:gd name="connsiteX6" fmla="*/ 806633 w 1007268"/>
              <a:gd name="connsiteY6" fmla="*/ 104775 h 1717675"/>
              <a:gd name="connsiteX7" fmla="*/ 797108 w 1007268"/>
              <a:gd name="connsiteY7" fmla="*/ 117475 h 1717675"/>
              <a:gd name="connsiteX8" fmla="*/ 793933 w 1007268"/>
              <a:gd name="connsiteY8" fmla="*/ 146050 h 1717675"/>
              <a:gd name="connsiteX9" fmla="*/ 793933 w 1007268"/>
              <a:gd name="connsiteY9" fmla="*/ 158750 h 1717675"/>
              <a:gd name="connsiteX10" fmla="*/ 803458 w 1007268"/>
              <a:gd name="connsiteY10" fmla="*/ 180975 h 1717675"/>
              <a:gd name="connsiteX11" fmla="*/ 816158 w 1007268"/>
              <a:gd name="connsiteY11" fmla="*/ 196850 h 1717675"/>
              <a:gd name="connsiteX12" fmla="*/ 825683 w 1007268"/>
              <a:gd name="connsiteY12" fmla="*/ 212725 h 1717675"/>
              <a:gd name="connsiteX13" fmla="*/ 828858 w 1007268"/>
              <a:gd name="connsiteY13" fmla="*/ 222250 h 1717675"/>
              <a:gd name="connsiteX14" fmla="*/ 825683 w 1007268"/>
              <a:gd name="connsiteY14" fmla="*/ 269875 h 1717675"/>
              <a:gd name="connsiteX15" fmla="*/ 819333 w 1007268"/>
              <a:gd name="connsiteY15" fmla="*/ 292100 h 1717675"/>
              <a:gd name="connsiteX16" fmla="*/ 812983 w 1007268"/>
              <a:gd name="connsiteY16" fmla="*/ 327025 h 1717675"/>
              <a:gd name="connsiteX17" fmla="*/ 806633 w 1007268"/>
              <a:gd name="connsiteY17" fmla="*/ 365125 h 1717675"/>
              <a:gd name="connsiteX18" fmla="*/ 809808 w 1007268"/>
              <a:gd name="connsiteY18" fmla="*/ 393700 h 1717675"/>
              <a:gd name="connsiteX19" fmla="*/ 816158 w 1007268"/>
              <a:gd name="connsiteY19" fmla="*/ 428625 h 1717675"/>
              <a:gd name="connsiteX20" fmla="*/ 838383 w 1007268"/>
              <a:gd name="connsiteY20" fmla="*/ 463550 h 1717675"/>
              <a:gd name="connsiteX21" fmla="*/ 847908 w 1007268"/>
              <a:gd name="connsiteY21" fmla="*/ 469900 h 1717675"/>
              <a:gd name="connsiteX22" fmla="*/ 860608 w 1007268"/>
              <a:gd name="connsiteY22" fmla="*/ 485775 h 1717675"/>
              <a:gd name="connsiteX23" fmla="*/ 873308 w 1007268"/>
              <a:gd name="connsiteY23" fmla="*/ 495300 h 1717675"/>
              <a:gd name="connsiteX24" fmla="*/ 898708 w 1007268"/>
              <a:gd name="connsiteY24" fmla="*/ 527050 h 1717675"/>
              <a:gd name="connsiteX25" fmla="*/ 943158 w 1007268"/>
              <a:gd name="connsiteY25" fmla="*/ 552450 h 1717675"/>
              <a:gd name="connsiteX26" fmla="*/ 968558 w 1007268"/>
              <a:gd name="connsiteY26" fmla="*/ 568325 h 1717675"/>
              <a:gd name="connsiteX27" fmla="*/ 984433 w 1007268"/>
              <a:gd name="connsiteY27" fmla="*/ 584200 h 1717675"/>
              <a:gd name="connsiteX28" fmla="*/ 1000308 w 1007268"/>
              <a:gd name="connsiteY28" fmla="*/ 603250 h 1717675"/>
              <a:gd name="connsiteX29" fmla="*/ 1006658 w 1007268"/>
              <a:gd name="connsiteY29" fmla="*/ 628650 h 1717675"/>
              <a:gd name="connsiteX30" fmla="*/ 1006658 w 1007268"/>
              <a:gd name="connsiteY30" fmla="*/ 650875 h 1717675"/>
              <a:gd name="connsiteX31" fmla="*/ 1003483 w 1007268"/>
              <a:gd name="connsiteY31" fmla="*/ 666750 h 1717675"/>
              <a:gd name="connsiteX32" fmla="*/ 997133 w 1007268"/>
              <a:gd name="connsiteY32" fmla="*/ 676275 h 1717675"/>
              <a:gd name="connsiteX33" fmla="*/ 1000308 w 1007268"/>
              <a:gd name="connsiteY33" fmla="*/ 692150 h 1717675"/>
              <a:gd name="connsiteX34" fmla="*/ 1003483 w 1007268"/>
              <a:gd name="connsiteY34" fmla="*/ 704850 h 1717675"/>
              <a:gd name="connsiteX35" fmla="*/ 990783 w 1007268"/>
              <a:gd name="connsiteY35" fmla="*/ 727075 h 1717675"/>
              <a:gd name="connsiteX36" fmla="*/ 984433 w 1007268"/>
              <a:gd name="connsiteY36" fmla="*/ 746125 h 1717675"/>
              <a:gd name="connsiteX37" fmla="*/ 984433 w 1007268"/>
              <a:gd name="connsiteY37" fmla="*/ 758825 h 1717675"/>
              <a:gd name="connsiteX38" fmla="*/ 974908 w 1007268"/>
              <a:gd name="connsiteY38" fmla="*/ 774700 h 1717675"/>
              <a:gd name="connsiteX39" fmla="*/ 974908 w 1007268"/>
              <a:gd name="connsiteY39" fmla="*/ 784225 h 1717675"/>
              <a:gd name="connsiteX40" fmla="*/ 968558 w 1007268"/>
              <a:gd name="connsiteY40" fmla="*/ 803275 h 1717675"/>
              <a:gd name="connsiteX41" fmla="*/ 965383 w 1007268"/>
              <a:gd name="connsiteY41" fmla="*/ 825500 h 1717675"/>
              <a:gd name="connsiteX42" fmla="*/ 952683 w 1007268"/>
              <a:gd name="connsiteY42" fmla="*/ 838200 h 1717675"/>
              <a:gd name="connsiteX43" fmla="*/ 946333 w 1007268"/>
              <a:gd name="connsiteY43" fmla="*/ 854075 h 1717675"/>
              <a:gd name="connsiteX44" fmla="*/ 939983 w 1007268"/>
              <a:gd name="connsiteY44" fmla="*/ 863600 h 1717675"/>
              <a:gd name="connsiteX45" fmla="*/ 936808 w 1007268"/>
              <a:gd name="connsiteY45" fmla="*/ 876300 h 1717675"/>
              <a:gd name="connsiteX46" fmla="*/ 936808 w 1007268"/>
              <a:gd name="connsiteY46" fmla="*/ 882650 h 1717675"/>
              <a:gd name="connsiteX47" fmla="*/ 936808 w 1007268"/>
              <a:gd name="connsiteY47" fmla="*/ 901700 h 1717675"/>
              <a:gd name="connsiteX48" fmla="*/ 936808 w 1007268"/>
              <a:gd name="connsiteY48" fmla="*/ 920750 h 1717675"/>
              <a:gd name="connsiteX49" fmla="*/ 946333 w 1007268"/>
              <a:gd name="connsiteY49" fmla="*/ 927100 h 1717675"/>
              <a:gd name="connsiteX50" fmla="*/ 952683 w 1007268"/>
              <a:gd name="connsiteY50" fmla="*/ 939800 h 1717675"/>
              <a:gd name="connsiteX51" fmla="*/ 949508 w 1007268"/>
              <a:gd name="connsiteY51" fmla="*/ 946150 h 1717675"/>
              <a:gd name="connsiteX52" fmla="*/ 949508 w 1007268"/>
              <a:gd name="connsiteY52" fmla="*/ 965200 h 1717675"/>
              <a:gd name="connsiteX53" fmla="*/ 939983 w 1007268"/>
              <a:gd name="connsiteY53" fmla="*/ 965200 h 1717675"/>
              <a:gd name="connsiteX54" fmla="*/ 920933 w 1007268"/>
              <a:gd name="connsiteY54" fmla="*/ 965200 h 1717675"/>
              <a:gd name="connsiteX55" fmla="*/ 905058 w 1007268"/>
              <a:gd name="connsiteY55" fmla="*/ 965200 h 1717675"/>
              <a:gd name="connsiteX56" fmla="*/ 886008 w 1007268"/>
              <a:gd name="connsiteY56" fmla="*/ 971550 h 1717675"/>
              <a:gd name="connsiteX57" fmla="*/ 870133 w 1007268"/>
              <a:gd name="connsiteY57" fmla="*/ 977900 h 1717675"/>
              <a:gd name="connsiteX58" fmla="*/ 854258 w 1007268"/>
              <a:gd name="connsiteY58" fmla="*/ 981075 h 1717675"/>
              <a:gd name="connsiteX59" fmla="*/ 835208 w 1007268"/>
              <a:gd name="connsiteY59" fmla="*/ 981075 h 1717675"/>
              <a:gd name="connsiteX60" fmla="*/ 822508 w 1007268"/>
              <a:gd name="connsiteY60" fmla="*/ 974725 h 1717675"/>
              <a:gd name="connsiteX61" fmla="*/ 793933 w 1007268"/>
              <a:gd name="connsiteY61" fmla="*/ 990600 h 1717675"/>
              <a:gd name="connsiteX62" fmla="*/ 803458 w 1007268"/>
              <a:gd name="connsiteY62" fmla="*/ 996950 h 1717675"/>
              <a:gd name="connsiteX63" fmla="*/ 819333 w 1007268"/>
              <a:gd name="connsiteY63" fmla="*/ 1006475 h 1717675"/>
              <a:gd name="connsiteX64" fmla="*/ 819333 w 1007268"/>
              <a:gd name="connsiteY64" fmla="*/ 1019175 h 1717675"/>
              <a:gd name="connsiteX65" fmla="*/ 819333 w 1007268"/>
              <a:gd name="connsiteY65" fmla="*/ 1035050 h 1717675"/>
              <a:gd name="connsiteX66" fmla="*/ 809808 w 1007268"/>
              <a:gd name="connsiteY66" fmla="*/ 1041400 h 1717675"/>
              <a:gd name="connsiteX67" fmla="*/ 803458 w 1007268"/>
              <a:gd name="connsiteY67" fmla="*/ 1060450 h 1717675"/>
              <a:gd name="connsiteX68" fmla="*/ 803458 w 1007268"/>
              <a:gd name="connsiteY68" fmla="*/ 1066800 h 1717675"/>
              <a:gd name="connsiteX69" fmla="*/ 803458 w 1007268"/>
              <a:gd name="connsiteY69" fmla="*/ 1079500 h 1717675"/>
              <a:gd name="connsiteX70" fmla="*/ 803458 w 1007268"/>
              <a:gd name="connsiteY70" fmla="*/ 1092200 h 1717675"/>
              <a:gd name="connsiteX71" fmla="*/ 790758 w 1007268"/>
              <a:gd name="connsiteY71" fmla="*/ 1104900 h 1717675"/>
              <a:gd name="connsiteX72" fmla="*/ 762183 w 1007268"/>
              <a:gd name="connsiteY72" fmla="*/ 1127125 h 1717675"/>
              <a:gd name="connsiteX73" fmla="*/ 759008 w 1007268"/>
              <a:gd name="connsiteY73" fmla="*/ 1146175 h 1717675"/>
              <a:gd name="connsiteX74" fmla="*/ 755833 w 1007268"/>
              <a:gd name="connsiteY74" fmla="*/ 1181100 h 1717675"/>
              <a:gd name="connsiteX75" fmla="*/ 759008 w 1007268"/>
              <a:gd name="connsiteY75" fmla="*/ 1187450 h 1717675"/>
              <a:gd name="connsiteX76" fmla="*/ 752658 w 1007268"/>
              <a:gd name="connsiteY76" fmla="*/ 1203325 h 1717675"/>
              <a:gd name="connsiteX77" fmla="*/ 743133 w 1007268"/>
              <a:gd name="connsiteY77" fmla="*/ 1209675 h 1717675"/>
              <a:gd name="connsiteX78" fmla="*/ 730433 w 1007268"/>
              <a:gd name="connsiteY78" fmla="*/ 1222375 h 1717675"/>
              <a:gd name="connsiteX79" fmla="*/ 714558 w 1007268"/>
              <a:gd name="connsiteY79" fmla="*/ 1235075 h 1717675"/>
              <a:gd name="connsiteX80" fmla="*/ 705033 w 1007268"/>
              <a:gd name="connsiteY80" fmla="*/ 1247775 h 1717675"/>
              <a:gd name="connsiteX81" fmla="*/ 701858 w 1007268"/>
              <a:gd name="connsiteY81" fmla="*/ 1266825 h 1717675"/>
              <a:gd name="connsiteX82" fmla="*/ 692333 w 1007268"/>
              <a:gd name="connsiteY82" fmla="*/ 1273175 h 1717675"/>
              <a:gd name="connsiteX83" fmla="*/ 676458 w 1007268"/>
              <a:gd name="connsiteY83" fmla="*/ 1282700 h 1717675"/>
              <a:gd name="connsiteX84" fmla="*/ 663758 w 1007268"/>
              <a:gd name="connsiteY84" fmla="*/ 1292225 h 1717675"/>
              <a:gd name="connsiteX85" fmla="*/ 606608 w 1007268"/>
              <a:gd name="connsiteY85" fmla="*/ 1311275 h 1717675"/>
              <a:gd name="connsiteX86" fmla="*/ 536758 w 1007268"/>
              <a:gd name="connsiteY86" fmla="*/ 1327150 h 1717675"/>
              <a:gd name="connsiteX87" fmla="*/ 489133 w 1007268"/>
              <a:gd name="connsiteY87" fmla="*/ 1336675 h 1717675"/>
              <a:gd name="connsiteX88" fmla="*/ 466908 w 1007268"/>
              <a:gd name="connsiteY88" fmla="*/ 1339850 h 1717675"/>
              <a:gd name="connsiteX89" fmla="*/ 428808 w 1007268"/>
              <a:gd name="connsiteY89" fmla="*/ 1343025 h 1717675"/>
              <a:gd name="connsiteX90" fmla="*/ 387533 w 1007268"/>
              <a:gd name="connsiteY90" fmla="*/ 1346200 h 1717675"/>
              <a:gd name="connsiteX91" fmla="*/ 343083 w 1007268"/>
              <a:gd name="connsiteY91" fmla="*/ 1355725 h 1717675"/>
              <a:gd name="connsiteX92" fmla="*/ 314508 w 1007268"/>
              <a:gd name="connsiteY92" fmla="*/ 1362075 h 1717675"/>
              <a:gd name="connsiteX93" fmla="*/ 289108 w 1007268"/>
              <a:gd name="connsiteY93" fmla="*/ 1365250 h 1717675"/>
              <a:gd name="connsiteX94" fmla="*/ 257358 w 1007268"/>
              <a:gd name="connsiteY94" fmla="*/ 1377950 h 1717675"/>
              <a:gd name="connsiteX95" fmla="*/ 222433 w 1007268"/>
              <a:gd name="connsiteY95" fmla="*/ 1387475 h 1717675"/>
              <a:gd name="connsiteX96" fmla="*/ 209733 w 1007268"/>
              <a:gd name="connsiteY96" fmla="*/ 1390650 h 1717675"/>
              <a:gd name="connsiteX97" fmla="*/ 171633 w 1007268"/>
              <a:gd name="connsiteY97" fmla="*/ 1397000 h 1717675"/>
              <a:gd name="connsiteX98" fmla="*/ 165283 w 1007268"/>
              <a:gd name="connsiteY98" fmla="*/ 1403350 h 1717675"/>
              <a:gd name="connsiteX99" fmla="*/ 117658 w 1007268"/>
              <a:gd name="connsiteY99" fmla="*/ 1416050 h 1717675"/>
              <a:gd name="connsiteX100" fmla="*/ 85908 w 1007268"/>
              <a:gd name="connsiteY100" fmla="*/ 1422400 h 1717675"/>
              <a:gd name="connsiteX101" fmla="*/ 70033 w 1007268"/>
              <a:gd name="connsiteY101" fmla="*/ 1431925 h 1717675"/>
              <a:gd name="connsiteX102" fmla="*/ 70033 w 1007268"/>
              <a:gd name="connsiteY102" fmla="*/ 1457325 h 1717675"/>
              <a:gd name="connsiteX103" fmla="*/ 76383 w 1007268"/>
              <a:gd name="connsiteY103" fmla="*/ 1479550 h 1717675"/>
              <a:gd name="connsiteX104" fmla="*/ 76383 w 1007268"/>
              <a:gd name="connsiteY104" fmla="*/ 1495425 h 1717675"/>
              <a:gd name="connsiteX105" fmla="*/ 41458 w 1007268"/>
              <a:gd name="connsiteY105" fmla="*/ 1555750 h 1717675"/>
              <a:gd name="connsiteX106" fmla="*/ 38283 w 1007268"/>
              <a:gd name="connsiteY106" fmla="*/ 1587500 h 1717675"/>
              <a:gd name="connsiteX107" fmla="*/ 31933 w 1007268"/>
              <a:gd name="connsiteY107" fmla="*/ 1612900 h 1717675"/>
              <a:gd name="connsiteX108" fmla="*/ 25583 w 1007268"/>
              <a:gd name="connsiteY108" fmla="*/ 1638300 h 1717675"/>
              <a:gd name="connsiteX109" fmla="*/ 25583 w 1007268"/>
              <a:gd name="connsiteY109" fmla="*/ 1651000 h 1717675"/>
              <a:gd name="connsiteX110" fmla="*/ 12883 w 1007268"/>
              <a:gd name="connsiteY110" fmla="*/ 1676400 h 1717675"/>
              <a:gd name="connsiteX111" fmla="*/ 183 w 1007268"/>
              <a:gd name="connsiteY111" fmla="*/ 1701800 h 1717675"/>
              <a:gd name="connsiteX112" fmla="*/ 6533 w 1007268"/>
              <a:gd name="connsiteY112" fmla="*/ 1717675 h 1717675"/>
              <a:gd name="connsiteX0" fmla="*/ 797108 w 1007268"/>
              <a:gd name="connsiteY0" fmla="*/ 0 h 1698625"/>
              <a:gd name="connsiteX1" fmla="*/ 803458 w 1007268"/>
              <a:gd name="connsiteY1" fmla="*/ 6350 h 1698625"/>
              <a:gd name="connsiteX2" fmla="*/ 803458 w 1007268"/>
              <a:gd name="connsiteY2" fmla="*/ 34925 h 1698625"/>
              <a:gd name="connsiteX3" fmla="*/ 803458 w 1007268"/>
              <a:gd name="connsiteY3" fmla="*/ 57150 h 1698625"/>
              <a:gd name="connsiteX4" fmla="*/ 806633 w 1007268"/>
              <a:gd name="connsiteY4" fmla="*/ 76200 h 1698625"/>
              <a:gd name="connsiteX5" fmla="*/ 806633 w 1007268"/>
              <a:gd name="connsiteY5" fmla="*/ 85725 h 1698625"/>
              <a:gd name="connsiteX6" fmla="*/ 797108 w 1007268"/>
              <a:gd name="connsiteY6" fmla="*/ 98425 h 1698625"/>
              <a:gd name="connsiteX7" fmla="*/ 793933 w 1007268"/>
              <a:gd name="connsiteY7" fmla="*/ 127000 h 1698625"/>
              <a:gd name="connsiteX8" fmla="*/ 793933 w 1007268"/>
              <a:gd name="connsiteY8" fmla="*/ 139700 h 1698625"/>
              <a:gd name="connsiteX9" fmla="*/ 803458 w 1007268"/>
              <a:gd name="connsiteY9" fmla="*/ 161925 h 1698625"/>
              <a:gd name="connsiteX10" fmla="*/ 816158 w 1007268"/>
              <a:gd name="connsiteY10" fmla="*/ 177800 h 1698625"/>
              <a:gd name="connsiteX11" fmla="*/ 825683 w 1007268"/>
              <a:gd name="connsiteY11" fmla="*/ 193675 h 1698625"/>
              <a:gd name="connsiteX12" fmla="*/ 828858 w 1007268"/>
              <a:gd name="connsiteY12" fmla="*/ 203200 h 1698625"/>
              <a:gd name="connsiteX13" fmla="*/ 825683 w 1007268"/>
              <a:gd name="connsiteY13" fmla="*/ 250825 h 1698625"/>
              <a:gd name="connsiteX14" fmla="*/ 819333 w 1007268"/>
              <a:gd name="connsiteY14" fmla="*/ 273050 h 1698625"/>
              <a:gd name="connsiteX15" fmla="*/ 812983 w 1007268"/>
              <a:gd name="connsiteY15" fmla="*/ 307975 h 1698625"/>
              <a:gd name="connsiteX16" fmla="*/ 806633 w 1007268"/>
              <a:gd name="connsiteY16" fmla="*/ 346075 h 1698625"/>
              <a:gd name="connsiteX17" fmla="*/ 809808 w 1007268"/>
              <a:gd name="connsiteY17" fmla="*/ 374650 h 1698625"/>
              <a:gd name="connsiteX18" fmla="*/ 816158 w 1007268"/>
              <a:gd name="connsiteY18" fmla="*/ 409575 h 1698625"/>
              <a:gd name="connsiteX19" fmla="*/ 838383 w 1007268"/>
              <a:gd name="connsiteY19" fmla="*/ 444500 h 1698625"/>
              <a:gd name="connsiteX20" fmla="*/ 847908 w 1007268"/>
              <a:gd name="connsiteY20" fmla="*/ 450850 h 1698625"/>
              <a:gd name="connsiteX21" fmla="*/ 860608 w 1007268"/>
              <a:gd name="connsiteY21" fmla="*/ 466725 h 1698625"/>
              <a:gd name="connsiteX22" fmla="*/ 873308 w 1007268"/>
              <a:gd name="connsiteY22" fmla="*/ 476250 h 1698625"/>
              <a:gd name="connsiteX23" fmla="*/ 898708 w 1007268"/>
              <a:gd name="connsiteY23" fmla="*/ 508000 h 1698625"/>
              <a:gd name="connsiteX24" fmla="*/ 943158 w 1007268"/>
              <a:gd name="connsiteY24" fmla="*/ 533400 h 1698625"/>
              <a:gd name="connsiteX25" fmla="*/ 968558 w 1007268"/>
              <a:gd name="connsiteY25" fmla="*/ 549275 h 1698625"/>
              <a:gd name="connsiteX26" fmla="*/ 984433 w 1007268"/>
              <a:gd name="connsiteY26" fmla="*/ 565150 h 1698625"/>
              <a:gd name="connsiteX27" fmla="*/ 1000308 w 1007268"/>
              <a:gd name="connsiteY27" fmla="*/ 584200 h 1698625"/>
              <a:gd name="connsiteX28" fmla="*/ 1006658 w 1007268"/>
              <a:gd name="connsiteY28" fmla="*/ 609600 h 1698625"/>
              <a:gd name="connsiteX29" fmla="*/ 1006658 w 1007268"/>
              <a:gd name="connsiteY29" fmla="*/ 631825 h 1698625"/>
              <a:gd name="connsiteX30" fmla="*/ 1003483 w 1007268"/>
              <a:gd name="connsiteY30" fmla="*/ 647700 h 1698625"/>
              <a:gd name="connsiteX31" fmla="*/ 997133 w 1007268"/>
              <a:gd name="connsiteY31" fmla="*/ 657225 h 1698625"/>
              <a:gd name="connsiteX32" fmla="*/ 1000308 w 1007268"/>
              <a:gd name="connsiteY32" fmla="*/ 673100 h 1698625"/>
              <a:gd name="connsiteX33" fmla="*/ 1003483 w 1007268"/>
              <a:gd name="connsiteY33" fmla="*/ 685800 h 1698625"/>
              <a:gd name="connsiteX34" fmla="*/ 990783 w 1007268"/>
              <a:gd name="connsiteY34" fmla="*/ 708025 h 1698625"/>
              <a:gd name="connsiteX35" fmla="*/ 984433 w 1007268"/>
              <a:gd name="connsiteY35" fmla="*/ 727075 h 1698625"/>
              <a:gd name="connsiteX36" fmla="*/ 984433 w 1007268"/>
              <a:gd name="connsiteY36" fmla="*/ 739775 h 1698625"/>
              <a:gd name="connsiteX37" fmla="*/ 974908 w 1007268"/>
              <a:gd name="connsiteY37" fmla="*/ 755650 h 1698625"/>
              <a:gd name="connsiteX38" fmla="*/ 974908 w 1007268"/>
              <a:gd name="connsiteY38" fmla="*/ 765175 h 1698625"/>
              <a:gd name="connsiteX39" fmla="*/ 968558 w 1007268"/>
              <a:gd name="connsiteY39" fmla="*/ 784225 h 1698625"/>
              <a:gd name="connsiteX40" fmla="*/ 965383 w 1007268"/>
              <a:gd name="connsiteY40" fmla="*/ 806450 h 1698625"/>
              <a:gd name="connsiteX41" fmla="*/ 952683 w 1007268"/>
              <a:gd name="connsiteY41" fmla="*/ 819150 h 1698625"/>
              <a:gd name="connsiteX42" fmla="*/ 946333 w 1007268"/>
              <a:gd name="connsiteY42" fmla="*/ 835025 h 1698625"/>
              <a:gd name="connsiteX43" fmla="*/ 939983 w 1007268"/>
              <a:gd name="connsiteY43" fmla="*/ 844550 h 1698625"/>
              <a:gd name="connsiteX44" fmla="*/ 936808 w 1007268"/>
              <a:gd name="connsiteY44" fmla="*/ 857250 h 1698625"/>
              <a:gd name="connsiteX45" fmla="*/ 936808 w 1007268"/>
              <a:gd name="connsiteY45" fmla="*/ 863600 h 1698625"/>
              <a:gd name="connsiteX46" fmla="*/ 936808 w 1007268"/>
              <a:gd name="connsiteY46" fmla="*/ 882650 h 1698625"/>
              <a:gd name="connsiteX47" fmla="*/ 936808 w 1007268"/>
              <a:gd name="connsiteY47" fmla="*/ 901700 h 1698625"/>
              <a:gd name="connsiteX48" fmla="*/ 946333 w 1007268"/>
              <a:gd name="connsiteY48" fmla="*/ 908050 h 1698625"/>
              <a:gd name="connsiteX49" fmla="*/ 952683 w 1007268"/>
              <a:gd name="connsiteY49" fmla="*/ 920750 h 1698625"/>
              <a:gd name="connsiteX50" fmla="*/ 949508 w 1007268"/>
              <a:gd name="connsiteY50" fmla="*/ 927100 h 1698625"/>
              <a:gd name="connsiteX51" fmla="*/ 949508 w 1007268"/>
              <a:gd name="connsiteY51" fmla="*/ 946150 h 1698625"/>
              <a:gd name="connsiteX52" fmla="*/ 939983 w 1007268"/>
              <a:gd name="connsiteY52" fmla="*/ 946150 h 1698625"/>
              <a:gd name="connsiteX53" fmla="*/ 920933 w 1007268"/>
              <a:gd name="connsiteY53" fmla="*/ 946150 h 1698625"/>
              <a:gd name="connsiteX54" fmla="*/ 905058 w 1007268"/>
              <a:gd name="connsiteY54" fmla="*/ 946150 h 1698625"/>
              <a:gd name="connsiteX55" fmla="*/ 886008 w 1007268"/>
              <a:gd name="connsiteY55" fmla="*/ 952500 h 1698625"/>
              <a:gd name="connsiteX56" fmla="*/ 870133 w 1007268"/>
              <a:gd name="connsiteY56" fmla="*/ 958850 h 1698625"/>
              <a:gd name="connsiteX57" fmla="*/ 854258 w 1007268"/>
              <a:gd name="connsiteY57" fmla="*/ 962025 h 1698625"/>
              <a:gd name="connsiteX58" fmla="*/ 835208 w 1007268"/>
              <a:gd name="connsiteY58" fmla="*/ 962025 h 1698625"/>
              <a:gd name="connsiteX59" fmla="*/ 822508 w 1007268"/>
              <a:gd name="connsiteY59" fmla="*/ 955675 h 1698625"/>
              <a:gd name="connsiteX60" fmla="*/ 793933 w 1007268"/>
              <a:gd name="connsiteY60" fmla="*/ 971550 h 1698625"/>
              <a:gd name="connsiteX61" fmla="*/ 803458 w 1007268"/>
              <a:gd name="connsiteY61" fmla="*/ 977900 h 1698625"/>
              <a:gd name="connsiteX62" fmla="*/ 819333 w 1007268"/>
              <a:gd name="connsiteY62" fmla="*/ 987425 h 1698625"/>
              <a:gd name="connsiteX63" fmla="*/ 819333 w 1007268"/>
              <a:gd name="connsiteY63" fmla="*/ 1000125 h 1698625"/>
              <a:gd name="connsiteX64" fmla="*/ 819333 w 1007268"/>
              <a:gd name="connsiteY64" fmla="*/ 1016000 h 1698625"/>
              <a:gd name="connsiteX65" fmla="*/ 809808 w 1007268"/>
              <a:gd name="connsiteY65" fmla="*/ 1022350 h 1698625"/>
              <a:gd name="connsiteX66" fmla="*/ 803458 w 1007268"/>
              <a:gd name="connsiteY66" fmla="*/ 1041400 h 1698625"/>
              <a:gd name="connsiteX67" fmla="*/ 803458 w 1007268"/>
              <a:gd name="connsiteY67" fmla="*/ 1047750 h 1698625"/>
              <a:gd name="connsiteX68" fmla="*/ 803458 w 1007268"/>
              <a:gd name="connsiteY68" fmla="*/ 1060450 h 1698625"/>
              <a:gd name="connsiteX69" fmla="*/ 803458 w 1007268"/>
              <a:gd name="connsiteY69" fmla="*/ 1073150 h 1698625"/>
              <a:gd name="connsiteX70" fmla="*/ 790758 w 1007268"/>
              <a:gd name="connsiteY70" fmla="*/ 1085850 h 1698625"/>
              <a:gd name="connsiteX71" fmla="*/ 762183 w 1007268"/>
              <a:gd name="connsiteY71" fmla="*/ 1108075 h 1698625"/>
              <a:gd name="connsiteX72" fmla="*/ 759008 w 1007268"/>
              <a:gd name="connsiteY72" fmla="*/ 1127125 h 1698625"/>
              <a:gd name="connsiteX73" fmla="*/ 755833 w 1007268"/>
              <a:gd name="connsiteY73" fmla="*/ 1162050 h 1698625"/>
              <a:gd name="connsiteX74" fmla="*/ 759008 w 1007268"/>
              <a:gd name="connsiteY74" fmla="*/ 1168400 h 1698625"/>
              <a:gd name="connsiteX75" fmla="*/ 752658 w 1007268"/>
              <a:gd name="connsiteY75" fmla="*/ 1184275 h 1698625"/>
              <a:gd name="connsiteX76" fmla="*/ 743133 w 1007268"/>
              <a:gd name="connsiteY76" fmla="*/ 1190625 h 1698625"/>
              <a:gd name="connsiteX77" fmla="*/ 730433 w 1007268"/>
              <a:gd name="connsiteY77" fmla="*/ 1203325 h 1698625"/>
              <a:gd name="connsiteX78" fmla="*/ 714558 w 1007268"/>
              <a:gd name="connsiteY78" fmla="*/ 1216025 h 1698625"/>
              <a:gd name="connsiteX79" fmla="*/ 705033 w 1007268"/>
              <a:gd name="connsiteY79" fmla="*/ 1228725 h 1698625"/>
              <a:gd name="connsiteX80" fmla="*/ 701858 w 1007268"/>
              <a:gd name="connsiteY80" fmla="*/ 1247775 h 1698625"/>
              <a:gd name="connsiteX81" fmla="*/ 692333 w 1007268"/>
              <a:gd name="connsiteY81" fmla="*/ 1254125 h 1698625"/>
              <a:gd name="connsiteX82" fmla="*/ 676458 w 1007268"/>
              <a:gd name="connsiteY82" fmla="*/ 1263650 h 1698625"/>
              <a:gd name="connsiteX83" fmla="*/ 663758 w 1007268"/>
              <a:gd name="connsiteY83" fmla="*/ 1273175 h 1698625"/>
              <a:gd name="connsiteX84" fmla="*/ 606608 w 1007268"/>
              <a:gd name="connsiteY84" fmla="*/ 1292225 h 1698625"/>
              <a:gd name="connsiteX85" fmla="*/ 536758 w 1007268"/>
              <a:gd name="connsiteY85" fmla="*/ 1308100 h 1698625"/>
              <a:gd name="connsiteX86" fmla="*/ 489133 w 1007268"/>
              <a:gd name="connsiteY86" fmla="*/ 1317625 h 1698625"/>
              <a:gd name="connsiteX87" fmla="*/ 466908 w 1007268"/>
              <a:gd name="connsiteY87" fmla="*/ 1320800 h 1698625"/>
              <a:gd name="connsiteX88" fmla="*/ 428808 w 1007268"/>
              <a:gd name="connsiteY88" fmla="*/ 1323975 h 1698625"/>
              <a:gd name="connsiteX89" fmla="*/ 387533 w 1007268"/>
              <a:gd name="connsiteY89" fmla="*/ 1327150 h 1698625"/>
              <a:gd name="connsiteX90" fmla="*/ 343083 w 1007268"/>
              <a:gd name="connsiteY90" fmla="*/ 1336675 h 1698625"/>
              <a:gd name="connsiteX91" fmla="*/ 314508 w 1007268"/>
              <a:gd name="connsiteY91" fmla="*/ 1343025 h 1698625"/>
              <a:gd name="connsiteX92" fmla="*/ 289108 w 1007268"/>
              <a:gd name="connsiteY92" fmla="*/ 1346200 h 1698625"/>
              <a:gd name="connsiteX93" fmla="*/ 257358 w 1007268"/>
              <a:gd name="connsiteY93" fmla="*/ 1358900 h 1698625"/>
              <a:gd name="connsiteX94" fmla="*/ 222433 w 1007268"/>
              <a:gd name="connsiteY94" fmla="*/ 1368425 h 1698625"/>
              <a:gd name="connsiteX95" fmla="*/ 209733 w 1007268"/>
              <a:gd name="connsiteY95" fmla="*/ 1371600 h 1698625"/>
              <a:gd name="connsiteX96" fmla="*/ 171633 w 1007268"/>
              <a:gd name="connsiteY96" fmla="*/ 1377950 h 1698625"/>
              <a:gd name="connsiteX97" fmla="*/ 165283 w 1007268"/>
              <a:gd name="connsiteY97" fmla="*/ 1384300 h 1698625"/>
              <a:gd name="connsiteX98" fmla="*/ 117658 w 1007268"/>
              <a:gd name="connsiteY98" fmla="*/ 1397000 h 1698625"/>
              <a:gd name="connsiteX99" fmla="*/ 85908 w 1007268"/>
              <a:gd name="connsiteY99" fmla="*/ 1403350 h 1698625"/>
              <a:gd name="connsiteX100" fmla="*/ 70033 w 1007268"/>
              <a:gd name="connsiteY100" fmla="*/ 1412875 h 1698625"/>
              <a:gd name="connsiteX101" fmla="*/ 70033 w 1007268"/>
              <a:gd name="connsiteY101" fmla="*/ 1438275 h 1698625"/>
              <a:gd name="connsiteX102" fmla="*/ 76383 w 1007268"/>
              <a:gd name="connsiteY102" fmla="*/ 1460500 h 1698625"/>
              <a:gd name="connsiteX103" fmla="*/ 76383 w 1007268"/>
              <a:gd name="connsiteY103" fmla="*/ 1476375 h 1698625"/>
              <a:gd name="connsiteX104" fmla="*/ 41458 w 1007268"/>
              <a:gd name="connsiteY104" fmla="*/ 1536700 h 1698625"/>
              <a:gd name="connsiteX105" fmla="*/ 38283 w 1007268"/>
              <a:gd name="connsiteY105" fmla="*/ 1568450 h 1698625"/>
              <a:gd name="connsiteX106" fmla="*/ 31933 w 1007268"/>
              <a:gd name="connsiteY106" fmla="*/ 1593850 h 1698625"/>
              <a:gd name="connsiteX107" fmla="*/ 25583 w 1007268"/>
              <a:gd name="connsiteY107" fmla="*/ 1619250 h 1698625"/>
              <a:gd name="connsiteX108" fmla="*/ 25583 w 1007268"/>
              <a:gd name="connsiteY108" fmla="*/ 1631950 h 1698625"/>
              <a:gd name="connsiteX109" fmla="*/ 12883 w 1007268"/>
              <a:gd name="connsiteY109" fmla="*/ 1657350 h 1698625"/>
              <a:gd name="connsiteX110" fmla="*/ 183 w 1007268"/>
              <a:gd name="connsiteY110" fmla="*/ 1682750 h 1698625"/>
              <a:gd name="connsiteX111" fmla="*/ 6533 w 1007268"/>
              <a:gd name="connsiteY111" fmla="*/ 1698625 h 1698625"/>
              <a:gd name="connsiteX0" fmla="*/ 797108 w 1007268"/>
              <a:gd name="connsiteY0" fmla="*/ 0 h 1698625"/>
              <a:gd name="connsiteX1" fmla="*/ 803458 w 1007268"/>
              <a:gd name="connsiteY1" fmla="*/ 34925 h 1698625"/>
              <a:gd name="connsiteX2" fmla="*/ 803458 w 1007268"/>
              <a:gd name="connsiteY2" fmla="*/ 57150 h 1698625"/>
              <a:gd name="connsiteX3" fmla="*/ 806633 w 1007268"/>
              <a:gd name="connsiteY3" fmla="*/ 76200 h 1698625"/>
              <a:gd name="connsiteX4" fmla="*/ 806633 w 1007268"/>
              <a:gd name="connsiteY4" fmla="*/ 85725 h 1698625"/>
              <a:gd name="connsiteX5" fmla="*/ 797108 w 1007268"/>
              <a:gd name="connsiteY5" fmla="*/ 98425 h 1698625"/>
              <a:gd name="connsiteX6" fmla="*/ 793933 w 1007268"/>
              <a:gd name="connsiteY6" fmla="*/ 127000 h 1698625"/>
              <a:gd name="connsiteX7" fmla="*/ 793933 w 1007268"/>
              <a:gd name="connsiteY7" fmla="*/ 139700 h 1698625"/>
              <a:gd name="connsiteX8" fmla="*/ 803458 w 1007268"/>
              <a:gd name="connsiteY8" fmla="*/ 161925 h 1698625"/>
              <a:gd name="connsiteX9" fmla="*/ 816158 w 1007268"/>
              <a:gd name="connsiteY9" fmla="*/ 177800 h 1698625"/>
              <a:gd name="connsiteX10" fmla="*/ 825683 w 1007268"/>
              <a:gd name="connsiteY10" fmla="*/ 193675 h 1698625"/>
              <a:gd name="connsiteX11" fmla="*/ 828858 w 1007268"/>
              <a:gd name="connsiteY11" fmla="*/ 203200 h 1698625"/>
              <a:gd name="connsiteX12" fmla="*/ 825683 w 1007268"/>
              <a:gd name="connsiteY12" fmla="*/ 250825 h 1698625"/>
              <a:gd name="connsiteX13" fmla="*/ 819333 w 1007268"/>
              <a:gd name="connsiteY13" fmla="*/ 273050 h 1698625"/>
              <a:gd name="connsiteX14" fmla="*/ 812983 w 1007268"/>
              <a:gd name="connsiteY14" fmla="*/ 307975 h 1698625"/>
              <a:gd name="connsiteX15" fmla="*/ 806633 w 1007268"/>
              <a:gd name="connsiteY15" fmla="*/ 346075 h 1698625"/>
              <a:gd name="connsiteX16" fmla="*/ 809808 w 1007268"/>
              <a:gd name="connsiteY16" fmla="*/ 374650 h 1698625"/>
              <a:gd name="connsiteX17" fmla="*/ 816158 w 1007268"/>
              <a:gd name="connsiteY17" fmla="*/ 409575 h 1698625"/>
              <a:gd name="connsiteX18" fmla="*/ 838383 w 1007268"/>
              <a:gd name="connsiteY18" fmla="*/ 444500 h 1698625"/>
              <a:gd name="connsiteX19" fmla="*/ 847908 w 1007268"/>
              <a:gd name="connsiteY19" fmla="*/ 450850 h 1698625"/>
              <a:gd name="connsiteX20" fmla="*/ 860608 w 1007268"/>
              <a:gd name="connsiteY20" fmla="*/ 466725 h 1698625"/>
              <a:gd name="connsiteX21" fmla="*/ 873308 w 1007268"/>
              <a:gd name="connsiteY21" fmla="*/ 476250 h 1698625"/>
              <a:gd name="connsiteX22" fmla="*/ 898708 w 1007268"/>
              <a:gd name="connsiteY22" fmla="*/ 508000 h 1698625"/>
              <a:gd name="connsiteX23" fmla="*/ 943158 w 1007268"/>
              <a:gd name="connsiteY23" fmla="*/ 533400 h 1698625"/>
              <a:gd name="connsiteX24" fmla="*/ 968558 w 1007268"/>
              <a:gd name="connsiteY24" fmla="*/ 549275 h 1698625"/>
              <a:gd name="connsiteX25" fmla="*/ 984433 w 1007268"/>
              <a:gd name="connsiteY25" fmla="*/ 565150 h 1698625"/>
              <a:gd name="connsiteX26" fmla="*/ 1000308 w 1007268"/>
              <a:gd name="connsiteY26" fmla="*/ 584200 h 1698625"/>
              <a:gd name="connsiteX27" fmla="*/ 1006658 w 1007268"/>
              <a:gd name="connsiteY27" fmla="*/ 609600 h 1698625"/>
              <a:gd name="connsiteX28" fmla="*/ 1006658 w 1007268"/>
              <a:gd name="connsiteY28" fmla="*/ 631825 h 1698625"/>
              <a:gd name="connsiteX29" fmla="*/ 1003483 w 1007268"/>
              <a:gd name="connsiteY29" fmla="*/ 647700 h 1698625"/>
              <a:gd name="connsiteX30" fmla="*/ 997133 w 1007268"/>
              <a:gd name="connsiteY30" fmla="*/ 657225 h 1698625"/>
              <a:gd name="connsiteX31" fmla="*/ 1000308 w 1007268"/>
              <a:gd name="connsiteY31" fmla="*/ 673100 h 1698625"/>
              <a:gd name="connsiteX32" fmla="*/ 1003483 w 1007268"/>
              <a:gd name="connsiteY32" fmla="*/ 685800 h 1698625"/>
              <a:gd name="connsiteX33" fmla="*/ 990783 w 1007268"/>
              <a:gd name="connsiteY33" fmla="*/ 708025 h 1698625"/>
              <a:gd name="connsiteX34" fmla="*/ 984433 w 1007268"/>
              <a:gd name="connsiteY34" fmla="*/ 727075 h 1698625"/>
              <a:gd name="connsiteX35" fmla="*/ 984433 w 1007268"/>
              <a:gd name="connsiteY35" fmla="*/ 739775 h 1698625"/>
              <a:gd name="connsiteX36" fmla="*/ 974908 w 1007268"/>
              <a:gd name="connsiteY36" fmla="*/ 755650 h 1698625"/>
              <a:gd name="connsiteX37" fmla="*/ 974908 w 1007268"/>
              <a:gd name="connsiteY37" fmla="*/ 765175 h 1698625"/>
              <a:gd name="connsiteX38" fmla="*/ 968558 w 1007268"/>
              <a:gd name="connsiteY38" fmla="*/ 784225 h 1698625"/>
              <a:gd name="connsiteX39" fmla="*/ 965383 w 1007268"/>
              <a:gd name="connsiteY39" fmla="*/ 806450 h 1698625"/>
              <a:gd name="connsiteX40" fmla="*/ 952683 w 1007268"/>
              <a:gd name="connsiteY40" fmla="*/ 819150 h 1698625"/>
              <a:gd name="connsiteX41" fmla="*/ 946333 w 1007268"/>
              <a:gd name="connsiteY41" fmla="*/ 835025 h 1698625"/>
              <a:gd name="connsiteX42" fmla="*/ 939983 w 1007268"/>
              <a:gd name="connsiteY42" fmla="*/ 844550 h 1698625"/>
              <a:gd name="connsiteX43" fmla="*/ 936808 w 1007268"/>
              <a:gd name="connsiteY43" fmla="*/ 857250 h 1698625"/>
              <a:gd name="connsiteX44" fmla="*/ 936808 w 1007268"/>
              <a:gd name="connsiteY44" fmla="*/ 863600 h 1698625"/>
              <a:gd name="connsiteX45" fmla="*/ 936808 w 1007268"/>
              <a:gd name="connsiteY45" fmla="*/ 882650 h 1698625"/>
              <a:gd name="connsiteX46" fmla="*/ 936808 w 1007268"/>
              <a:gd name="connsiteY46" fmla="*/ 901700 h 1698625"/>
              <a:gd name="connsiteX47" fmla="*/ 946333 w 1007268"/>
              <a:gd name="connsiteY47" fmla="*/ 908050 h 1698625"/>
              <a:gd name="connsiteX48" fmla="*/ 952683 w 1007268"/>
              <a:gd name="connsiteY48" fmla="*/ 920750 h 1698625"/>
              <a:gd name="connsiteX49" fmla="*/ 949508 w 1007268"/>
              <a:gd name="connsiteY49" fmla="*/ 927100 h 1698625"/>
              <a:gd name="connsiteX50" fmla="*/ 949508 w 1007268"/>
              <a:gd name="connsiteY50" fmla="*/ 946150 h 1698625"/>
              <a:gd name="connsiteX51" fmla="*/ 939983 w 1007268"/>
              <a:gd name="connsiteY51" fmla="*/ 946150 h 1698625"/>
              <a:gd name="connsiteX52" fmla="*/ 920933 w 1007268"/>
              <a:gd name="connsiteY52" fmla="*/ 946150 h 1698625"/>
              <a:gd name="connsiteX53" fmla="*/ 905058 w 1007268"/>
              <a:gd name="connsiteY53" fmla="*/ 946150 h 1698625"/>
              <a:gd name="connsiteX54" fmla="*/ 886008 w 1007268"/>
              <a:gd name="connsiteY54" fmla="*/ 952500 h 1698625"/>
              <a:gd name="connsiteX55" fmla="*/ 870133 w 1007268"/>
              <a:gd name="connsiteY55" fmla="*/ 958850 h 1698625"/>
              <a:gd name="connsiteX56" fmla="*/ 854258 w 1007268"/>
              <a:gd name="connsiteY56" fmla="*/ 962025 h 1698625"/>
              <a:gd name="connsiteX57" fmla="*/ 835208 w 1007268"/>
              <a:gd name="connsiteY57" fmla="*/ 962025 h 1698625"/>
              <a:gd name="connsiteX58" fmla="*/ 822508 w 1007268"/>
              <a:gd name="connsiteY58" fmla="*/ 955675 h 1698625"/>
              <a:gd name="connsiteX59" fmla="*/ 793933 w 1007268"/>
              <a:gd name="connsiteY59" fmla="*/ 971550 h 1698625"/>
              <a:gd name="connsiteX60" fmla="*/ 803458 w 1007268"/>
              <a:gd name="connsiteY60" fmla="*/ 977900 h 1698625"/>
              <a:gd name="connsiteX61" fmla="*/ 819333 w 1007268"/>
              <a:gd name="connsiteY61" fmla="*/ 987425 h 1698625"/>
              <a:gd name="connsiteX62" fmla="*/ 819333 w 1007268"/>
              <a:gd name="connsiteY62" fmla="*/ 1000125 h 1698625"/>
              <a:gd name="connsiteX63" fmla="*/ 819333 w 1007268"/>
              <a:gd name="connsiteY63" fmla="*/ 1016000 h 1698625"/>
              <a:gd name="connsiteX64" fmla="*/ 809808 w 1007268"/>
              <a:gd name="connsiteY64" fmla="*/ 1022350 h 1698625"/>
              <a:gd name="connsiteX65" fmla="*/ 803458 w 1007268"/>
              <a:gd name="connsiteY65" fmla="*/ 1041400 h 1698625"/>
              <a:gd name="connsiteX66" fmla="*/ 803458 w 1007268"/>
              <a:gd name="connsiteY66" fmla="*/ 1047750 h 1698625"/>
              <a:gd name="connsiteX67" fmla="*/ 803458 w 1007268"/>
              <a:gd name="connsiteY67" fmla="*/ 1060450 h 1698625"/>
              <a:gd name="connsiteX68" fmla="*/ 803458 w 1007268"/>
              <a:gd name="connsiteY68" fmla="*/ 1073150 h 1698625"/>
              <a:gd name="connsiteX69" fmla="*/ 790758 w 1007268"/>
              <a:gd name="connsiteY69" fmla="*/ 1085850 h 1698625"/>
              <a:gd name="connsiteX70" fmla="*/ 762183 w 1007268"/>
              <a:gd name="connsiteY70" fmla="*/ 1108075 h 1698625"/>
              <a:gd name="connsiteX71" fmla="*/ 759008 w 1007268"/>
              <a:gd name="connsiteY71" fmla="*/ 1127125 h 1698625"/>
              <a:gd name="connsiteX72" fmla="*/ 755833 w 1007268"/>
              <a:gd name="connsiteY72" fmla="*/ 1162050 h 1698625"/>
              <a:gd name="connsiteX73" fmla="*/ 759008 w 1007268"/>
              <a:gd name="connsiteY73" fmla="*/ 1168400 h 1698625"/>
              <a:gd name="connsiteX74" fmla="*/ 752658 w 1007268"/>
              <a:gd name="connsiteY74" fmla="*/ 1184275 h 1698625"/>
              <a:gd name="connsiteX75" fmla="*/ 743133 w 1007268"/>
              <a:gd name="connsiteY75" fmla="*/ 1190625 h 1698625"/>
              <a:gd name="connsiteX76" fmla="*/ 730433 w 1007268"/>
              <a:gd name="connsiteY76" fmla="*/ 1203325 h 1698625"/>
              <a:gd name="connsiteX77" fmla="*/ 714558 w 1007268"/>
              <a:gd name="connsiteY77" fmla="*/ 1216025 h 1698625"/>
              <a:gd name="connsiteX78" fmla="*/ 705033 w 1007268"/>
              <a:gd name="connsiteY78" fmla="*/ 1228725 h 1698625"/>
              <a:gd name="connsiteX79" fmla="*/ 701858 w 1007268"/>
              <a:gd name="connsiteY79" fmla="*/ 1247775 h 1698625"/>
              <a:gd name="connsiteX80" fmla="*/ 692333 w 1007268"/>
              <a:gd name="connsiteY80" fmla="*/ 1254125 h 1698625"/>
              <a:gd name="connsiteX81" fmla="*/ 676458 w 1007268"/>
              <a:gd name="connsiteY81" fmla="*/ 1263650 h 1698625"/>
              <a:gd name="connsiteX82" fmla="*/ 663758 w 1007268"/>
              <a:gd name="connsiteY82" fmla="*/ 1273175 h 1698625"/>
              <a:gd name="connsiteX83" fmla="*/ 606608 w 1007268"/>
              <a:gd name="connsiteY83" fmla="*/ 1292225 h 1698625"/>
              <a:gd name="connsiteX84" fmla="*/ 536758 w 1007268"/>
              <a:gd name="connsiteY84" fmla="*/ 1308100 h 1698625"/>
              <a:gd name="connsiteX85" fmla="*/ 489133 w 1007268"/>
              <a:gd name="connsiteY85" fmla="*/ 1317625 h 1698625"/>
              <a:gd name="connsiteX86" fmla="*/ 466908 w 1007268"/>
              <a:gd name="connsiteY86" fmla="*/ 1320800 h 1698625"/>
              <a:gd name="connsiteX87" fmla="*/ 428808 w 1007268"/>
              <a:gd name="connsiteY87" fmla="*/ 1323975 h 1698625"/>
              <a:gd name="connsiteX88" fmla="*/ 387533 w 1007268"/>
              <a:gd name="connsiteY88" fmla="*/ 1327150 h 1698625"/>
              <a:gd name="connsiteX89" fmla="*/ 343083 w 1007268"/>
              <a:gd name="connsiteY89" fmla="*/ 1336675 h 1698625"/>
              <a:gd name="connsiteX90" fmla="*/ 314508 w 1007268"/>
              <a:gd name="connsiteY90" fmla="*/ 1343025 h 1698625"/>
              <a:gd name="connsiteX91" fmla="*/ 289108 w 1007268"/>
              <a:gd name="connsiteY91" fmla="*/ 1346200 h 1698625"/>
              <a:gd name="connsiteX92" fmla="*/ 257358 w 1007268"/>
              <a:gd name="connsiteY92" fmla="*/ 1358900 h 1698625"/>
              <a:gd name="connsiteX93" fmla="*/ 222433 w 1007268"/>
              <a:gd name="connsiteY93" fmla="*/ 1368425 h 1698625"/>
              <a:gd name="connsiteX94" fmla="*/ 209733 w 1007268"/>
              <a:gd name="connsiteY94" fmla="*/ 1371600 h 1698625"/>
              <a:gd name="connsiteX95" fmla="*/ 171633 w 1007268"/>
              <a:gd name="connsiteY95" fmla="*/ 1377950 h 1698625"/>
              <a:gd name="connsiteX96" fmla="*/ 165283 w 1007268"/>
              <a:gd name="connsiteY96" fmla="*/ 1384300 h 1698625"/>
              <a:gd name="connsiteX97" fmla="*/ 117658 w 1007268"/>
              <a:gd name="connsiteY97" fmla="*/ 1397000 h 1698625"/>
              <a:gd name="connsiteX98" fmla="*/ 85908 w 1007268"/>
              <a:gd name="connsiteY98" fmla="*/ 1403350 h 1698625"/>
              <a:gd name="connsiteX99" fmla="*/ 70033 w 1007268"/>
              <a:gd name="connsiteY99" fmla="*/ 1412875 h 1698625"/>
              <a:gd name="connsiteX100" fmla="*/ 70033 w 1007268"/>
              <a:gd name="connsiteY100" fmla="*/ 1438275 h 1698625"/>
              <a:gd name="connsiteX101" fmla="*/ 76383 w 1007268"/>
              <a:gd name="connsiteY101" fmla="*/ 1460500 h 1698625"/>
              <a:gd name="connsiteX102" fmla="*/ 76383 w 1007268"/>
              <a:gd name="connsiteY102" fmla="*/ 1476375 h 1698625"/>
              <a:gd name="connsiteX103" fmla="*/ 41458 w 1007268"/>
              <a:gd name="connsiteY103" fmla="*/ 1536700 h 1698625"/>
              <a:gd name="connsiteX104" fmla="*/ 38283 w 1007268"/>
              <a:gd name="connsiteY104" fmla="*/ 1568450 h 1698625"/>
              <a:gd name="connsiteX105" fmla="*/ 31933 w 1007268"/>
              <a:gd name="connsiteY105" fmla="*/ 1593850 h 1698625"/>
              <a:gd name="connsiteX106" fmla="*/ 25583 w 1007268"/>
              <a:gd name="connsiteY106" fmla="*/ 1619250 h 1698625"/>
              <a:gd name="connsiteX107" fmla="*/ 25583 w 1007268"/>
              <a:gd name="connsiteY107" fmla="*/ 1631950 h 1698625"/>
              <a:gd name="connsiteX108" fmla="*/ 12883 w 1007268"/>
              <a:gd name="connsiteY108" fmla="*/ 1657350 h 1698625"/>
              <a:gd name="connsiteX109" fmla="*/ 183 w 1007268"/>
              <a:gd name="connsiteY109" fmla="*/ 1682750 h 1698625"/>
              <a:gd name="connsiteX110" fmla="*/ 6533 w 1007268"/>
              <a:gd name="connsiteY110" fmla="*/ 1698625 h 169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</a:cxnLst>
            <a:rect l="l" t="t" r="r" b="b"/>
            <a:pathLst>
              <a:path w="1007268" h="1698625">
                <a:moveTo>
                  <a:pt x="797108" y="0"/>
                </a:moveTo>
                <a:cubicBezTo>
                  <a:pt x="798431" y="7276"/>
                  <a:pt x="802400" y="25400"/>
                  <a:pt x="803458" y="34925"/>
                </a:cubicBezTo>
                <a:cubicBezTo>
                  <a:pt x="804516" y="44450"/>
                  <a:pt x="802929" y="50271"/>
                  <a:pt x="803458" y="57150"/>
                </a:cubicBezTo>
                <a:cubicBezTo>
                  <a:pt x="803987" y="64029"/>
                  <a:pt x="806104" y="71438"/>
                  <a:pt x="806633" y="76200"/>
                </a:cubicBezTo>
                <a:cubicBezTo>
                  <a:pt x="807162" y="80963"/>
                  <a:pt x="808220" y="82021"/>
                  <a:pt x="806633" y="85725"/>
                </a:cubicBezTo>
                <a:cubicBezTo>
                  <a:pt x="805046" y="89429"/>
                  <a:pt x="799225" y="91546"/>
                  <a:pt x="797108" y="98425"/>
                </a:cubicBezTo>
                <a:cubicBezTo>
                  <a:pt x="794991" y="105304"/>
                  <a:pt x="794462" y="120121"/>
                  <a:pt x="793933" y="127000"/>
                </a:cubicBezTo>
                <a:cubicBezTo>
                  <a:pt x="793404" y="133879"/>
                  <a:pt x="792346" y="133879"/>
                  <a:pt x="793933" y="139700"/>
                </a:cubicBezTo>
                <a:cubicBezTo>
                  <a:pt x="795521" y="145521"/>
                  <a:pt x="799754" y="155575"/>
                  <a:pt x="803458" y="161925"/>
                </a:cubicBezTo>
                <a:cubicBezTo>
                  <a:pt x="807162" y="168275"/>
                  <a:pt x="812454" y="172508"/>
                  <a:pt x="816158" y="177800"/>
                </a:cubicBezTo>
                <a:cubicBezTo>
                  <a:pt x="819862" y="183092"/>
                  <a:pt x="823566" y="189442"/>
                  <a:pt x="825683" y="193675"/>
                </a:cubicBezTo>
                <a:cubicBezTo>
                  <a:pt x="827800" y="197908"/>
                  <a:pt x="828858" y="193675"/>
                  <a:pt x="828858" y="203200"/>
                </a:cubicBezTo>
                <a:cubicBezTo>
                  <a:pt x="828858" y="212725"/>
                  <a:pt x="827270" y="239183"/>
                  <a:pt x="825683" y="250825"/>
                </a:cubicBezTo>
                <a:cubicBezTo>
                  <a:pt x="824096" y="262467"/>
                  <a:pt x="821450" y="263525"/>
                  <a:pt x="819333" y="273050"/>
                </a:cubicBezTo>
                <a:cubicBezTo>
                  <a:pt x="817216" y="282575"/>
                  <a:pt x="815100" y="295804"/>
                  <a:pt x="812983" y="307975"/>
                </a:cubicBezTo>
                <a:cubicBezTo>
                  <a:pt x="810866" y="320146"/>
                  <a:pt x="807162" y="334963"/>
                  <a:pt x="806633" y="346075"/>
                </a:cubicBezTo>
                <a:cubicBezTo>
                  <a:pt x="806104" y="357187"/>
                  <a:pt x="808221" y="364067"/>
                  <a:pt x="809808" y="374650"/>
                </a:cubicBezTo>
                <a:cubicBezTo>
                  <a:pt x="811396" y="385233"/>
                  <a:pt x="811396" y="397933"/>
                  <a:pt x="816158" y="409575"/>
                </a:cubicBezTo>
                <a:cubicBezTo>
                  <a:pt x="820920" y="421217"/>
                  <a:pt x="833091" y="437621"/>
                  <a:pt x="838383" y="444500"/>
                </a:cubicBezTo>
                <a:cubicBezTo>
                  <a:pt x="843675" y="451379"/>
                  <a:pt x="844204" y="447146"/>
                  <a:pt x="847908" y="450850"/>
                </a:cubicBezTo>
                <a:cubicBezTo>
                  <a:pt x="851612" y="454554"/>
                  <a:pt x="856375" y="462492"/>
                  <a:pt x="860608" y="466725"/>
                </a:cubicBezTo>
                <a:cubicBezTo>
                  <a:pt x="864841" y="470958"/>
                  <a:pt x="866958" y="469371"/>
                  <a:pt x="873308" y="476250"/>
                </a:cubicBezTo>
                <a:cubicBezTo>
                  <a:pt x="879658" y="483129"/>
                  <a:pt x="887066" y="498475"/>
                  <a:pt x="898708" y="508000"/>
                </a:cubicBezTo>
                <a:cubicBezTo>
                  <a:pt x="910350" y="517525"/>
                  <a:pt x="931516" y="526521"/>
                  <a:pt x="943158" y="533400"/>
                </a:cubicBezTo>
                <a:cubicBezTo>
                  <a:pt x="954800" y="540279"/>
                  <a:pt x="961679" y="543983"/>
                  <a:pt x="968558" y="549275"/>
                </a:cubicBezTo>
                <a:cubicBezTo>
                  <a:pt x="975437" y="554567"/>
                  <a:pt x="979141" y="559329"/>
                  <a:pt x="984433" y="565150"/>
                </a:cubicBezTo>
                <a:cubicBezTo>
                  <a:pt x="989725" y="570971"/>
                  <a:pt x="996604" y="576792"/>
                  <a:pt x="1000308" y="584200"/>
                </a:cubicBezTo>
                <a:cubicBezTo>
                  <a:pt x="1004012" y="591608"/>
                  <a:pt x="1005600" y="601663"/>
                  <a:pt x="1006658" y="609600"/>
                </a:cubicBezTo>
                <a:cubicBezTo>
                  <a:pt x="1007716" y="617537"/>
                  <a:pt x="1007187" y="625475"/>
                  <a:pt x="1006658" y="631825"/>
                </a:cubicBezTo>
                <a:cubicBezTo>
                  <a:pt x="1006129" y="638175"/>
                  <a:pt x="1005070" y="643467"/>
                  <a:pt x="1003483" y="647700"/>
                </a:cubicBezTo>
                <a:cubicBezTo>
                  <a:pt x="1001896" y="651933"/>
                  <a:pt x="997662" y="652992"/>
                  <a:pt x="997133" y="657225"/>
                </a:cubicBezTo>
                <a:cubicBezTo>
                  <a:pt x="996604" y="661458"/>
                  <a:pt x="999250" y="668338"/>
                  <a:pt x="1000308" y="673100"/>
                </a:cubicBezTo>
                <a:cubicBezTo>
                  <a:pt x="1001366" y="677862"/>
                  <a:pt x="1005071" y="679979"/>
                  <a:pt x="1003483" y="685800"/>
                </a:cubicBezTo>
                <a:cubicBezTo>
                  <a:pt x="1001896" y="691621"/>
                  <a:pt x="993958" y="701146"/>
                  <a:pt x="990783" y="708025"/>
                </a:cubicBezTo>
                <a:cubicBezTo>
                  <a:pt x="987608" y="714904"/>
                  <a:pt x="985491" y="721784"/>
                  <a:pt x="984433" y="727075"/>
                </a:cubicBezTo>
                <a:cubicBezTo>
                  <a:pt x="983375" y="732366"/>
                  <a:pt x="986020" y="735013"/>
                  <a:pt x="984433" y="739775"/>
                </a:cubicBezTo>
                <a:cubicBezTo>
                  <a:pt x="982846" y="744537"/>
                  <a:pt x="976495" y="751417"/>
                  <a:pt x="974908" y="755650"/>
                </a:cubicBezTo>
                <a:cubicBezTo>
                  <a:pt x="973321" y="759883"/>
                  <a:pt x="975966" y="760413"/>
                  <a:pt x="974908" y="765175"/>
                </a:cubicBezTo>
                <a:cubicBezTo>
                  <a:pt x="973850" y="769937"/>
                  <a:pt x="970145" y="777346"/>
                  <a:pt x="968558" y="784225"/>
                </a:cubicBezTo>
                <a:cubicBezTo>
                  <a:pt x="966971" y="791104"/>
                  <a:pt x="968029" y="800629"/>
                  <a:pt x="965383" y="806450"/>
                </a:cubicBezTo>
                <a:cubicBezTo>
                  <a:pt x="962737" y="812271"/>
                  <a:pt x="955858" y="814388"/>
                  <a:pt x="952683" y="819150"/>
                </a:cubicBezTo>
                <a:cubicBezTo>
                  <a:pt x="949508" y="823912"/>
                  <a:pt x="948450" y="830792"/>
                  <a:pt x="946333" y="835025"/>
                </a:cubicBezTo>
                <a:cubicBezTo>
                  <a:pt x="944216" y="839258"/>
                  <a:pt x="941570" y="840846"/>
                  <a:pt x="939983" y="844550"/>
                </a:cubicBezTo>
                <a:cubicBezTo>
                  <a:pt x="938396" y="848254"/>
                  <a:pt x="937337" y="854075"/>
                  <a:pt x="936808" y="857250"/>
                </a:cubicBezTo>
                <a:cubicBezTo>
                  <a:pt x="936279" y="860425"/>
                  <a:pt x="936808" y="863600"/>
                  <a:pt x="936808" y="863600"/>
                </a:cubicBezTo>
                <a:lnTo>
                  <a:pt x="936808" y="882650"/>
                </a:lnTo>
                <a:cubicBezTo>
                  <a:pt x="936808" y="889000"/>
                  <a:pt x="935221" y="897467"/>
                  <a:pt x="936808" y="901700"/>
                </a:cubicBezTo>
                <a:cubicBezTo>
                  <a:pt x="938395" y="905933"/>
                  <a:pt x="943687" y="904875"/>
                  <a:pt x="946333" y="908050"/>
                </a:cubicBezTo>
                <a:cubicBezTo>
                  <a:pt x="948979" y="911225"/>
                  <a:pt x="952154" y="917575"/>
                  <a:pt x="952683" y="920750"/>
                </a:cubicBezTo>
                <a:cubicBezTo>
                  <a:pt x="953212" y="923925"/>
                  <a:pt x="950037" y="922867"/>
                  <a:pt x="949508" y="927100"/>
                </a:cubicBezTo>
                <a:cubicBezTo>
                  <a:pt x="948979" y="931333"/>
                  <a:pt x="951095" y="942975"/>
                  <a:pt x="949508" y="946150"/>
                </a:cubicBezTo>
                <a:cubicBezTo>
                  <a:pt x="947921" y="949325"/>
                  <a:pt x="939983" y="946150"/>
                  <a:pt x="939983" y="946150"/>
                </a:cubicBezTo>
                <a:lnTo>
                  <a:pt x="920933" y="946150"/>
                </a:lnTo>
                <a:cubicBezTo>
                  <a:pt x="915112" y="946150"/>
                  <a:pt x="910879" y="945092"/>
                  <a:pt x="905058" y="946150"/>
                </a:cubicBezTo>
                <a:cubicBezTo>
                  <a:pt x="899237" y="947208"/>
                  <a:pt x="891829" y="950383"/>
                  <a:pt x="886008" y="952500"/>
                </a:cubicBezTo>
                <a:cubicBezTo>
                  <a:pt x="880187" y="954617"/>
                  <a:pt x="875425" y="957263"/>
                  <a:pt x="870133" y="958850"/>
                </a:cubicBezTo>
                <a:cubicBezTo>
                  <a:pt x="864841" y="960437"/>
                  <a:pt x="860079" y="961496"/>
                  <a:pt x="854258" y="962025"/>
                </a:cubicBezTo>
                <a:cubicBezTo>
                  <a:pt x="848437" y="962554"/>
                  <a:pt x="840499" y="963083"/>
                  <a:pt x="835208" y="962025"/>
                </a:cubicBezTo>
                <a:cubicBezTo>
                  <a:pt x="829917" y="960967"/>
                  <a:pt x="829387" y="954088"/>
                  <a:pt x="822508" y="955675"/>
                </a:cubicBezTo>
                <a:cubicBezTo>
                  <a:pt x="815629" y="957262"/>
                  <a:pt x="797108" y="967846"/>
                  <a:pt x="793933" y="971550"/>
                </a:cubicBezTo>
                <a:cubicBezTo>
                  <a:pt x="790758" y="975254"/>
                  <a:pt x="799225" y="975254"/>
                  <a:pt x="803458" y="977900"/>
                </a:cubicBezTo>
                <a:cubicBezTo>
                  <a:pt x="807691" y="980546"/>
                  <a:pt x="816687" y="983721"/>
                  <a:pt x="819333" y="987425"/>
                </a:cubicBezTo>
                <a:cubicBezTo>
                  <a:pt x="821979" y="991129"/>
                  <a:pt x="819333" y="1000125"/>
                  <a:pt x="819333" y="1000125"/>
                </a:cubicBezTo>
                <a:cubicBezTo>
                  <a:pt x="819333" y="1004887"/>
                  <a:pt x="820920" y="1012296"/>
                  <a:pt x="819333" y="1016000"/>
                </a:cubicBezTo>
                <a:cubicBezTo>
                  <a:pt x="817746" y="1019704"/>
                  <a:pt x="812454" y="1018117"/>
                  <a:pt x="809808" y="1022350"/>
                </a:cubicBezTo>
                <a:cubicBezTo>
                  <a:pt x="807162" y="1026583"/>
                  <a:pt x="804516" y="1037167"/>
                  <a:pt x="803458" y="1041400"/>
                </a:cubicBezTo>
                <a:cubicBezTo>
                  <a:pt x="802400" y="1045633"/>
                  <a:pt x="803458" y="1047750"/>
                  <a:pt x="803458" y="1047750"/>
                </a:cubicBezTo>
                <a:lnTo>
                  <a:pt x="803458" y="1060450"/>
                </a:lnTo>
                <a:cubicBezTo>
                  <a:pt x="803458" y="1064683"/>
                  <a:pt x="805575" y="1068917"/>
                  <a:pt x="803458" y="1073150"/>
                </a:cubicBezTo>
                <a:cubicBezTo>
                  <a:pt x="801341" y="1077383"/>
                  <a:pt x="797637" y="1080029"/>
                  <a:pt x="790758" y="1085850"/>
                </a:cubicBezTo>
                <a:cubicBezTo>
                  <a:pt x="783879" y="1091671"/>
                  <a:pt x="767475" y="1101196"/>
                  <a:pt x="762183" y="1108075"/>
                </a:cubicBezTo>
                <a:cubicBezTo>
                  <a:pt x="756891" y="1114954"/>
                  <a:pt x="760066" y="1118129"/>
                  <a:pt x="759008" y="1127125"/>
                </a:cubicBezTo>
                <a:cubicBezTo>
                  <a:pt x="757950" y="1136121"/>
                  <a:pt x="755833" y="1155171"/>
                  <a:pt x="755833" y="1162050"/>
                </a:cubicBezTo>
                <a:cubicBezTo>
                  <a:pt x="755833" y="1168929"/>
                  <a:pt x="759537" y="1164696"/>
                  <a:pt x="759008" y="1168400"/>
                </a:cubicBezTo>
                <a:cubicBezTo>
                  <a:pt x="758479" y="1172104"/>
                  <a:pt x="755304" y="1180571"/>
                  <a:pt x="752658" y="1184275"/>
                </a:cubicBezTo>
                <a:cubicBezTo>
                  <a:pt x="750012" y="1187979"/>
                  <a:pt x="746837" y="1187450"/>
                  <a:pt x="743133" y="1190625"/>
                </a:cubicBezTo>
                <a:cubicBezTo>
                  <a:pt x="739429" y="1193800"/>
                  <a:pt x="735195" y="1199092"/>
                  <a:pt x="730433" y="1203325"/>
                </a:cubicBezTo>
                <a:cubicBezTo>
                  <a:pt x="725671" y="1207558"/>
                  <a:pt x="718791" y="1211792"/>
                  <a:pt x="714558" y="1216025"/>
                </a:cubicBezTo>
                <a:cubicBezTo>
                  <a:pt x="710325" y="1220258"/>
                  <a:pt x="707150" y="1223433"/>
                  <a:pt x="705033" y="1228725"/>
                </a:cubicBezTo>
                <a:cubicBezTo>
                  <a:pt x="702916" y="1234017"/>
                  <a:pt x="703975" y="1243542"/>
                  <a:pt x="701858" y="1247775"/>
                </a:cubicBezTo>
                <a:cubicBezTo>
                  <a:pt x="699741" y="1252008"/>
                  <a:pt x="696566" y="1251479"/>
                  <a:pt x="692333" y="1254125"/>
                </a:cubicBezTo>
                <a:cubicBezTo>
                  <a:pt x="688100" y="1256771"/>
                  <a:pt x="681220" y="1260475"/>
                  <a:pt x="676458" y="1263650"/>
                </a:cubicBezTo>
                <a:cubicBezTo>
                  <a:pt x="671696" y="1266825"/>
                  <a:pt x="675400" y="1268413"/>
                  <a:pt x="663758" y="1273175"/>
                </a:cubicBezTo>
                <a:cubicBezTo>
                  <a:pt x="652116" y="1277937"/>
                  <a:pt x="627775" y="1286404"/>
                  <a:pt x="606608" y="1292225"/>
                </a:cubicBezTo>
                <a:cubicBezTo>
                  <a:pt x="585441" y="1298046"/>
                  <a:pt x="556337" y="1303867"/>
                  <a:pt x="536758" y="1308100"/>
                </a:cubicBezTo>
                <a:cubicBezTo>
                  <a:pt x="517179" y="1312333"/>
                  <a:pt x="500775" y="1315508"/>
                  <a:pt x="489133" y="1317625"/>
                </a:cubicBezTo>
                <a:cubicBezTo>
                  <a:pt x="477491" y="1319742"/>
                  <a:pt x="476962" y="1319742"/>
                  <a:pt x="466908" y="1320800"/>
                </a:cubicBezTo>
                <a:cubicBezTo>
                  <a:pt x="456854" y="1321858"/>
                  <a:pt x="428808" y="1323975"/>
                  <a:pt x="428808" y="1323975"/>
                </a:cubicBezTo>
                <a:cubicBezTo>
                  <a:pt x="415579" y="1325033"/>
                  <a:pt x="401820" y="1325033"/>
                  <a:pt x="387533" y="1327150"/>
                </a:cubicBezTo>
                <a:cubicBezTo>
                  <a:pt x="373245" y="1329267"/>
                  <a:pt x="343083" y="1336675"/>
                  <a:pt x="343083" y="1336675"/>
                </a:cubicBezTo>
                <a:cubicBezTo>
                  <a:pt x="330912" y="1339321"/>
                  <a:pt x="323504" y="1341438"/>
                  <a:pt x="314508" y="1343025"/>
                </a:cubicBezTo>
                <a:cubicBezTo>
                  <a:pt x="305512" y="1344612"/>
                  <a:pt x="298633" y="1343554"/>
                  <a:pt x="289108" y="1346200"/>
                </a:cubicBezTo>
                <a:cubicBezTo>
                  <a:pt x="279583" y="1348846"/>
                  <a:pt x="268470" y="1355196"/>
                  <a:pt x="257358" y="1358900"/>
                </a:cubicBezTo>
                <a:cubicBezTo>
                  <a:pt x="246246" y="1362604"/>
                  <a:pt x="230370" y="1366308"/>
                  <a:pt x="222433" y="1368425"/>
                </a:cubicBezTo>
                <a:cubicBezTo>
                  <a:pt x="214496" y="1370542"/>
                  <a:pt x="218200" y="1370013"/>
                  <a:pt x="209733" y="1371600"/>
                </a:cubicBezTo>
                <a:cubicBezTo>
                  <a:pt x="201266" y="1373187"/>
                  <a:pt x="179041" y="1375833"/>
                  <a:pt x="171633" y="1377950"/>
                </a:cubicBezTo>
                <a:cubicBezTo>
                  <a:pt x="164225" y="1380067"/>
                  <a:pt x="174279" y="1381125"/>
                  <a:pt x="165283" y="1384300"/>
                </a:cubicBezTo>
                <a:cubicBezTo>
                  <a:pt x="156287" y="1387475"/>
                  <a:pt x="130887" y="1393825"/>
                  <a:pt x="117658" y="1397000"/>
                </a:cubicBezTo>
                <a:cubicBezTo>
                  <a:pt x="104429" y="1400175"/>
                  <a:pt x="93845" y="1400704"/>
                  <a:pt x="85908" y="1403350"/>
                </a:cubicBezTo>
                <a:cubicBezTo>
                  <a:pt x="77971" y="1405996"/>
                  <a:pt x="72679" y="1407054"/>
                  <a:pt x="70033" y="1412875"/>
                </a:cubicBezTo>
                <a:cubicBezTo>
                  <a:pt x="67387" y="1418696"/>
                  <a:pt x="68975" y="1430338"/>
                  <a:pt x="70033" y="1438275"/>
                </a:cubicBezTo>
                <a:cubicBezTo>
                  <a:pt x="71091" y="1446212"/>
                  <a:pt x="75325" y="1454150"/>
                  <a:pt x="76383" y="1460500"/>
                </a:cubicBezTo>
                <a:cubicBezTo>
                  <a:pt x="77441" y="1466850"/>
                  <a:pt x="82204" y="1463675"/>
                  <a:pt x="76383" y="1476375"/>
                </a:cubicBezTo>
                <a:cubicBezTo>
                  <a:pt x="70562" y="1489075"/>
                  <a:pt x="47808" y="1521354"/>
                  <a:pt x="41458" y="1536700"/>
                </a:cubicBezTo>
                <a:cubicBezTo>
                  <a:pt x="35108" y="1552046"/>
                  <a:pt x="39870" y="1558925"/>
                  <a:pt x="38283" y="1568450"/>
                </a:cubicBezTo>
                <a:cubicBezTo>
                  <a:pt x="36695" y="1577975"/>
                  <a:pt x="31933" y="1593850"/>
                  <a:pt x="31933" y="1593850"/>
                </a:cubicBezTo>
                <a:cubicBezTo>
                  <a:pt x="29816" y="1602317"/>
                  <a:pt x="26641" y="1612900"/>
                  <a:pt x="25583" y="1619250"/>
                </a:cubicBezTo>
                <a:cubicBezTo>
                  <a:pt x="24525" y="1625600"/>
                  <a:pt x="27700" y="1625600"/>
                  <a:pt x="25583" y="1631950"/>
                </a:cubicBezTo>
                <a:cubicBezTo>
                  <a:pt x="23466" y="1638300"/>
                  <a:pt x="12883" y="1657350"/>
                  <a:pt x="12883" y="1657350"/>
                </a:cubicBezTo>
                <a:cubicBezTo>
                  <a:pt x="8650" y="1665817"/>
                  <a:pt x="1241" y="1675871"/>
                  <a:pt x="183" y="1682750"/>
                </a:cubicBezTo>
                <a:cubicBezTo>
                  <a:pt x="-875" y="1689629"/>
                  <a:pt x="2829" y="1694127"/>
                  <a:pt x="6533" y="1698625"/>
                </a:cubicBezTo>
              </a:path>
            </a:pathLst>
          </a:custGeom>
          <a:noFill/>
          <a:ln w="1143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Полилиния 92"/>
          <p:cNvSpPr/>
          <p:nvPr/>
        </p:nvSpPr>
        <p:spPr>
          <a:xfrm>
            <a:off x="3439864" y="1290690"/>
            <a:ext cx="525840" cy="1599951"/>
          </a:xfrm>
          <a:custGeom>
            <a:avLst/>
            <a:gdLst>
              <a:gd name="connsiteX0" fmla="*/ 376534 w 376534"/>
              <a:gd name="connsiteY0" fmla="*/ 0 h 1371600"/>
              <a:gd name="connsiteX1" fmla="*/ 314622 w 376534"/>
              <a:gd name="connsiteY1" fmla="*/ 33338 h 1371600"/>
              <a:gd name="connsiteX2" fmla="*/ 302716 w 376534"/>
              <a:gd name="connsiteY2" fmla="*/ 47625 h 1371600"/>
              <a:gd name="connsiteX3" fmla="*/ 276522 w 376534"/>
              <a:gd name="connsiteY3" fmla="*/ 69056 h 1371600"/>
              <a:gd name="connsiteX4" fmla="*/ 259853 w 376534"/>
              <a:gd name="connsiteY4" fmla="*/ 83344 h 1371600"/>
              <a:gd name="connsiteX5" fmla="*/ 238422 w 376534"/>
              <a:gd name="connsiteY5" fmla="*/ 100013 h 1371600"/>
              <a:gd name="connsiteX6" fmla="*/ 224134 w 376534"/>
              <a:gd name="connsiteY6" fmla="*/ 114300 h 1371600"/>
              <a:gd name="connsiteX7" fmla="*/ 205084 w 376534"/>
              <a:gd name="connsiteY7" fmla="*/ 130969 h 1371600"/>
              <a:gd name="connsiteX8" fmla="*/ 195559 w 376534"/>
              <a:gd name="connsiteY8" fmla="*/ 140494 h 1371600"/>
              <a:gd name="connsiteX9" fmla="*/ 186034 w 376534"/>
              <a:gd name="connsiteY9" fmla="*/ 154781 h 1371600"/>
              <a:gd name="connsiteX10" fmla="*/ 178891 w 376534"/>
              <a:gd name="connsiteY10" fmla="*/ 169069 h 1371600"/>
              <a:gd name="connsiteX11" fmla="*/ 169366 w 376534"/>
              <a:gd name="connsiteY11" fmla="*/ 190500 h 1371600"/>
              <a:gd name="connsiteX12" fmla="*/ 162222 w 376534"/>
              <a:gd name="connsiteY12" fmla="*/ 202406 h 1371600"/>
              <a:gd name="connsiteX13" fmla="*/ 152697 w 376534"/>
              <a:gd name="connsiteY13" fmla="*/ 216694 h 1371600"/>
              <a:gd name="connsiteX14" fmla="*/ 143172 w 376534"/>
              <a:gd name="connsiteY14" fmla="*/ 242888 h 1371600"/>
              <a:gd name="connsiteX15" fmla="*/ 136028 w 376534"/>
              <a:gd name="connsiteY15" fmla="*/ 257175 h 1371600"/>
              <a:gd name="connsiteX16" fmla="*/ 133647 w 376534"/>
              <a:gd name="connsiteY16" fmla="*/ 264319 h 1371600"/>
              <a:gd name="connsiteX17" fmla="*/ 121741 w 376534"/>
              <a:gd name="connsiteY17" fmla="*/ 280988 h 1371600"/>
              <a:gd name="connsiteX18" fmla="*/ 112216 w 376534"/>
              <a:gd name="connsiteY18" fmla="*/ 290513 h 1371600"/>
              <a:gd name="connsiteX19" fmla="*/ 100309 w 376534"/>
              <a:gd name="connsiteY19" fmla="*/ 307181 h 1371600"/>
              <a:gd name="connsiteX20" fmla="*/ 90784 w 376534"/>
              <a:gd name="connsiteY20" fmla="*/ 321469 h 1371600"/>
              <a:gd name="connsiteX21" fmla="*/ 83641 w 376534"/>
              <a:gd name="connsiteY21" fmla="*/ 338138 h 1371600"/>
              <a:gd name="connsiteX22" fmla="*/ 86022 w 376534"/>
              <a:gd name="connsiteY22" fmla="*/ 350044 h 1371600"/>
              <a:gd name="connsiteX23" fmla="*/ 86022 w 376534"/>
              <a:gd name="connsiteY23" fmla="*/ 369094 h 1371600"/>
              <a:gd name="connsiteX24" fmla="*/ 93166 w 376534"/>
              <a:gd name="connsiteY24" fmla="*/ 388144 h 1371600"/>
              <a:gd name="connsiteX25" fmla="*/ 100309 w 376534"/>
              <a:gd name="connsiteY25" fmla="*/ 402431 h 1371600"/>
              <a:gd name="connsiteX26" fmla="*/ 102691 w 376534"/>
              <a:gd name="connsiteY26" fmla="*/ 414338 h 1371600"/>
              <a:gd name="connsiteX27" fmla="*/ 112216 w 376534"/>
              <a:gd name="connsiteY27" fmla="*/ 428625 h 1371600"/>
              <a:gd name="connsiteX28" fmla="*/ 119359 w 376534"/>
              <a:gd name="connsiteY28" fmla="*/ 438150 h 1371600"/>
              <a:gd name="connsiteX29" fmla="*/ 124122 w 376534"/>
              <a:gd name="connsiteY29" fmla="*/ 445294 h 1371600"/>
              <a:gd name="connsiteX30" fmla="*/ 131266 w 376534"/>
              <a:gd name="connsiteY30" fmla="*/ 464344 h 1371600"/>
              <a:gd name="connsiteX31" fmla="*/ 124122 w 376534"/>
              <a:gd name="connsiteY31" fmla="*/ 478631 h 1371600"/>
              <a:gd name="connsiteX32" fmla="*/ 112216 w 376534"/>
              <a:gd name="connsiteY32" fmla="*/ 488156 h 1371600"/>
              <a:gd name="connsiteX33" fmla="*/ 102691 w 376534"/>
              <a:gd name="connsiteY33" fmla="*/ 495300 h 1371600"/>
              <a:gd name="connsiteX34" fmla="*/ 95547 w 376534"/>
              <a:gd name="connsiteY34" fmla="*/ 507206 h 1371600"/>
              <a:gd name="connsiteX35" fmla="*/ 95547 w 376534"/>
              <a:gd name="connsiteY35" fmla="*/ 521494 h 1371600"/>
              <a:gd name="connsiteX36" fmla="*/ 97928 w 376534"/>
              <a:gd name="connsiteY36" fmla="*/ 540544 h 1371600"/>
              <a:gd name="connsiteX37" fmla="*/ 81259 w 376534"/>
              <a:gd name="connsiteY37" fmla="*/ 550069 h 1371600"/>
              <a:gd name="connsiteX38" fmla="*/ 64591 w 376534"/>
              <a:gd name="connsiteY38" fmla="*/ 557213 h 1371600"/>
              <a:gd name="connsiteX39" fmla="*/ 43159 w 376534"/>
              <a:gd name="connsiteY39" fmla="*/ 631031 h 1371600"/>
              <a:gd name="connsiteX40" fmla="*/ 36016 w 376534"/>
              <a:gd name="connsiteY40" fmla="*/ 666750 h 1371600"/>
              <a:gd name="connsiteX41" fmla="*/ 28872 w 376534"/>
              <a:gd name="connsiteY41" fmla="*/ 681038 h 1371600"/>
              <a:gd name="connsiteX42" fmla="*/ 21728 w 376534"/>
              <a:gd name="connsiteY42" fmla="*/ 695325 h 1371600"/>
              <a:gd name="connsiteX43" fmla="*/ 9822 w 376534"/>
              <a:gd name="connsiteY43" fmla="*/ 719138 h 1371600"/>
              <a:gd name="connsiteX44" fmla="*/ 9822 w 376534"/>
              <a:gd name="connsiteY44" fmla="*/ 738188 h 1371600"/>
              <a:gd name="connsiteX45" fmla="*/ 2678 w 376534"/>
              <a:gd name="connsiteY45" fmla="*/ 754856 h 1371600"/>
              <a:gd name="connsiteX46" fmla="*/ 297 w 376534"/>
              <a:gd name="connsiteY46" fmla="*/ 776288 h 1371600"/>
              <a:gd name="connsiteX47" fmla="*/ 297 w 376534"/>
              <a:gd name="connsiteY47" fmla="*/ 790575 h 1371600"/>
              <a:gd name="connsiteX48" fmla="*/ 2678 w 376534"/>
              <a:gd name="connsiteY48" fmla="*/ 802481 h 1371600"/>
              <a:gd name="connsiteX49" fmla="*/ 7441 w 376534"/>
              <a:gd name="connsiteY49" fmla="*/ 819150 h 1371600"/>
              <a:gd name="connsiteX50" fmla="*/ 12203 w 376534"/>
              <a:gd name="connsiteY50" fmla="*/ 821531 h 1371600"/>
              <a:gd name="connsiteX51" fmla="*/ 19347 w 376534"/>
              <a:gd name="connsiteY51" fmla="*/ 831056 h 1371600"/>
              <a:gd name="connsiteX52" fmla="*/ 24109 w 376534"/>
              <a:gd name="connsiteY52" fmla="*/ 842963 h 1371600"/>
              <a:gd name="connsiteX53" fmla="*/ 33634 w 376534"/>
              <a:gd name="connsiteY53" fmla="*/ 859631 h 1371600"/>
              <a:gd name="connsiteX54" fmla="*/ 33634 w 376534"/>
              <a:gd name="connsiteY54" fmla="*/ 871538 h 1371600"/>
              <a:gd name="connsiteX55" fmla="*/ 36016 w 376534"/>
              <a:gd name="connsiteY55" fmla="*/ 892969 h 1371600"/>
              <a:gd name="connsiteX56" fmla="*/ 36016 w 376534"/>
              <a:gd name="connsiteY56" fmla="*/ 919163 h 1371600"/>
              <a:gd name="connsiteX57" fmla="*/ 36016 w 376534"/>
              <a:gd name="connsiteY57" fmla="*/ 926306 h 1371600"/>
              <a:gd name="connsiteX58" fmla="*/ 36016 w 376534"/>
              <a:gd name="connsiteY58" fmla="*/ 945356 h 1371600"/>
              <a:gd name="connsiteX59" fmla="*/ 36016 w 376534"/>
              <a:gd name="connsiteY59" fmla="*/ 957263 h 1371600"/>
              <a:gd name="connsiteX60" fmla="*/ 36016 w 376534"/>
              <a:gd name="connsiteY60" fmla="*/ 966788 h 1371600"/>
              <a:gd name="connsiteX61" fmla="*/ 43159 w 376534"/>
              <a:gd name="connsiteY61" fmla="*/ 985838 h 1371600"/>
              <a:gd name="connsiteX62" fmla="*/ 50303 w 376534"/>
              <a:gd name="connsiteY62" fmla="*/ 997744 h 1371600"/>
              <a:gd name="connsiteX63" fmla="*/ 59828 w 376534"/>
              <a:gd name="connsiteY63" fmla="*/ 1007269 h 1371600"/>
              <a:gd name="connsiteX64" fmla="*/ 66972 w 376534"/>
              <a:gd name="connsiteY64" fmla="*/ 1014413 h 1371600"/>
              <a:gd name="connsiteX65" fmla="*/ 74116 w 376534"/>
              <a:gd name="connsiteY65" fmla="*/ 1023938 h 1371600"/>
              <a:gd name="connsiteX66" fmla="*/ 88403 w 376534"/>
              <a:gd name="connsiteY66" fmla="*/ 1038225 h 1371600"/>
              <a:gd name="connsiteX67" fmla="*/ 97928 w 376534"/>
              <a:gd name="connsiteY67" fmla="*/ 1042988 h 1371600"/>
              <a:gd name="connsiteX68" fmla="*/ 105072 w 376534"/>
              <a:gd name="connsiteY68" fmla="*/ 1057275 h 1371600"/>
              <a:gd name="connsiteX69" fmla="*/ 119359 w 376534"/>
              <a:gd name="connsiteY69" fmla="*/ 1066800 h 1371600"/>
              <a:gd name="connsiteX70" fmla="*/ 138409 w 376534"/>
              <a:gd name="connsiteY70" fmla="*/ 1085850 h 1371600"/>
              <a:gd name="connsiteX71" fmla="*/ 150316 w 376534"/>
              <a:gd name="connsiteY71" fmla="*/ 1092994 h 1371600"/>
              <a:gd name="connsiteX72" fmla="*/ 162222 w 376534"/>
              <a:gd name="connsiteY72" fmla="*/ 1112044 h 1371600"/>
              <a:gd name="connsiteX73" fmla="*/ 171747 w 376534"/>
              <a:gd name="connsiteY73" fmla="*/ 1116806 h 1371600"/>
              <a:gd name="connsiteX74" fmla="*/ 183653 w 376534"/>
              <a:gd name="connsiteY74" fmla="*/ 1126331 h 1371600"/>
              <a:gd name="connsiteX75" fmla="*/ 193178 w 376534"/>
              <a:gd name="connsiteY75" fmla="*/ 1135856 h 1371600"/>
              <a:gd name="connsiteX76" fmla="*/ 207466 w 376534"/>
              <a:gd name="connsiteY76" fmla="*/ 1164431 h 1371600"/>
              <a:gd name="connsiteX77" fmla="*/ 212228 w 376534"/>
              <a:gd name="connsiteY77" fmla="*/ 1173956 h 1371600"/>
              <a:gd name="connsiteX78" fmla="*/ 212228 w 376534"/>
              <a:gd name="connsiteY78" fmla="*/ 1231106 h 1371600"/>
              <a:gd name="connsiteX79" fmla="*/ 209847 w 376534"/>
              <a:gd name="connsiteY79" fmla="*/ 1259681 h 1371600"/>
              <a:gd name="connsiteX80" fmla="*/ 205084 w 376534"/>
              <a:gd name="connsiteY80" fmla="*/ 1269206 h 1371600"/>
              <a:gd name="connsiteX81" fmla="*/ 202703 w 376534"/>
              <a:gd name="connsiteY81" fmla="*/ 1300163 h 1371600"/>
              <a:gd name="connsiteX82" fmla="*/ 202703 w 376534"/>
              <a:gd name="connsiteY82" fmla="*/ 1328738 h 1371600"/>
              <a:gd name="connsiteX83" fmla="*/ 212228 w 376534"/>
              <a:gd name="connsiteY83" fmla="*/ 1350169 h 1371600"/>
              <a:gd name="connsiteX84" fmla="*/ 226516 w 376534"/>
              <a:gd name="connsiteY84" fmla="*/ 1371600 h 13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376534" h="1371600">
                <a:moveTo>
                  <a:pt x="376534" y="0"/>
                </a:moveTo>
                <a:cubicBezTo>
                  <a:pt x="351729" y="12700"/>
                  <a:pt x="326925" y="25401"/>
                  <a:pt x="314622" y="33338"/>
                </a:cubicBezTo>
                <a:cubicBezTo>
                  <a:pt x="302319" y="41275"/>
                  <a:pt x="309066" y="41672"/>
                  <a:pt x="302716" y="47625"/>
                </a:cubicBezTo>
                <a:cubicBezTo>
                  <a:pt x="296366" y="53578"/>
                  <a:pt x="283666" y="63103"/>
                  <a:pt x="276522" y="69056"/>
                </a:cubicBezTo>
                <a:cubicBezTo>
                  <a:pt x="269378" y="75009"/>
                  <a:pt x="266203" y="78185"/>
                  <a:pt x="259853" y="83344"/>
                </a:cubicBezTo>
                <a:cubicBezTo>
                  <a:pt x="253503" y="88503"/>
                  <a:pt x="244375" y="94854"/>
                  <a:pt x="238422" y="100013"/>
                </a:cubicBezTo>
                <a:cubicBezTo>
                  <a:pt x="232469" y="105172"/>
                  <a:pt x="229690" y="109141"/>
                  <a:pt x="224134" y="114300"/>
                </a:cubicBezTo>
                <a:cubicBezTo>
                  <a:pt x="218578" y="119459"/>
                  <a:pt x="209846" y="126603"/>
                  <a:pt x="205084" y="130969"/>
                </a:cubicBezTo>
                <a:cubicBezTo>
                  <a:pt x="200322" y="135335"/>
                  <a:pt x="198734" y="136525"/>
                  <a:pt x="195559" y="140494"/>
                </a:cubicBezTo>
                <a:cubicBezTo>
                  <a:pt x="192384" y="144463"/>
                  <a:pt x="188812" y="150019"/>
                  <a:pt x="186034" y="154781"/>
                </a:cubicBezTo>
                <a:cubicBezTo>
                  <a:pt x="183256" y="159543"/>
                  <a:pt x="181669" y="163116"/>
                  <a:pt x="178891" y="169069"/>
                </a:cubicBezTo>
                <a:cubicBezTo>
                  <a:pt x="176113" y="175022"/>
                  <a:pt x="172144" y="184944"/>
                  <a:pt x="169366" y="190500"/>
                </a:cubicBezTo>
                <a:cubicBezTo>
                  <a:pt x="166588" y="196056"/>
                  <a:pt x="165000" y="198040"/>
                  <a:pt x="162222" y="202406"/>
                </a:cubicBezTo>
                <a:cubicBezTo>
                  <a:pt x="159444" y="206772"/>
                  <a:pt x="155872" y="209947"/>
                  <a:pt x="152697" y="216694"/>
                </a:cubicBezTo>
                <a:cubicBezTo>
                  <a:pt x="149522" y="223441"/>
                  <a:pt x="145950" y="236141"/>
                  <a:pt x="143172" y="242888"/>
                </a:cubicBezTo>
                <a:cubicBezTo>
                  <a:pt x="140394" y="249635"/>
                  <a:pt x="137615" y="253603"/>
                  <a:pt x="136028" y="257175"/>
                </a:cubicBezTo>
                <a:cubicBezTo>
                  <a:pt x="134440" y="260747"/>
                  <a:pt x="136028" y="260350"/>
                  <a:pt x="133647" y="264319"/>
                </a:cubicBezTo>
                <a:cubicBezTo>
                  <a:pt x="131266" y="268288"/>
                  <a:pt x="125313" y="276623"/>
                  <a:pt x="121741" y="280988"/>
                </a:cubicBezTo>
                <a:cubicBezTo>
                  <a:pt x="118169" y="285353"/>
                  <a:pt x="115788" y="286148"/>
                  <a:pt x="112216" y="290513"/>
                </a:cubicBezTo>
                <a:cubicBezTo>
                  <a:pt x="108644" y="294878"/>
                  <a:pt x="103881" y="302022"/>
                  <a:pt x="100309" y="307181"/>
                </a:cubicBezTo>
                <a:cubicBezTo>
                  <a:pt x="96737" y="312340"/>
                  <a:pt x="93562" y="316310"/>
                  <a:pt x="90784" y="321469"/>
                </a:cubicBezTo>
                <a:cubicBezTo>
                  <a:pt x="88006" y="326628"/>
                  <a:pt x="84435" y="333376"/>
                  <a:pt x="83641" y="338138"/>
                </a:cubicBezTo>
                <a:cubicBezTo>
                  <a:pt x="82847" y="342900"/>
                  <a:pt x="85625" y="344885"/>
                  <a:pt x="86022" y="350044"/>
                </a:cubicBezTo>
                <a:cubicBezTo>
                  <a:pt x="86419" y="355203"/>
                  <a:pt x="84831" y="362744"/>
                  <a:pt x="86022" y="369094"/>
                </a:cubicBezTo>
                <a:cubicBezTo>
                  <a:pt x="87213" y="375444"/>
                  <a:pt x="90785" y="382588"/>
                  <a:pt x="93166" y="388144"/>
                </a:cubicBezTo>
                <a:cubicBezTo>
                  <a:pt x="95547" y="393700"/>
                  <a:pt x="98722" y="398065"/>
                  <a:pt x="100309" y="402431"/>
                </a:cubicBezTo>
                <a:cubicBezTo>
                  <a:pt x="101896" y="406797"/>
                  <a:pt x="100707" y="409972"/>
                  <a:pt x="102691" y="414338"/>
                </a:cubicBezTo>
                <a:cubicBezTo>
                  <a:pt x="104675" y="418704"/>
                  <a:pt x="109438" y="424656"/>
                  <a:pt x="112216" y="428625"/>
                </a:cubicBezTo>
                <a:cubicBezTo>
                  <a:pt x="114994" y="432594"/>
                  <a:pt x="117375" y="435372"/>
                  <a:pt x="119359" y="438150"/>
                </a:cubicBezTo>
                <a:cubicBezTo>
                  <a:pt x="121343" y="440928"/>
                  <a:pt x="122138" y="440928"/>
                  <a:pt x="124122" y="445294"/>
                </a:cubicBezTo>
                <a:cubicBezTo>
                  <a:pt x="126106" y="449660"/>
                  <a:pt x="131266" y="458788"/>
                  <a:pt x="131266" y="464344"/>
                </a:cubicBezTo>
                <a:cubicBezTo>
                  <a:pt x="131266" y="469900"/>
                  <a:pt x="127297" y="474662"/>
                  <a:pt x="124122" y="478631"/>
                </a:cubicBezTo>
                <a:cubicBezTo>
                  <a:pt x="120947" y="482600"/>
                  <a:pt x="115788" y="485378"/>
                  <a:pt x="112216" y="488156"/>
                </a:cubicBezTo>
                <a:cubicBezTo>
                  <a:pt x="108644" y="490934"/>
                  <a:pt x="105469" y="492125"/>
                  <a:pt x="102691" y="495300"/>
                </a:cubicBezTo>
                <a:cubicBezTo>
                  <a:pt x="99913" y="498475"/>
                  <a:pt x="96738" y="502840"/>
                  <a:pt x="95547" y="507206"/>
                </a:cubicBezTo>
                <a:cubicBezTo>
                  <a:pt x="94356" y="511572"/>
                  <a:pt x="95150" y="515938"/>
                  <a:pt x="95547" y="521494"/>
                </a:cubicBezTo>
                <a:cubicBezTo>
                  <a:pt x="95944" y="527050"/>
                  <a:pt x="100309" y="535782"/>
                  <a:pt x="97928" y="540544"/>
                </a:cubicBezTo>
                <a:cubicBezTo>
                  <a:pt x="95547" y="545306"/>
                  <a:pt x="86815" y="547291"/>
                  <a:pt x="81259" y="550069"/>
                </a:cubicBezTo>
                <a:cubicBezTo>
                  <a:pt x="75703" y="552847"/>
                  <a:pt x="70941" y="543719"/>
                  <a:pt x="64591" y="557213"/>
                </a:cubicBezTo>
                <a:cubicBezTo>
                  <a:pt x="58241" y="570707"/>
                  <a:pt x="47921" y="612775"/>
                  <a:pt x="43159" y="631031"/>
                </a:cubicBezTo>
                <a:cubicBezTo>
                  <a:pt x="38397" y="649287"/>
                  <a:pt x="38397" y="658416"/>
                  <a:pt x="36016" y="666750"/>
                </a:cubicBezTo>
                <a:cubicBezTo>
                  <a:pt x="33635" y="675084"/>
                  <a:pt x="28872" y="681038"/>
                  <a:pt x="28872" y="681038"/>
                </a:cubicBezTo>
                <a:lnTo>
                  <a:pt x="21728" y="695325"/>
                </a:lnTo>
                <a:cubicBezTo>
                  <a:pt x="18553" y="701675"/>
                  <a:pt x="11806" y="711994"/>
                  <a:pt x="9822" y="719138"/>
                </a:cubicBezTo>
                <a:cubicBezTo>
                  <a:pt x="7838" y="726282"/>
                  <a:pt x="11013" y="732235"/>
                  <a:pt x="9822" y="738188"/>
                </a:cubicBezTo>
                <a:cubicBezTo>
                  <a:pt x="8631" y="744141"/>
                  <a:pt x="4265" y="748506"/>
                  <a:pt x="2678" y="754856"/>
                </a:cubicBezTo>
                <a:cubicBezTo>
                  <a:pt x="1090" y="761206"/>
                  <a:pt x="694" y="770335"/>
                  <a:pt x="297" y="776288"/>
                </a:cubicBezTo>
                <a:cubicBezTo>
                  <a:pt x="-100" y="782241"/>
                  <a:pt x="-100" y="786210"/>
                  <a:pt x="297" y="790575"/>
                </a:cubicBezTo>
                <a:cubicBezTo>
                  <a:pt x="694" y="794940"/>
                  <a:pt x="1487" y="797719"/>
                  <a:pt x="2678" y="802481"/>
                </a:cubicBezTo>
                <a:cubicBezTo>
                  <a:pt x="3869" y="807243"/>
                  <a:pt x="5854" y="815975"/>
                  <a:pt x="7441" y="819150"/>
                </a:cubicBezTo>
                <a:cubicBezTo>
                  <a:pt x="9028" y="822325"/>
                  <a:pt x="10219" y="819547"/>
                  <a:pt x="12203" y="821531"/>
                </a:cubicBezTo>
                <a:cubicBezTo>
                  <a:pt x="14187" y="823515"/>
                  <a:pt x="17363" y="827484"/>
                  <a:pt x="19347" y="831056"/>
                </a:cubicBezTo>
                <a:cubicBezTo>
                  <a:pt x="21331" y="834628"/>
                  <a:pt x="21728" y="838201"/>
                  <a:pt x="24109" y="842963"/>
                </a:cubicBezTo>
                <a:cubicBezTo>
                  <a:pt x="26490" y="847725"/>
                  <a:pt x="32047" y="854869"/>
                  <a:pt x="33634" y="859631"/>
                </a:cubicBezTo>
                <a:cubicBezTo>
                  <a:pt x="35221" y="864393"/>
                  <a:pt x="33237" y="865982"/>
                  <a:pt x="33634" y="871538"/>
                </a:cubicBezTo>
                <a:cubicBezTo>
                  <a:pt x="34031" y="877094"/>
                  <a:pt x="35619" y="885032"/>
                  <a:pt x="36016" y="892969"/>
                </a:cubicBezTo>
                <a:cubicBezTo>
                  <a:pt x="36413" y="900906"/>
                  <a:pt x="36016" y="919163"/>
                  <a:pt x="36016" y="919163"/>
                </a:cubicBezTo>
                <a:lnTo>
                  <a:pt x="36016" y="926306"/>
                </a:lnTo>
                <a:lnTo>
                  <a:pt x="36016" y="945356"/>
                </a:lnTo>
                <a:lnTo>
                  <a:pt x="36016" y="957263"/>
                </a:lnTo>
                <a:cubicBezTo>
                  <a:pt x="36016" y="960835"/>
                  <a:pt x="34825" y="962025"/>
                  <a:pt x="36016" y="966788"/>
                </a:cubicBezTo>
                <a:cubicBezTo>
                  <a:pt x="37207" y="971551"/>
                  <a:pt x="40778" y="980679"/>
                  <a:pt x="43159" y="985838"/>
                </a:cubicBezTo>
                <a:cubicBezTo>
                  <a:pt x="45540" y="990997"/>
                  <a:pt x="47525" y="994172"/>
                  <a:pt x="50303" y="997744"/>
                </a:cubicBezTo>
                <a:cubicBezTo>
                  <a:pt x="53081" y="1001316"/>
                  <a:pt x="59828" y="1007269"/>
                  <a:pt x="59828" y="1007269"/>
                </a:cubicBezTo>
                <a:cubicBezTo>
                  <a:pt x="62606" y="1010047"/>
                  <a:pt x="64591" y="1011635"/>
                  <a:pt x="66972" y="1014413"/>
                </a:cubicBezTo>
                <a:cubicBezTo>
                  <a:pt x="69353" y="1017191"/>
                  <a:pt x="70544" y="1019969"/>
                  <a:pt x="74116" y="1023938"/>
                </a:cubicBezTo>
                <a:cubicBezTo>
                  <a:pt x="77688" y="1027907"/>
                  <a:pt x="84434" y="1035050"/>
                  <a:pt x="88403" y="1038225"/>
                </a:cubicBezTo>
                <a:cubicBezTo>
                  <a:pt x="92372" y="1041400"/>
                  <a:pt x="95150" y="1039813"/>
                  <a:pt x="97928" y="1042988"/>
                </a:cubicBezTo>
                <a:cubicBezTo>
                  <a:pt x="100706" y="1046163"/>
                  <a:pt x="101500" y="1053306"/>
                  <a:pt x="105072" y="1057275"/>
                </a:cubicBezTo>
                <a:cubicBezTo>
                  <a:pt x="108644" y="1061244"/>
                  <a:pt x="113803" y="1062038"/>
                  <a:pt x="119359" y="1066800"/>
                </a:cubicBezTo>
                <a:cubicBezTo>
                  <a:pt x="124915" y="1071562"/>
                  <a:pt x="133249" y="1081484"/>
                  <a:pt x="138409" y="1085850"/>
                </a:cubicBezTo>
                <a:cubicBezTo>
                  <a:pt x="143568" y="1090216"/>
                  <a:pt x="146347" y="1088628"/>
                  <a:pt x="150316" y="1092994"/>
                </a:cubicBezTo>
                <a:cubicBezTo>
                  <a:pt x="154285" y="1097360"/>
                  <a:pt x="158650" y="1108075"/>
                  <a:pt x="162222" y="1112044"/>
                </a:cubicBezTo>
                <a:cubicBezTo>
                  <a:pt x="165794" y="1116013"/>
                  <a:pt x="168175" y="1114425"/>
                  <a:pt x="171747" y="1116806"/>
                </a:cubicBezTo>
                <a:cubicBezTo>
                  <a:pt x="175319" y="1119187"/>
                  <a:pt x="180081" y="1123156"/>
                  <a:pt x="183653" y="1126331"/>
                </a:cubicBezTo>
                <a:cubicBezTo>
                  <a:pt x="187225" y="1129506"/>
                  <a:pt x="189209" y="1129506"/>
                  <a:pt x="193178" y="1135856"/>
                </a:cubicBezTo>
                <a:cubicBezTo>
                  <a:pt x="197147" y="1142206"/>
                  <a:pt x="207466" y="1164431"/>
                  <a:pt x="207466" y="1164431"/>
                </a:cubicBezTo>
                <a:cubicBezTo>
                  <a:pt x="210641" y="1170781"/>
                  <a:pt x="211434" y="1162844"/>
                  <a:pt x="212228" y="1173956"/>
                </a:cubicBezTo>
                <a:cubicBezTo>
                  <a:pt x="213022" y="1185068"/>
                  <a:pt x="212625" y="1216819"/>
                  <a:pt x="212228" y="1231106"/>
                </a:cubicBezTo>
                <a:cubicBezTo>
                  <a:pt x="211831" y="1245393"/>
                  <a:pt x="211038" y="1253331"/>
                  <a:pt x="209847" y="1259681"/>
                </a:cubicBezTo>
                <a:cubicBezTo>
                  <a:pt x="208656" y="1266031"/>
                  <a:pt x="206275" y="1262459"/>
                  <a:pt x="205084" y="1269206"/>
                </a:cubicBezTo>
                <a:cubicBezTo>
                  <a:pt x="203893" y="1275953"/>
                  <a:pt x="203100" y="1290241"/>
                  <a:pt x="202703" y="1300163"/>
                </a:cubicBezTo>
                <a:cubicBezTo>
                  <a:pt x="202306" y="1310085"/>
                  <a:pt x="201116" y="1320404"/>
                  <a:pt x="202703" y="1328738"/>
                </a:cubicBezTo>
                <a:cubicBezTo>
                  <a:pt x="204290" y="1337072"/>
                  <a:pt x="208259" y="1343026"/>
                  <a:pt x="212228" y="1350169"/>
                </a:cubicBezTo>
                <a:cubicBezTo>
                  <a:pt x="216197" y="1357312"/>
                  <a:pt x="226516" y="1371600"/>
                  <a:pt x="226516" y="137160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95" name="Полилиния 94"/>
          <p:cNvSpPr/>
          <p:nvPr/>
        </p:nvSpPr>
        <p:spPr>
          <a:xfrm>
            <a:off x="2706771" y="2878819"/>
            <a:ext cx="1406679" cy="2088824"/>
          </a:xfrm>
          <a:custGeom>
            <a:avLst/>
            <a:gdLst>
              <a:gd name="connsiteX0" fmla="*/ 727258 w 1007268"/>
              <a:gd name="connsiteY0" fmla="*/ 0 h 1790700"/>
              <a:gd name="connsiteX1" fmla="*/ 755833 w 1007268"/>
              <a:gd name="connsiteY1" fmla="*/ 47625 h 1790700"/>
              <a:gd name="connsiteX2" fmla="*/ 768533 w 1007268"/>
              <a:gd name="connsiteY2" fmla="*/ 73025 h 1790700"/>
              <a:gd name="connsiteX3" fmla="*/ 784408 w 1007268"/>
              <a:gd name="connsiteY3" fmla="*/ 82550 h 1790700"/>
              <a:gd name="connsiteX4" fmla="*/ 797108 w 1007268"/>
              <a:gd name="connsiteY4" fmla="*/ 92075 h 1790700"/>
              <a:gd name="connsiteX5" fmla="*/ 803458 w 1007268"/>
              <a:gd name="connsiteY5" fmla="*/ 98425 h 1790700"/>
              <a:gd name="connsiteX6" fmla="*/ 803458 w 1007268"/>
              <a:gd name="connsiteY6" fmla="*/ 127000 h 1790700"/>
              <a:gd name="connsiteX7" fmla="*/ 803458 w 1007268"/>
              <a:gd name="connsiteY7" fmla="*/ 149225 h 1790700"/>
              <a:gd name="connsiteX8" fmla="*/ 806633 w 1007268"/>
              <a:gd name="connsiteY8" fmla="*/ 168275 h 1790700"/>
              <a:gd name="connsiteX9" fmla="*/ 806633 w 1007268"/>
              <a:gd name="connsiteY9" fmla="*/ 177800 h 1790700"/>
              <a:gd name="connsiteX10" fmla="*/ 797108 w 1007268"/>
              <a:gd name="connsiteY10" fmla="*/ 190500 h 1790700"/>
              <a:gd name="connsiteX11" fmla="*/ 793933 w 1007268"/>
              <a:gd name="connsiteY11" fmla="*/ 219075 h 1790700"/>
              <a:gd name="connsiteX12" fmla="*/ 793933 w 1007268"/>
              <a:gd name="connsiteY12" fmla="*/ 231775 h 1790700"/>
              <a:gd name="connsiteX13" fmla="*/ 803458 w 1007268"/>
              <a:gd name="connsiteY13" fmla="*/ 254000 h 1790700"/>
              <a:gd name="connsiteX14" fmla="*/ 816158 w 1007268"/>
              <a:gd name="connsiteY14" fmla="*/ 269875 h 1790700"/>
              <a:gd name="connsiteX15" fmla="*/ 825683 w 1007268"/>
              <a:gd name="connsiteY15" fmla="*/ 285750 h 1790700"/>
              <a:gd name="connsiteX16" fmla="*/ 828858 w 1007268"/>
              <a:gd name="connsiteY16" fmla="*/ 295275 h 1790700"/>
              <a:gd name="connsiteX17" fmla="*/ 825683 w 1007268"/>
              <a:gd name="connsiteY17" fmla="*/ 342900 h 1790700"/>
              <a:gd name="connsiteX18" fmla="*/ 819333 w 1007268"/>
              <a:gd name="connsiteY18" fmla="*/ 365125 h 1790700"/>
              <a:gd name="connsiteX19" fmla="*/ 812983 w 1007268"/>
              <a:gd name="connsiteY19" fmla="*/ 400050 h 1790700"/>
              <a:gd name="connsiteX20" fmla="*/ 806633 w 1007268"/>
              <a:gd name="connsiteY20" fmla="*/ 438150 h 1790700"/>
              <a:gd name="connsiteX21" fmla="*/ 809808 w 1007268"/>
              <a:gd name="connsiteY21" fmla="*/ 466725 h 1790700"/>
              <a:gd name="connsiteX22" fmla="*/ 816158 w 1007268"/>
              <a:gd name="connsiteY22" fmla="*/ 501650 h 1790700"/>
              <a:gd name="connsiteX23" fmla="*/ 838383 w 1007268"/>
              <a:gd name="connsiteY23" fmla="*/ 536575 h 1790700"/>
              <a:gd name="connsiteX24" fmla="*/ 847908 w 1007268"/>
              <a:gd name="connsiteY24" fmla="*/ 542925 h 1790700"/>
              <a:gd name="connsiteX25" fmla="*/ 860608 w 1007268"/>
              <a:gd name="connsiteY25" fmla="*/ 558800 h 1790700"/>
              <a:gd name="connsiteX26" fmla="*/ 873308 w 1007268"/>
              <a:gd name="connsiteY26" fmla="*/ 568325 h 1790700"/>
              <a:gd name="connsiteX27" fmla="*/ 898708 w 1007268"/>
              <a:gd name="connsiteY27" fmla="*/ 600075 h 1790700"/>
              <a:gd name="connsiteX28" fmla="*/ 943158 w 1007268"/>
              <a:gd name="connsiteY28" fmla="*/ 625475 h 1790700"/>
              <a:gd name="connsiteX29" fmla="*/ 968558 w 1007268"/>
              <a:gd name="connsiteY29" fmla="*/ 641350 h 1790700"/>
              <a:gd name="connsiteX30" fmla="*/ 984433 w 1007268"/>
              <a:gd name="connsiteY30" fmla="*/ 657225 h 1790700"/>
              <a:gd name="connsiteX31" fmla="*/ 1000308 w 1007268"/>
              <a:gd name="connsiteY31" fmla="*/ 676275 h 1790700"/>
              <a:gd name="connsiteX32" fmla="*/ 1006658 w 1007268"/>
              <a:gd name="connsiteY32" fmla="*/ 701675 h 1790700"/>
              <a:gd name="connsiteX33" fmla="*/ 1006658 w 1007268"/>
              <a:gd name="connsiteY33" fmla="*/ 723900 h 1790700"/>
              <a:gd name="connsiteX34" fmla="*/ 1003483 w 1007268"/>
              <a:gd name="connsiteY34" fmla="*/ 739775 h 1790700"/>
              <a:gd name="connsiteX35" fmla="*/ 997133 w 1007268"/>
              <a:gd name="connsiteY35" fmla="*/ 749300 h 1790700"/>
              <a:gd name="connsiteX36" fmla="*/ 1000308 w 1007268"/>
              <a:gd name="connsiteY36" fmla="*/ 765175 h 1790700"/>
              <a:gd name="connsiteX37" fmla="*/ 1003483 w 1007268"/>
              <a:gd name="connsiteY37" fmla="*/ 777875 h 1790700"/>
              <a:gd name="connsiteX38" fmla="*/ 990783 w 1007268"/>
              <a:gd name="connsiteY38" fmla="*/ 800100 h 1790700"/>
              <a:gd name="connsiteX39" fmla="*/ 984433 w 1007268"/>
              <a:gd name="connsiteY39" fmla="*/ 819150 h 1790700"/>
              <a:gd name="connsiteX40" fmla="*/ 984433 w 1007268"/>
              <a:gd name="connsiteY40" fmla="*/ 831850 h 1790700"/>
              <a:gd name="connsiteX41" fmla="*/ 974908 w 1007268"/>
              <a:gd name="connsiteY41" fmla="*/ 847725 h 1790700"/>
              <a:gd name="connsiteX42" fmla="*/ 974908 w 1007268"/>
              <a:gd name="connsiteY42" fmla="*/ 857250 h 1790700"/>
              <a:gd name="connsiteX43" fmla="*/ 968558 w 1007268"/>
              <a:gd name="connsiteY43" fmla="*/ 876300 h 1790700"/>
              <a:gd name="connsiteX44" fmla="*/ 965383 w 1007268"/>
              <a:gd name="connsiteY44" fmla="*/ 898525 h 1790700"/>
              <a:gd name="connsiteX45" fmla="*/ 952683 w 1007268"/>
              <a:gd name="connsiteY45" fmla="*/ 911225 h 1790700"/>
              <a:gd name="connsiteX46" fmla="*/ 946333 w 1007268"/>
              <a:gd name="connsiteY46" fmla="*/ 927100 h 1790700"/>
              <a:gd name="connsiteX47" fmla="*/ 939983 w 1007268"/>
              <a:gd name="connsiteY47" fmla="*/ 936625 h 1790700"/>
              <a:gd name="connsiteX48" fmla="*/ 936808 w 1007268"/>
              <a:gd name="connsiteY48" fmla="*/ 949325 h 1790700"/>
              <a:gd name="connsiteX49" fmla="*/ 936808 w 1007268"/>
              <a:gd name="connsiteY49" fmla="*/ 955675 h 1790700"/>
              <a:gd name="connsiteX50" fmla="*/ 936808 w 1007268"/>
              <a:gd name="connsiteY50" fmla="*/ 974725 h 1790700"/>
              <a:gd name="connsiteX51" fmla="*/ 936808 w 1007268"/>
              <a:gd name="connsiteY51" fmla="*/ 993775 h 1790700"/>
              <a:gd name="connsiteX52" fmla="*/ 946333 w 1007268"/>
              <a:gd name="connsiteY52" fmla="*/ 1000125 h 1790700"/>
              <a:gd name="connsiteX53" fmla="*/ 952683 w 1007268"/>
              <a:gd name="connsiteY53" fmla="*/ 1012825 h 1790700"/>
              <a:gd name="connsiteX54" fmla="*/ 949508 w 1007268"/>
              <a:gd name="connsiteY54" fmla="*/ 1019175 h 1790700"/>
              <a:gd name="connsiteX55" fmla="*/ 949508 w 1007268"/>
              <a:gd name="connsiteY55" fmla="*/ 1038225 h 1790700"/>
              <a:gd name="connsiteX56" fmla="*/ 939983 w 1007268"/>
              <a:gd name="connsiteY56" fmla="*/ 1038225 h 1790700"/>
              <a:gd name="connsiteX57" fmla="*/ 920933 w 1007268"/>
              <a:gd name="connsiteY57" fmla="*/ 1038225 h 1790700"/>
              <a:gd name="connsiteX58" fmla="*/ 905058 w 1007268"/>
              <a:gd name="connsiteY58" fmla="*/ 1038225 h 1790700"/>
              <a:gd name="connsiteX59" fmla="*/ 886008 w 1007268"/>
              <a:gd name="connsiteY59" fmla="*/ 1044575 h 1790700"/>
              <a:gd name="connsiteX60" fmla="*/ 870133 w 1007268"/>
              <a:gd name="connsiteY60" fmla="*/ 1050925 h 1790700"/>
              <a:gd name="connsiteX61" fmla="*/ 854258 w 1007268"/>
              <a:gd name="connsiteY61" fmla="*/ 1054100 h 1790700"/>
              <a:gd name="connsiteX62" fmla="*/ 835208 w 1007268"/>
              <a:gd name="connsiteY62" fmla="*/ 1054100 h 1790700"/>
              <a:gd name="connsiteX63" fmla="*/ 822508 w 1007268"/>
              <a:gd name="connsiteY63" fmla="*/ 1047750 h 1790700"/>
              <a:gd name="connsiteX64" fmla="*/ 793933 w 1007268"/>
              <a:gd name="connsiteY64" fmla="*/ 1063625 h 1790700"/>
              <a:gd name="connsiteX65" fmla="*/ 803458 w 1007268"/>
              <a:gd name="connsiteY65" fmla="*/ 1069975 h 1790700"/>
              <a:gd name="connsiteX66" fmla="*/ 819333 w 1007268"/>
              <a:gd name="connsiteY66" fmla="*/ 1079500 h 1790700"/>
              <a:gd name="connsiteX67" fmla="*/ 819333 w 1007268"/>
              <a:gd name="connsiteY67" fmla="*/ 1092200 h 1790700"/>
              <a:gd name="connsiteX68" fmla="*/ 819333 w 1007268"/>
              <a:gd name="connsiteY68" fmla="*/ 1108075 h 1790700"/>
              <a:gd name="connsiteX69" fmla="*/ 809808 w 1007268"/>
              <a:gd name="connsiteY69" fmla="*/ 1114425 h 1790700"/>
              <a:gd name="connsiteX70" fmla="*/ 803458 w 1007268"/>
              <a:gd name="connsiteY70" fmla="*/ 1133475 h 1790700"/>
              <a:gd name="connsiteX71" fmla="*/ 803458 w 1007268"/>
              <a:gd name="connsiteY71" fmla="*/ 1139825 h 1790700"/>
              <a:gd name="connsiteX72" fmla="*/ 803458 w 1007268"/>
              <a:gd name="connsiteY72" fmla="*/ 1152525 h 1790700"/>
              <a:gd name="connsiteX73" fmla="*/ 803458 w 1007268"/>
              <a:gd name="connsiteY73" fmla="*/ 1165225 h 1790700"/>
              <a:gd name="connsiteX74" fmla="*/ 790758 w 1007268"/>
              <a:gd name="connsiteY74" fmla="*/ 1177925 h 1790700"/>
              <a:gd name="connsiteX75" fmla="*/ 762183 w 1007268"/>
              <a:gd name="connsiteY75" fmla="*/ 1200150 h 1790700"/>
              <a:gd name="connsiteX76" fmla="*/ 759008 w 1007268"/>
              <a:gd name="connsiteY76" fmla="*/ 1219200 h 1790700"/>
              <a:gd name="connsiteX77" fmla="*/ 755833 w 1007268"/>
              <a:gd name="connsiteY77" fmla="*/ 1254125 h 1790700"/>
              <a:gd name="connsiteX78" fmla="*/ 759008 w 1007268"/>
              <a:gd name="connsiteY78" fmla="*/ 1260475 h 1790700"/>
              <a:gd name="connsiteX79" fmla="*/ 752658 w 1007268"/>
              <a:gd name="connsiteY79" fmla="*/ 1276350 h 1790700"/>
              <a:gd name="connsiteX80" fmla="*/ 743133 w 1007268"/>
              <a:gd name="connsiteY80" fmla="*/ 1282700 h 1790700"/>
              <a:gd name="connsiteX81" fmla="*/ 730433 w 1007268"/>
              <a:gd name="connsiteY81" fmla="*/ 1295400 h 1790700"/>
              <a:gd name="connsiteX82" fmla="*/ 714558 w 1007268"/>
              <a:gd name="connsiteY82" fmla="*/ 1308100 h 1790700"/>
              <a:gd name="connsiteX83" fmla="*/ 705033 w 1007268"/>
              <a:gd name="connsiteY83" fmla="*/ 1320800 h 1790700"/>
              <a:gd name="connsiteX84" fmla="*/ 701858 w 1007268"/>
              <a:gd name="connsiteY84" fmla="*/ 1339850 h 1790700"/>
              <a:gd name="connsiteX85" fmla="*/ 692333 w 1007268"/>
              <a:gd name="connsiteY85" fmla="*/ 1346200 h 1790700"/>
              <a:gd name="connsiteX86" fmla="*/ 676458 w 1007268"/>
              <a:gd name="connsiteY86" fmla="*/ 1355725 h 1790700"/>
              <a:gd name="connsiteX87" fmla="*/ 663758 w 1007268"/>
              <a:gd name="connsiteY87" fmla="*/ 1365250 h 1790700"/>
              <a:gd name="connsiteX88" fmla="*/ 606608 w 1007268"/>
              <a:gd name="connsiteY88" fmla="*/ 1384300 h 1790700"/>
              <a:gd name="connsiteX89" fmla="*/ 536758 w 1007268"/>
              <a:gd name="connsiteY89" fmla="*/ 1400175 h 1790700"/>
              <a:gd name="connsiteX90" fmla="*/ 489133 w 1007268"/>
              <a:gd name="connsiteY90" fmla="*/ 1409700 h 1790700"/>
              <a:gd name="connsiteX91" fmla="*/ 466908 w 1007268"/>
              <a:gd name="connsiteY91" fmla="*/ 1412875 h 1790700"/>
              <a:gd name="connsiteX92" fmla="*/ 428808 w 1007268"/>
              <a:gd name="connsiteY92" fmla="*/ 1416050 h 1790700"/>
              <a:gd name="connsiteX93" fmla="*/ 387533 w 1007268"/>
              <a:gd name="connsiteY93" fmla="*/ 1419225 h 1790700"/>
              <a:gd name="connsiteX94" fmla="*/ 343083 w 1007268"/>
              <a:gd name="connsiteY94" fmla="*/ 1428750 h 1790700"/>
              <a:gd name="connsiteX95" fmla="*/ 314508 w 1007268"/>
              <a:gd name="connsiteY95" fmla="*/ 1435100 h 1790700"/>
              <a:gd name="connsiteX96" fmla="*/ 289108 w 1007268"/>
              <a:gd name="connsiteY96" fmla="*/ 1438275 h 1790700"/>
              <a:gd name="connsiteX97" fmla="*/ 257358 w 1007268"/>
              <a:gd name="connsiteY97" fmla="*/ 1450975 h 1790700"/>
              <a:gd name="connsiteX98" fmla="*/ 222433 w 1007268"/>
              <a:gd name="connsiteY98" fmla="*/ 1460500 h 1790700"/>
              <a:gd name="connsiteX99" fmla="*/ 209733 w 1007268"/>
              <a:gd name="connsiteY99" fmla="*/ 1463675 h 1790700"/>
              <a:gd name="connsiteX100" fmla="*/ 171633 w 1007268"/>
              <a:gd name="connsiteY100" fmla="*/ 1470025 h 1790700"/>
              <a:gd name="connsiteX101" fmla="*/ 165283 w 1007268"/>
              <a:gd name="connsiteY101" fmla="*/ 1476375 h 1790700"/>
              <a:gd name="connsiteX102" fmla="*/ 117658 w 1007268"/>
              <a:gd name="connsiteY102" fmla="*/ 1489075 h 1790700"/>
              <a:gd name="connsiteX103" fmla="*/ 85908 w 1007268"/>
              <a:gd name="connsiteY103" fmla="*/ 1495425 h 1790700"/>
              <a:gd name="connsiteX104" fmla="*/ 70033 w 1007268"/>
              <a:gd name="connsiteY104" fmla="*/ 1504950 h 1790700"/>
              <a:gd name="connsiteX105" fmla="*/ 70033 w 1007268"/>
              <a:gd name="connsiteY105" fmla="*/ 1530350 h 1790700"/>
              <a:gd name="connsiteX106" fmla="*/ 76383 w 1007268"/>
              <a:gd name="connsiteY106" fmla="*/ 1552575 h 1790700"/>
              <a:gd name="connsiteX107" fmla="*/ 76383 w 1007268"/>
              <a:gd name="connsiteY107" fmla="*/ 1568450 h 1790700"/>
              <a:gd name="connsiteX108" fmla="*/ 41458 w 1007268"/>
              <a:gd name="connsiteY108" fmla="*/ 1628775 h 1790700"/>
              <a:gd name="connsiteX109" fmla="*/ 38283 w 1007268"/>
              <a:gd name="connsiteY109" fmla="*/ 1660525 h 1790700"/>
              <a:gd name="connsiteX110" fmla="*/ 31933 w 1007268"/>
              <a:gd name="connsiteY110" fmla="*/ 1685925 h 1790700"/>
              <a:gd name="connsiteX111" fmla="*/ 25583 w 1007268"/>
              <a:gd name="connsiteY111" fmla="*/ 1711325 h 1790700"/>
              <a:gd name="connsiteX112" fmla="*/ 25583 w 1007268"/>
              <a:gd name="connsiteY112" fmla="*/ 1724025 h 1790700"/>
              <a:gd name="connsiteX113" fmla="*/ 12883 w 1007268"/>
              <a:gd name="connsiteY113" fmla="*/ 1749425 h 1790700"/>
              <a:gd name="connsiteX114" fmla="*/ 183 w 1007268"/>
              <a:gd name="connsiteY114" fmla="*/ 1774825 h 1790700"/>
              <a:gd name="connsiteX115" fmla="*/ 6533 w 1007268"/>
              <a:gd name="connsiteY115" fmla="*/ 1790700 h 1790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1007268" h="1790700">
                <a:moveTo>
                  <a:pt x="727258" y="0"/>
                </a:moveTo>
                <a:cubicBezTo>
                  <a:pt x="738106" y="17727"/>
                  <a:pt x="748954" y="35454"/>
                  <a:pt x="755833" y="47625"/>
                </a:cubicBezTo>
                <a:cubicBezTo>
                  <a:pt x="762712" y="59796"/>
                  <a:pt x="763771" y="67204"/>
                  <a:pt x="768533" y="73025"/>
                </a:cubicBezTo>
                <a:cubicBezTo>
                  <a:pt x="773295" y="78846"/>
                  <a:pt x="779646" y="79375"/>
                  <a:pt x="784408" y="82550"/>
                </a:cubicBezTo>
                <a:cubicBezTo>
                  <a:pt x="789170" y="85725"/>
                  <a:pt x="793933" y="89429"/>
                  <a:pt x="797108" y="92075"/>
                </a:cubicBezTo>
                <a:cubicBezTo>
                  <a:pt x="800283" y="94721"/>
                  <a:pt x="802400" y="92604"/>
                  <a:pt x="803458" y="98425"/>
                </a:cubicBezTo>
                <a:cubicBezTo>
                  <a:pt x="804516" y="104246"/>
                  <a:pt x="803458" y="127000"/>
                  <a:pt x="803458" y="127000"/>
                </a:cubicBezTo>
                <a:cubicBezTo>
                  <a:pt x="803458" y="135467"/>
                  <a:pt x="802929" y="142346"/>
                  <a:pt x="803458" y="149225"/>
                </a:cubicBezTo>
                <a:cubicBezTo>
                  <a:pt x="803987" y="156104"/>
                  <a:pt x="806104" y="163513"/>
                  <a:pt x="806633" y="168275"/>
                </a:cubicBezTo>
                <a:cubicBezTo>
                  <a:pt x="807162" y="173038"/>
                  <a:pt x="808220" y="174096"/>
                  <a:pt x="806633" y="177800"/>
                </a:cubicBezTo>
                <a:cubicBezTo>
                  <a:pt x="805046" y="181504"/>
                  <a:pt x="799225" y="183621"/>
                  <a:pt x="797108" y="190500"/>
                </a:cubicBezTo>
                <a:cubicBezTo>
                  <a:pt x="794991" y="197379"/>
                  <a:pt x="794462" y="212196"/>
                  <a:pt x="793933" y="219075"/>
                </a:cubicBezTo>
                <a:cubicBezTo>
                  <a:pt x="793404" y="225954"/>
                  <a:pt x="792346" y="225954"/>
                  <a:pt x="793933" y="231775"/>
                </a:cubicBezTo>
                <a:cubicBezTo>
                  <a:pt x="795521" y="237596"/>
                  <a:pt x="799754" y="247650"/>
                  <a:pt x="803458" y="254000"/>
                </a:cubicBezTo>
                <a:cubicBezTo>
                  <a:pt x="807162" y="260350"/>
                  <a:pt x="812454" y="264583"/>
                  <a:pt x="816158" y="269875"/>
                </a:cubicBezTo>
                <a:cubicBezTo>
                  <a:pt x="819862" y="275167"/>
                  <a:pt x="823566" y="281517"/>
                  <a:pt x="825683" y="285750"/>
                </a:cubicBezTo>
                <a:cubicBezTo>
                  <a:pt x="827800" y="289983"/>
                  <a:pt x="828858" y="285750"/>
                  <a:pt x="828858" y="295275"/>
                </a:cubicBezTo>
                <a:cubicBezTo>
                  <a:pt x="828858" y="304800"/>
                  <a:pt x="827270" y="331258"/>
                  <a:pt x="825683" y="342900"/>
                </a:cubicBezTo>
                <a:cubicBezTo>
                  <a:pt x="824096" y="354542"/>
                  <a:pt x="821450" y="355600"/>
                  <a:pt x="819333" y="365125"/>
                </a:cubicBezTo>
                <a:cubicBezTo>
                  <a:pt x="817216" y="374650"/>
                  <a:pt x="815100" y="387879"/>
                  <a:pt x="812983" y="400050"/>
                </a:cubicBezTo>
                <a:cubicBezTo>
                  <a:pt x="810866" y="412221"/>
                  <a:pt x="807162" y="427038"/>
                  <a:pt x="806633" y="438150"/>
                </a:cubicBezTo>
                <a:cubicBezTo>
                  <a:pt x="806104" y="449262"/>
                  <a:pt x="808221" y="456142"/>
                  <a:pt x="809808" y="466725"/>
                </a:cubicBezTo>
                <a:cubicBezTo>
                  <a:pt x="811396" y="477308"/>
                  <a:pt x="811396" y="490008"/>
                  <a:pt x="816158" y="501650"/>
                </a:cubicBezTo>
                <a:cubicBezTo>
                  <a:pt x="820920" y="513292"/>
                  <a:pt x="833091" y="529696"/>
                  <a:pt x="838383" y="536575"/>
                </a:cubicBezTo>
                <a:cubicBezTo>
                  <a:pt x="843675" y="543454"/>
                  <a:pt x="844204" y="539221"/>
                  <a:pt x="847908" y="542925"/>
                </a:cubicBezTo>
                <a:cubicBezTo>
                  <a:pt x="851612" y="546629"/>
                  <a:pt x="856375" y="554567"/>
                  <a:pt x="860608" y="558800"/>
                </a:cubicBezTo>
                <a:cubicBezTo>
                  <a:pt x="864841" y="563033"/>
                  <a:pt x="866958" y="561446"/>
                  <a:pt x="873308" y="568325"/>
                </a:cubicBezTo>
                <a:cubicBezTo>
                  <a:pt x="879658" y="575204"/>
                  <a:pt x="887066" y="590550"/>
                  <a:pt x="898708" y="600075"/>
                </a:cubicBezTo>
                <a:cubicBezTo>
                  <a:pt x="910350" y="609600"/>
                  <a:pt x="931516" y="618596"/>
                  <a:pt x="943158" y="625475"/>
                </a:cubicBezTo>
                <a:cubicBezTo>
                  <a:pt x="954800" y="632354"/>
                  <a:pt x="961679" y="636058"/>
                  <a:pt x="968558" y="641350"/>
                </a:cubicBezTo>
                <a:cubicBezTo>
                  <a:pt x="975437" y="646642"/>
                  <a:pt x="979141" y="651404"/>
                  <a:pt x="984433" y="657225"/>
                </a:cubicBezTo>
                <a:cubicBezTo>
                  <a:pt x="989725" y="663046"/>
                  <a:pt x="996604" y="668867"/>
                  <a:pt x="1000308" y="676275"/>
                </a:cubicBezTo>
                <a:cubicBezTo>
                  <a:pt x="1004012" y="683683"/>
                  <a:pt x="1005600" y="693738"/>
                  <a:pt x="1006658" y="701675"/>
                </a:cubicBezTo>
                <a:cubicBezTo>
                  <a:pt x="1007716" y="709612"/>
                  <a:pt x="1007187" y="717550"/>
                  <a:pt x="1006658" y="723900"/>
                </a:cubicBezTo>
                <a:cubicBezTo>
                  <a:pt x="1006129" y="730250"/>
                  <a:pt x="1005070" y="735542"/>
                  <a:pt x="1003483" y="739775"/>
                </a:cubicBezTo>
                <a:cubicBezTo>
                  <a:pt x="1001896" y="744008"/>
                  <a:pt x="997662" y="745067"/>
                  <a:pt x="997133" y="749300"/>
                </a:cubicBezTo>
                <a:cubicBezTo>
                  <a:pt x="996604" y="753533"/>
                  <a:pt x="999250" y="760413"/>
                  <a:pt x="1000308" y="765175"/>
                </a:cubicBezTo>
                <a:cubicBezTo>
                  <a:pt x="1001366" y="769937"/>
                  <a:pt x="1005071" y="772054"/>
                  <a:pt x="1003483" y="777875"/>
                </a:cubicBezTo>
                <a:cubicBezTo>
                  <a:pt x="1001896" y="783696"/>
                  <a:pt x="993958" y="793221"/>
                  <a:pt x="990783" y="800100"/>
                </a:cubicBezTo>
                <a:cubicBezTo>
                  <a:pt x="987608" y="806979"/>
                  <a:pt x="985491" y="813859"/>
                  <a:pt x="984433" y="819150"/>
                </a:cubicBezTo>
                <a:cubicBezTo>
                  <a:pt x="983375" y="824441"/>
                  <a:pt x="986020" y="827088"/>
                  <a:pt x="984433" y="831850"/>
                </a:cubicBezTo>
                <a:cubicBezTo>
                  <a:pt x="982846" y="836612"/>
                  <a:pt x="976495" y="843492"/>
                  <a:pt x="974908" y="847725"/>
                </a:cubicBezTo>
                <a:cubicBezTo>
                  <a:pt x="973321" y="851958"/>
                  <a:pt x="975966" y="852488"/>
                  <a:pt x="974908" y="857250"/>
                </a:cubicBezTo>
                <a:cubicBezTo>
                  <a:pt x="973850" y="862012"/>
                  <a:pt x="970145" y="869421"/>
                  <a:pt x="968558" y="876300"/>
                </a:cubicBezTo>
                <a:cubicBezTo>
                  <a:pt x="966971" y="883179"/>
                  <a:pt x="968029" y="892704"/>
                  <a:pt x="965383" y="898525"/>
                </a:cubicBezTo>
                <a:cubicBezTo>
                  <a:pt x="962737" y="904346"/>
                  <a:pt x="955858" y="906463"/>
                  <a:pt x="952683" y="911225"/>
                </a:cubicBezTo>
                <a:cubicBezTo>
                  <a:pt x="949508" y="915987"/>
                  <a:pt x="948450" y="922867"/>
                  <a:pt x="946333" y="927100"/>
                </a:cubicBezTo>
                <a:cubicBezTo>
                  <a:pt x="944216" y="931333"/>
                  <a:pt x="941570" y="932921"/>
                  <a:pt x="939983" y="936625"/>
                </a:cubicBezTo>
                <a:cubicBezTo>
                  <a:pt x="938396" y="940329"/>
                  <a:pt x="937337" y="946150"/>
                  <a:pt x="936808" y="949325"/>
                </a:cubicBezTo>
                <a:cubicBezTo>
                  <a:pt x="936279" y="952500"/>
                  <a:pt x="936808" y="955675"/>
                  <a:pt x="936808" y="955675"/>
                </a:cubicBezTo>
                <a:lnTo>
                  <a:pt x="936808" y="974725"/>
                </a:lnTo>
                <a:cubicBezTo>
                  <a:pt x="936808" y="981075"/>
                  <a:pt x="935221" y="989542"/>
                  <a:pt x="936808" y="993775"/>
                </a:cubicBezTo>
                <a:cubicBezTo>
                  <a:pt x="938395" y="998008"/>
                  <a:pt x="943687" y="996950"/>
                  <a:pt x="946333" y="1000125"/>
                </a:cubicBezTo>
                <a:cubicBezTo>
                  <a:pt x="948979" y="1003300"/>
                  <a:pt x="952154" y="1009650"/>
                  <a:pt x="952683" y="1012825"/>
                </a:cubicBezTo>
                <a:cubicBezTo>
                  <a:pt x="953212" y="1016000"/>
                  <a:pt x="950037" y="1014942"/>
                  <a:pt x="949508" y="1019175"/>
                </a:cubicBezTo>
                <a:cubicBezTo>
                  <a:pt x="948979" y="1023408"/>
                  <a:pt x="951095" y="1035050"/>
                  <a:pt x="949508" y="1038225"/>
                </a:cubicBezTo>
                <a:cubicBezTo>
                  <a:pt x="947921" y="1041400"/>
                  <a:pt x="939983" y="1038225"/>
                  <a:pt x="939983" y="1038225"/>
                </a:cubicBezTo>
                <a:lnTo>
                  <a:pt x="920933" y="1038225"/>
                </a:lnTo>
                <a:cubicBezTo>
                  <a:pt x="915112" y="1038225"/>
                  <a:pt x="910879" y="1037167"/>
                  <a:pt x="905058" y="1038225"/>
                </a:cubicBezTo>
                <a:cubicBezTo>
                  <a:pt x="899237" y="1039283"/>
                  <a:pt x="891829" y="1042458"/>
                  <a:pt x="886008" y="1044575"/>
                </a:cubicBezTo>
                <a:cubicBezTo>
                  <a:pt x="880187" y="1046692"/>
                  <a:pt x="875425" y="1049338"/>
                  <a:pt x="870133" y="1050925"/>
                </a:cubicBezTo>
                <a:cubicBezTo>
                  <a:pt x="864841" y="1052512"/>
                  <a:pt x="860079" y="1053571"/>
                  <a:pt x="854258" y="1054100"/>
                </a:cubicBezTo>
                <a:cubicBezTo>
                  <a:pt x="848437" y="1054629"/>
                  <a:pt x="840499" y="1055158"/>
                  <a:pt x="835208" y="1054100"/>
                </a:cubicBezTo>
                <a:cubicBezTo>
                  <a:pt x="829917" y="1053042"/>
                  <a:pt x="829387" y="1046163"/>
                  <a:pt x="822508" y="1047750"/>
                </a:cubicBezTo>
                <a:cubicBezTo>
                  <a:pt x="815629" y="1049337"/>
                  <a:pt x="797108" y="1059921"/>
                  <a:pt x="793933" y="1063625"/>
                </a:cubicBezTo>
                <a:cubicBezTo>
                  <a:pt x="790758" y="1067329"/>
                  <a:pt x="799225" y="1067329"/>
                  <a:pt x="803458" y="1069975"/>
                </a:cubicBezTo>
                <a:cubicBezTo>
                  <a:pt x="807691" y="1072621"/>
                  <a:pt x="816687" y="1075796"/>
                  <a:pt x="819333" y="1079500"/>
                </a:cubicBezTo>
                <a:cubicBezTo>
                  <a:pt x="821979" y="1083204"/>
                  <a:pt x="819333" y="1092200"/>
                  <a:pt x="819333" y="1092200"/>
                </a:cubicBezTo>
                <a:cubicBezTo>
                  <a:pt x="819333" y="1096962"/>
                  <a:pt x="820920" y="1104371"/>
                  <a:pt x="819333" y="1108075"/>
                </a:cubicBezTo>
                <a:cubicBezTo>
                  <a:pt x="817746" y="1111779"/>
                  <a:pt x="812454" y="1110192"/>
                  <a:pt x="809808" y="1114425"/>
                </a:cubicBezTo>
                <a:cubicBezTo>
                  <a:pt x="807162" y="1118658"/>
                  <a:pt x="804516" y="1129242"/>
                  <a:pt x="803458" y="1133475"/>
                </a:cubicBezTo>
                <a:cubicBezTo>
                  <a:pt x="802400" y="1137708"/>
                  <a:pt x="803458" y="1139825"/>
                  <a:pt x="803458" y="1139825"/>
                </a:cubicBezTo>
                <a:lnTo>
                  <a:pt x="803458" y="1152525"/>
                </a:lnTo>
                <a:cubicBezTo>
                  <a:pt x="803458" y="1156758"/>
                  <a:pt x="805575" y="1160992"/>
                  <a:pt x="803458" y="1165225"/>
                </a:cubicBezTo>
                <a:cubicBezTo>
                  <a:pt x="801341" y="1169458"/>
                  <a:pt x="797637" y="1172104"/>
                  <a:pt x="790758" y="1177925"/>
                </a:cubicBezTo>
                <a:cubicBezTo>
                  <a:pt x="783879" y="1183746"/>
                  <a:pt x="767475" y="1193271"/>
                  <a:pt x="762183" y="1200150"/>
                </a:cubicBezTo>
                <a:cubicBezTo>
                  <a:pt x="756891" y="1207029"/>
                  <a:pt x="760066" y="1210204"/>
                  <a:pt x="759008" y="1219200"/>
                </a:cubicBezTo>
                <a:cubicBezTo>
                  <a:pt x="757950" y="1228196"/>
                  <a:pt x="755833" y="1247246"/>
                  <a:pt x="755833" y="1254125"/>
                </a:cubicBezTo>
                <a:cubicBezTo>
                  <a:pt x="755833" y="1261004"/>
                  <a:pt x="759537" y="1256771"/>
                  <a:pt x="759008" y="1260475"/>
                </a:cubicBezTo>
                <a:cubicBezTo>
                  <a:pt x="758479" y="1264179"/>
                  <a:pt x="755304" y="1272646"/>
                  <a:pt x="752658" y="1276350"/>
                </a:cubicBezTo>
                <a:cubicBezTo>
                  <a:pt x="750012" y="1280054"/>
                  <a:pt x="746837" y="1279525"/>
                  <a:pt x="743133" y="1282700"/>
                </a:cubicBezTo>
                <a:cubicBezTo>
                  <a:pt x="739429" y="1285875"/>
                  <a:pt x="735195" y="1291167"/>
                  <a:pt x="730433" y="1295400"/>
                </a:cubicBezTo>
                <a:cubicBezTo>
                  <a:pt x="725671" y="1299633"/>
                  <a:pt x="718791" y="1303867"/>
                  <a:pt x="714558" y="1308100"/>
                </a:cubicBezTo>
                <a:cubicBezTo>
                  <a:pt x="710325" y="1312333"/>
                  <a:pt x="707150" y="1315508"/>
                  <a:pt x="705033" y="1320800"/>
                </a:cubicBezTo>
                <a:cubicBezTo>
                  <a:pt x="702916" y="1326092"/>
                  <a:pt x="703975" y="1335617"/>
                  <a:pt x="701858" y="1339850"/>
                </a:cubicBezTo>
                <a:cubicBezTo>
                  <a:pt x="699741" y="1344083"/>
                  <a:pt x="696566" y="1343554"/>
                  <a:pt x="692333" y="1346200"/>
                </a:cubicBezTo>
                <a:cubicBezTo>
                  <a:pt x="688100" y="1348846"/>
                  <a:pt x="681220" y="1352550"/>
                  <a:pt x="676458" y="1355725"/>
                </a:cubicBezTo>
                <a:cubicBezTo>
                  <a:pt x="671696" y="1358900"/>
                  <a:pt x="675400" y="1360488"/>
                  <a:pt x="663758" y="1365250"/>
                </a:cubicBezTo>
                <a:cubicBezTo>
                  <a:pt x="652116" y="1370012"/>
                  <a:pt x="627775" y="1378479"/>
                  <a:pt x="606608" y="1384300"/>
                </a:cubicBezTo>
                <a:cubicBezTo>
                  <a:pt x="585441" y="1390121"/>
                  <a:pt x="556337" y="1395942"/>
                  <a:pt x="536758" y="1400175"/>
                </a:cubicBezTo>
                <a:cubicBezTo>
                  <a:pt x="517179" y="1404408"/>
                  <a:pt x="500775" y="1407583"/>
                  <a:pt x="489133" y="1409700"/>
                </a:cubicBezTo>
                <a:cubicBezTo>
                  <a:pt x="477491" y="1411817"/>
                  <a:pt x="476962" y="1411817"/>
                  <a:pt x="466908" y="1412875"/>
                </a:cubicBezTo>
                <a:cubicBezTo>
                  <a:pt x="456854" y="1413933"/>
                  <a:pt x="428808" y="1416050"/>
                  <a:pt x="428808" y="1416050"/>
                </a:cubicBezTo>
                <a:cubicBezTo>
                  <a:pt x="415579" y="1417108"/>
                  <a:pt x="401820" y="1417108"/>
                  <a:pt x="387533" y="1419225"/>
                </a:cubicBezTo>
                <a:cubicBezTo>
                  <a:pt x="373245" y="1421342"/>
                  <a:pt x="343083" y="1428750"/>
                  <a:pt x="343083" y="1428750"/>
                </a:cubicBezTo>
                <a:cubicBezTo>
                  <a:pt x="330912" y="1431396"/>
                  <a:pt x="323504" y="1433513"/>
                  <a:pt x="314508" y="1435100"/>
                </a:cubicBezTo>
                <a:cubicBezTo>
                  <a:pt x="305512" y="1436687"/>
                  <a:pt x="298633" y="1435629"/>
                  <a:pt x="289108" y="1438275"/>
                </a:cubicBezTo>
                <a:cubicBezTo>
                  <a:pt x="279583" y="1440921"/>
                  <a:pt x="268470" y="1447271"/>
                  <a:pt x="257358" y="1450975"/>
                </a:cubicBezTo>
                <a:cubicBezTo>
                  <a:pt x="246246" y="1454679"/>
                  <a:pt x="230370" y="1458383"/>
                  <a:pt x="222433" y="1460500"/>
                </a:cubicBezTo>
                <a:cubicBezTo>
                  <a:pt x="214496" y="1462617"/>
                  <a:pt x="218200" y="1462088"/>
                  <a:pt x="209733" y="1463675"/>
                </a:cubicBezTo>
                <a:cubicBezTo>
                  <a:pt x="201266" y="1465262"/>
                  <a:pt x="179041" y="1467908"/>
                  <a:pt x="171633" y="1470025"/>
                </a:cubicBezTo>
                <a:cubicBezTo>
                  <a:pt x="164225" y="1472142"/>
                  <a:pt x="174279" y="1473200"/>
                  <a:pt x="165283" y="1476375"/>
                </a:cubicBezTo>
                <a:cubicBezTo>
                  <a:pt x="156287" y="1479550"/>
                  <a:pt x="130887" y="1485900"/>
                  <a:pt x="117658" y="1489075"/>
                </a:cubicBezTo>
                <a:cubicBezTo>
                  <a:pt x="104429" y="1492250"/>
                  <a:pt x="93845" y="1492779"/>
                  <a:pt x="85908" y="1495425"/>
                </a:cubicBezTo>
                <a:cubicBezTo>
                  <a:pt x="77971" y="1498071"/>
                  <a:pt x="72679" y="1499129"/>
                  <a:pt x="70033" y="1504950"/>
                </a:cubicBezTo>
                <a:cubicBezTo>
                  <a:pt x="67387" y="1510771"/>
                  <a:pt x="68975" y="1522413"/>
                  <a:pt x="70033" y="1530350"/>
                </a:cubicBezTo>
                <a:cubicBezTo>
                  <a:pt x="71091" y="1538287"/>
                  <a:pt x="75325" y="1546225"/>
                  <a:pt x="76383" y="1552575"/>
                </a:cubicBezTo>
                <a:cubicBezTo>
                  <a:pt x="77441" y="1558925"/>
                  <a:pt x="82204" y="1555750"/>
                  <a:pt x="76383" y="1568450"/>
                </a:cubicBezTo>
                <a:cubicBezTo>
                  <a:pt x="70562" y="1581150"/>
                  <a:pt x="47808" y="1613429"/>
                  <a:pt x="41458" y="1628775"/>
                </a:cubicBezTo>
                <a:cubicBezTo>
                  <a:pt x="35108" y="1644121"/>
                  <a:pt x="39870" y="1651000"/>
                  <a:pt x="38283" y="1660525"/>
                </a:cubicBezTo>
                <a:cubicBezTo>
                  <a:pt x="36695" y="1670050"/>
                  <a:pt x="31933" y="1685925"/>
                  <a:pt x="31933" y="1685925"/>
                </a:cubicBezTo>
                <a:cubicBezTo>
                  <a:pt x="29816" y="1694392"/>
                  <a:pt x="26641" y="1704975"/>
                  <a:pt x="25583" y="1711325"/>
                </a:cubicBezTo>
                <a:cubicBezTo>
                  <a:pt x="24525" y="1717675"/>
                  <a:pt x="27700" y="1717675"/>
                  <a:pt x="25583" y="1724025"/>
                </a:cubicBezTo>
                <a:cubicBezTo>
                  <a:pt x="23466" y="1730375"/>
                  <a:pt x="12883" y="1749425"/>
                  <a:pt x="12883" y="1749425"/>
                </a:cubicBezTo>
                <a:cubicBezTo>
                  <a:pt x="8650" y="1757892"/>
                  <a:pt x="1241" y="1767946"/>
                  <a:pt x="183" y="1774825"/>
                </a:cubicBezTo>
                <a:cubicBezTo>
                  <a:pt x="-875" y="1781704"/>
                  <a:pt x="2829" y="1786202"/>
                  <a:pt x="6533" y="179070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/>
          </a:p>
        </p:txBody>
      </p:sp>
      <p:cxnSp>
        <p:nvCxnSpPr>
          <p:cNvPr id="113" name="Прямая со стрелкой 112"/>
          <p:cNvCxnSpPr>
            <a:stCxn id="78" idx="3"/>
            <a:endCxn id="143" idx="63"/>
          </p:cNvCxnSpPr>
          <p:nvPr/>
        </p:nvCxnSpPr>
        <p:spPr>
          <a:xfrm flipV="1">
            <a:off x="3403130" y="2846748"/>
            <a:ext cx="325750" cy="271681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олилиния 2"/>
          <p:cNvSpPr/>
          <p:nvPr/>
        </p:nvSpPr>
        <p:spPr>
          <a:xfrm>
            <a:off x="3975100" y="1328738"/>
            <a:ext cx="2863850" cy="1016243"/>
          </a:xfrm>
          <a:custGeom>
            <a:avLst/>
            <a:gdLst>
              <a:gd name="connsiteX0" fmla="*/ 0 w 2863850"/>
              <a:gd name="connsiteY0" fmla="*/ 0 h 1354991"/>
              <a:gd name="connsiteX1" fmla="*/ 127000 w 2863850"/>
              <a:gd name="connsiteY1" fmla="*/ 12700 h 1354991"/>
              <a:gd name="connsiteX2" fmla="*/ 190500 w 2863850"/>
              <a:gd name="connsiteY2" fmla="*/ 19050 h 1354991"/>
              <a:gd name="connsiteX3" fmla="*/ 241300 w 2863850"/>
              <a:gd name="connsiteY3" fmla="*/ 88900 h 1354991"/>
              <a:gd name="connsiteX4" fmla="*/ 279400 w 2863850"/>
              <a:gd name="connsiteY4" fmla="*/ 215900 h 1354991"/>
              <a:gd name="connsiteX5" fmla="*/ 349250 w 2863850"/>
              <a:gd name="connsiteY5" fmla="*/ 304800 h 1354991"/>
              <a:gd name="connsiteX6" fmla="*/ 412750 w 2863850"/>
              <a:gd name="connsiteY6" fmla="*/ 361950 h 1354991"/>
              <a:gd name="connsiteX7" fmla="*/ 520700 w 2863850"/>
              <a:gd name="connsiteY7" fmla="*/ 406400 h 1354991"/>
              <a:gd name="connsiteX8" fmla="*/ 558800 w 2863850"/>
              <a:gd name="connsiteY8" fmla="*/ 438150 h 1354991"/>
              <a:gd name="connsiteX9" fmla="*/ 615950 w 2863850"/>
              <a:gd name="connsiteY9" fmla="*/ 508000 h 1354991"/>
              <a:gd name="connsiteX10" fmla="*/ 698500 w 2863850"/>
              <a:gd name="connsiteY10" fmla="*/ 552450 h 1354991"/>
              <a:gd name="connsiteX11" fmla="*/ 730250 w 2863850"/>
              <a:gd name="connsiteY11" fmla="*/ 577850 h 1354991"/>
              <a:gd name="connsiteX12" fmla="*/ 787400 w 2863850"/>
              <a:gd name="connsiteY12" fmla="*/ 692150 h 1354991"/>
              <a:gd name="connsiteX13" fmla="*/ 850900 w 2863850"/>
              <a:gd name="connsiteY13" fmla="*/ 736600 h 1354991"/>
              <a:gd name="connsiteX14" fmla="*/ 876300 w 2863850"/>
              <a:gd name="connsiteY14" fmla="*/ 850900 h 1354991"/>
              <a:gd name="connsiteX15" fmla="*/ 977900 w 2863850"/>
              <a:gd name="connsiteY15" fmla="*/ 952500 h 1354991"/>
              <a:gd name="connsiteX16" fmla="*/ 1098550 w 2863850"/>
              <a:gd name="connsiteY16" fmla="*/ 1009650 h 1354991"/>
              <a:gd name="connsiteX17" fmla="*/ 1219200 w 2863850"/>
              <a:gd name="connsiteY17" fmla="*/ 1060450 h 1354991"/>
              <a:gd name="connsiteX18" fmla="*/ 1276350 w 2863850"/>
              <a:gd name="connsiteY18" fmla="*/ 1092200 h 1354991"/>
              <a:gd name="connsiteX19" fmla="*/ 1377950 w 2863850"/>
              <a:gd name="connsiteY19" fmla="*/ 1225550 h 1354991"/>
              <a:gd name="connsiteX20" fmla="*/ 1435100 w 2863850"/>
              <a:gd name="connsiteY20" fmla="*/ 1238250 h 1354991"/>
              <a:gd name="connsiteX21" fmla="*/ 1600200 w 2863850"/>
              <a:gd name="connsiteY21" fmla="*/ 1206500 h 1354991"/>
              <a:gd name="connsiteX22" fmla="*/ 1727200 w 2863850"/>
              <a:gd name="connsiteY22" fmla="*/ 1206500 h 1354991"/>
              <a:gd name="connsiteX23" fmla="*/ 1822450 w 2863850"/>
              <a:gd name="connsiteY23" fmla="*/ 1244600 h 1354991"/>
              <a:gd name="connsiteX24" fmla="*/ 1905000 w 2863850"/>
              <a:gd name="connsiteY24" fmla="*/ 1263650 h 1354991"/>
              <a:gd name="connsiteX25" fmla="*/ 2000250 w 2863850"/>
              <a:gd name="connsiteY25" fmla="*/ 1238250 h 1354991"/>
              <a:gd name="connsiteX26" fmla="*/ 2044700 w 2863850"/>
              <a:gd name="connsiteY26" fmla="*/ 1231900 h 1354991"/>
              <a:gd name="connsiteX27" fmla="*/ 2235200 w 2863850"/>
              <a:gd name="connsiteY27" fmla="*/ 1282700 h 1354991"/>
              <a:gd name="connsiteX28" fmla="*/ 2349500 w 2863850"/>
              <a:gd name="connsiteY28" fmla="*/ 1327150 h 1354991"/>
              <a:gd name="connsiteX29" fmla="*/ 2393950 w 2863850"/>
              <a:gd name="connsiteY29" fmla="*/ 1346200 h 1354991"/>
              <a:gd name="connsiteX30" fmla="*/ 2501900 w 2863850"/>
              <a:gd name="connsiteY30" fmla="*/ 1181100 h 1354991"/>
              <a:gd name="connsiteX31" fmla="*/ 2571750 w 2863850"/>
              <a:gd name="connsiteY31" fmla="*/ 1130300 h 1354991"/>
              <a:gd name="connsiteX32" fmla="*/ 2609850 w 2863850"/>
              <a:gd name="connsiteY32" fmla="*/ 1098550 h 1354991"/>
              <a:gd name="connsiteX33" fmla="*/ 2679700 w 2863850"/>
              <a:gd name="connsiteY33" fmla="*/ 1130300 h 1354991"/>
              <a:gd name="connsiteX34" fmla="*/ 2749550 w 2863850"/>
              <a:gd name="connsiteY34" fmla="*/ 1130300 h 1354991"/>
              <a:gd name="connsiteX35" fmla="*/ 2819400 w 2863850"/>
              <a:gd name="connsiteY35" fmla="*/ 1181100 h 1354991"/>
              <a:gd name="connsiteX36" fmla="*/ 2863850 w 2863850"/>
              <a:gd name="connsiteY36" fmla="*/ 1200150 h 135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863850" h="1354991">
                <a:moveTo>
                  <a:pt x="0" y="0"/>
                </a:moveTo>
                <a:lnTo>
                  <a:pt x="127000" y="12700"/>
                </a:lnTo>
                <a:cubicBezTo>
                  <a:pt x="158750" y="15875"/>
                  <a:pt x="171450" y="6350"/>
                  <a:pt x="190500" y="19050"/>
                </a:cubicBezTo>
                <a:cubicBezTo>
                  <a:pt x="209550" y="31750"/>
                  <a:pt x="226483" y="56092"/>
                  <a:pt x="241300" y="88900"/>
                </a:cubicBezTo>
                <a:cubicBezTo>
                  <a:pt x="256117" y="121708"/>
                  <a:pt x="261408" y="179917"/>
                  <a:pt x="279400" y="215900"/>
                </a:cubicBezTo>
                <a:cubicBezTo>
                  <a:pt x="297392" y="251883"/>
                  <a:pt x="327025" y="280458"/>
                  <a:pt x="349250" y="304800"/>
                </a:cubicBezTo>
                <a:cubicBezTo>
                  <a:pt x="371475" y="329142"/>
                  <a:pt x="384175" y="345017"/>
                  <a:pt x="412750" y="361950"/>
                </a:cubicBezTo>
                <a:cubicBezTo>
                  <a:pt x="441325" y="378883"/>
                  <a:pt x="496358" y="393700"/>
                  <a:pt x="520700" y="406400"/>
                </a:cubicBezTo>
                <a:cubicBezTo>
                  <a:pt x="545042" y="419100"/>
                  <a:pt x="542925" y="421217"/>
                  <a:pt x="558800" y="438150"/>
                </a:cubicBezTo>
                <a:cubicBezTo>
                  <a:pt x="574675" y="455083"/>
                  <a:pt x="592667" y="488950"/>
                  <a:pt x="615950" y="508000"/>
                </a:cubicBezTo>
                <a:cubicBezTo>
                  <a:pt x="639233" y="527050"/>
                  <a:pt x="679450" y="540808"/>
                  <a:pt x="698500" y="552450"/>
                </a:cubicBezTo>
                <a:cubicBezTo>
                  <a:pt x="717550" y="564092"/>
                  <a:pt x="715433" y="554567"/>
                  <a:pt x="730250" y="577850"/>
                </a:cubicBezTo>
                <a:cubicBezTo>
                  <a:pt x="745067" y="601133"/>
                  <a:pt x="767292" y="665692"/>
                  <a:pt x="787400" y="692150"/>
                </a:cubicBezTo>
                <a:cubicBezTo>
                  <a:pt x="807508" y="718608"/>
                  <a:pt x="836083" y="710142"/>
                  <a:pt x="850900" y="736600"/>
                </a:cubicBezTo>
                <a:cubicBezTo>
                  <a:pt x="865717" y="763058"/>
                  <a:pt x="855133" y="814917"/>
                  <a:pt x="876300" y="850900"/>
                </a:cubicBezTo>
                <a:cubicBezTo>
                  <a:pt x="897467" y="886883"/>
                  <a:pt x="940858" y="926042"/>
                  <a:pt x="977900" y="952500"/>
                </a:cubicBezTo>
                <a:cubicBezTo>
                  <a:pt x="1014942" y="978958"/>
                  <a:pt x="1058333" y="991658"/>
                  <a:pt x="1098550" y="1009650"/>
                </a:cubicBezTo>
                <a:cubicBezTo>
                  <a:pt x="1138767" y="1027642"/>
                  <a:pt x="1189567" y="1046692"/>
                  <a:pt x="1219200" y="1060450"/>
                </a:cubicBezTo>
                <a:cubicBezTo>
                  <a:pt x="1248833" y="1074208"/>
                  <a:pt x="1249892" y="1064683"/>
                  <a:pt x="1276350" y="1092200"/>
                </a:cubicBezTo>
                <a:cubicBezTo>
                  <a:pt x="1302808" y="1119717"/>
                  <a:pt x="1351492" y="1201208"/>
                  <a:pt x="1377950" y="1225550"/>
                </a:cubicBezTo>
                <a:cubicBezTo>
                  <a:pt x="1404408" y="1249892"/>
                  <a:pt x="1398058" y="1241425"/>
                  <a:pt x="1435100" y="1238250"/>
                </a:cubicBezTo>
                <a:cubicBezTo>
                  <a:pt x="1472142" y="1235075"/>
                  <a:pt x="1551517" y="1211792"/>
                  <a:pt x="1600200" y="1206500"/>
                </a:cubicBezTo>
                <a:cubicBezTo>
                  <a:pt x="1648883" y="1201208"/>
                  <a:pt x="1690158" y="1200150"/>
                  <a:pt x="1727200" y="1206500"/>
                </a:cubicBezTo>
                <a:cubicBezTo>
                  <a:pt x="1764242" y="1212850"/>
                  <a:pt x="1792817" y="1235075"/>
                  <a:pt x="1822450" y="1244600"/>
                </a:cubicBezTo>
                <a:cubicBezTo>
                  <a:pt x="1852083" y="1254125"/>
                  <a:pt x="1875367" y="1264708"/>
                  <a:pt x="1905000" y="1263650"/>
                </a:cubicBezTo>
                <a:cubicBezTo>
                  <a:pt x="1934633" y="1262592"/>
                  <a:pt x="1976967" y="1243542"/>
                  <a:pt x="2000250" y="1238250"/>
                </a:cubicBezTo>
                <a:cubicBezTo>
                  <a:pt x="2023533" y="1232958"/>
                  <a:pt x="2005542" y="1224492"/>
                  <a:pt x="2044700" y="1231900"/>
                </a:cubicBezTo>
                <a:cubicBezTo>
                  <a:pt x="2083858" y="1239308"/>
                  <a:pt x="2184400" y="1266825"/>
                  <a:pt x="2235200" y="1282700"/>
                </a:cubicBezTo>
                <a:cubicBezTo>
                  <a:pt x="2286000" y="1298575"/>
                  <a:pt x="2323042" y="1316567"/>
                  <a:pt x="2349500" y="1327150"/>
                </a:cubicBezTo>
                <a:cubicBezTo>
                  <a:pt x="2375958" y="1337733"/>
                  <a:pt x="2368550" y="1370542"/>
                  <a:pt x="2393950" y="1346200"/>
                </a:cubicBezTo>
                <a:cubicBezTo>
                  <a:pt x="2419350" y="1321858"/>
                  <a:pt x="2472267" y="1217083"/>
                  <a:pt x="2501900" y="1181100"/>
                </a:cubicBezTo>
                <a:cubicBezTo>
                  <a:pt x="2531533" y="1145117"/>
                  <a:pt x="2553758" y="1144058"/>
                  <a:pt x="2571750" y="1130300"/>
                </a:cubicBezTo>
                <a:cubicBezTo>
                  <a:pt x="2589742" y="1116542"/>
                  <a:pt x="2591858" y="1098550"/>
                  <a:pt x="2609850" y="1098550"/>
                </a:cubicBezTo>
                <a:cubicBezTo>
                  <a:pt x="2627842" y="1098550"/>
                  <a:pt x="2656417" y="1125008"/>
                  <a:pt x="2679700" y="1130300"/>
                </a:cubicBezTo>
                <a:cubicBezTo>
                  <a:pt x="2702983" y="1135592"/>
                  <a:pt x="2726267" y="1121833"/>
                  <a:pt x="2749550" y="1130300"/>
                </a:cubicBezTo>
                <a:cubicBezTo>
                  <a:pt x="2772833" y="1138767"/>
                  <a:pt x="2800350" y="1169458"/>
                  <a:pt x="2819400" y="1181100"/>
                </a:cubicBezTo>
                <a:cubicBezTo>
                  <a:pt x="2838450" y="1192742"/>
                  <a:pt x="2855383" y="1195917"/>
                  <a:pt x="2863850" y="1200150"/>
                </a:cubicBez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олилиния 47"/>
          <p:cNvSpPr/>
          <p:nvPr/>
        </p:nvSpPr>
        <p:spPr>
          <a:xfrm>
            <a:off x="3967645" y="1323070"/>
            <a:ext cx="2863850" cy="1016243"/>
          </a:xfrm>
          <a:custGeom>
            <a:avLst/>
            <a:gdLst>
              <a:gd name="connsiteX0" fmla="*/ 0 w 2863850"/>
              <a:gd name="connsiteY0" fmla="*/ 0 h 1354991"/>
              <a:gd name="connsiteX1" fmla="*/ 127000 w 2863850"/>
              <a:gd name="connsiteY1" fmla="*/ 12700 h 1354991"/>
              <a:gd name="connsiteX2" fmla="*/ 190500 w 2863850"/>
              <a:gd name="connsiteY2" fmla="*/ 19050 h 1354991"/>
              <a:gd name="connsiteX3" fmla="*/ 241300 w 2863850"/>
              <a:gd name="connsiteY3" fmla="*/ 88900 h 1354991"/>
              <a:gd name="connsiteX4" fmla="*/ 279400 w 2863850"/>
              <a:gd name="connsiteY4" fmla="*/ 215900 h 1354991"/>
              <a:gd name="connsiteX5" fmla="*/ 349250 w 2863850"/>
              <a:gd name="connsiteY5" fmla="*/ 304800 h 1354991"/>
              <a:gd name="connsiteX6" fmla="*/ 412750 w 2863850"/>
              <a:gd name="connsiteY6" fmla="*/ 361950 h 1354991"/>
              <a:gd name="connsiteX7" fmla="*/ 520700 w 2863850"/>
              <a:gd name="connsiteY7" fmla="*/ 406400 h 1354991"/>
              <a:gd name="connsiteX8" fmla="*/ 558800 w 2863850"/>
              <a:gd name="connsiteY8" fmla="*/ 438150 h 1354991"/>
              <a:gd name="connsiteX9" fmla="*/ 615950 w 2863850"/>
              <a:gd name="connsiteY9" fmla="*/ 508000 h 1354991"/>
              <a:gd name="connsiteX10" fmla="*/ 698500 w 2863850"/>
              <a:gd name="connsiteY10" fmla="*/ 552450 h 1354991"/>
              <a:gd name="connsiteX11" fmla="*/ 730250 w 2863850"/>
              <a:gd name="connsiteY11" fmla="*/ 577850 h 1354991"/>
              <a:gd name="connsiteX12" fmla="*/ 787400 w 2863850"/>
              <a:gd name="connsiteY12" fmla="*/ 692150 h 1354991"/>
              <a:gd name="connsiteX13" fmla="*/ 850900 w 2863850"/>
              <a:gd name="connsiteY13" fmla="*/ 736600 h 1354991"/>
              <a:gd name="connsiteX14" fmla="*/ 876300 w 2863850"/>
              <a:gd name="connsiteY14" fmla="*/ 850900 h 1354991"/>
              <a:gd name="connsiteX15" fmla="*/ 977900 w 2863850"/>
              <a:gd name="connsiteY15" fmla="*/ 952500 h 1354991"/>
              <a:gd name="connsiteX16" fmla="*/ 1098550 w 2863850"/>
              <a:gd name="connsiteY16" fmla="*/ 1009650 h 1354991"/>
              <a:gd name="connsiteX17" fmla="*/ 1219200 w 2863850"/>
              <a:gd name="connsiteY17" fmla="*/ 1060450 h 1354991"/>
              <a:gd name="connsiteX18" fmla="*/ 1276350 w 2863850"/>
              <a:gd name="connsiteY18" fmla="*/ 1092200 h 1354991"/>
              <a:gd name="connsiteX19" fmla="*/ 1377950 w 2863850"/>
              <a:gd name="connsiteY19" fmla="*/ 1225550 h 1354991"/>
              <a:gd name="connsiteX20" fmla="*/ 1435100 w 2863850"/>
              <a:gd name="connsiteY20" fmla="*/ 1238250 h 1354991"/>
              <a:gd name="connsiteX21" fmla="*/ 1600200 w 2863850"/>
              <a:gd name="connsiteY21" fmla="*/ 1206500 h 1354991"/>
              <a:gd name="connsiteX22" fmla="*/ 1727200 w 2863850"/>
              <a:gd name="connsiteY22" fmla="*/ 1206500 h 1354991"/>
              <a:gd name="connsiteX23" fmla="*/ 1822450 w 2863850"/>
              <a:gd name="connsiteY23" fmla="*/ 1244600 h 1354991"/>
              <a:gd name="connsiteX24" fmla="*/ 1905000 w 2863850"/>
              <a:gd name="connsiteY24" fmla="*/ 1263650 h 1354991"/>
              <a:gd name="connsiteX25" fmla="*/ 2000250 w 2863850"/>
              <a:gd name="connsiteY25" fmla="*/ 1238250 h 1354991"/>
              <a:gd name="connsiteX26" fmla="*/ 2044700 w 2863850"/>
              <a:gd name="connsiteY26" fmla="*/ 1231900 h 1354991"/>
              <a:gd name="connsiteX27" fmla="*/ 2235200 w 2863850"/>
              <a:gd name="connsiteY27" fmla="*/ 1282700 h 1354991"/>
              <a:gd name="connsiteX28" fmla="*/ 2349500 w 2863850"/>
              <a:gd name="connsiteY28" fmla="*/ 1327150 h 1354991"/>
              <a:gd name="connsiteX29" fmla="*/ 2393950 w 2863850"/>
              <a:gd name="connsiteY29" fmla="*/ 1346200 h 1354991"/>
              <a:gd name="connsiteX30" fmla="*/ 2501900 w 2863850"/>
              <a:gd name="connsiteY30" fmla="*/ 1181100 h 1354991"/>
              <a:gd name="connsiteX31" fmla="*/ 2571750 w 2863850"/>
              <a:gd name="connsiteY31" fmla="*/ 1130300 h 1354991"/>
              <a:gd name="connsiteX32" fmla="*/ 2609850 w 2863850"/>
              <a:gd name="connsiteY32" fmla="*/ 1098550 h 1354991"/>
              <a:gd name="connsiteX33" fmla="*/ 2679700 w 2863850"/>
              <a:gd name="connsiteY33" fmla="*/ 1130300 h 1354991"/>
              <a:gd name="connsiteX34" fmla="*/ 2749550 w 2863850"/>
              <a:gd name="connsiteY34" fmla="*/ 1130300 h 1354991"/>
              <a:gd name="connsiteX35" fmla="*/ 2819400 w 2863850"/>
              <a:gd name="connsiteY35" fmla="*/ 1181100 h 1354991"/>
              <a:gd name="connsiteX36" fmla="*/ 2863850 w 2863850"/>
              <a:gd name="connsiteY36" fmla="*/ 1200150 h 135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2863850" h="1354991">
                <a:moveTo>
                  <a:pt x="0" y="0"/>
                </a:moveTo>
                <a:lnTo>
                  <a:pt x="127000" y="12700"/>
                </a:lnTo>
                <a:cubicBezTo>
                  <a:pt x="158750" y="15875"/>
                  <a:pt x="171450" y="6350"/>
                  <a:pt x="190500" y="19050"/>
                </a:cubicBezTo>
                <a:cubicBezTo>
                  <a:pt x="209550" y="31750"/>
                  <a:pt x="226483" y="56092"/>
                  <a:pt x="241300" y="88900"/>
                </a:cubicBezTo>
                <a:cubicBezTo>
                  <a:pt x="256117" y="121708"/>
                  <a:pt x="261408" y="179917"/>
                  <a:pt x="279400" y="215900"/>
                </a:cubicBezTo>
                <a:cubicBezTo>
                  <a:pt x="297392" y="251883"/>
                  <a:pt x="327025" y="280458"/>
                  <a:pt x="349250" y="304800"/>
                </a:cubicBezTo>
                <a:cubicBezTo>
                  <a:pt x="371475" y="329142"/>
                  <a:pt x="384175" y="345017"/>
                  <a:pt x="412750" y="361950"/>
                </a:cubicBezTo>
                <a:cubicBezTo>
                  <a:pt x="441325" y="378883"/>
                  <a:pt x="496358" y="393700"/>
                  <a:pt x="520700" y="406400"/>
                </a:cubicBezTo>
                <a:cubicBezTo>
                  <a:pt x="545042" y="419100"/>
                  <a:pt x="542925" y="421217"/>
                  <a:pt x="558800" y="438150"/>
                </a:cubicBezTo>
                <a:cubicBezTo>
                  <a:pt x="574675" y="455083"/>
                  <a:pt x="592667" y="488950"/>
                  <a:pt x="615950" y="508000"/>
                </a:cubicBezTo>
                <a:cubicBezTo>
                  <a:pt x="639233" y="527050"/>
                  <a:pt x="679450" y="540808"/>
                  <a:pt x="698500" y="552450"/>
                </a:cubicBezTo>
                <a:cubicBezTo>
                  <a:pt x="717550" y="564092"/>
                  <a:pt x="715433" y="554567"/>
                  <a:pt x="730250" y="577850"/>
                </a:cubicBezTo>
                <a:cubicBezTo>
                  <a:pt x="745067" y="601133"/>
                  <a:pt x="767292" y="665692"/>
                  <a:pt x="787400" y="692150"/>
                </a:cubicBezTo>
                <a:cubicBezTo>
                  <a:pt x="807508" y="718608"/>
                  <a:pt x="836083" y="710142"/>
                  <a:pt x="850900" y="736600"/>
                </a:cubicBezTo>
                <a:cubicBezTo>
                  <a:pt x="865717" y="763058"/>
                  <a:pt x="855133" y="814917"/>
                  <a:pt x="876300" y="850900"/>
                </a:cubicBezTo>
                <a:cubicBezTo>
                  <a:pt x="897467" y="886883"/>
                  <a:pt x="940858" y="926042"/>
                  <a:pt x="977900" y="952500"/>
                </a:cubicBezTo>
                <a:cubicBezTo>
                  <a:pt x="1014942" y="978958"/>
                  <a:pt x="1058333" y="991658"/>
                  <a:pt x="1098550" y="1009650"/>
                </a:cubicBezTo>
                <a:cubicBezTo>
                  <a:pt x="1138767" y="1027642"/>
                  <a:pt x="1189567" y="1046692"/>
                  <a:pt x="1219200" y="1060450"/>
                </a:cubicBezTo>
                <a:cubicBezTo>
                  <a:pt x="1248833" y="1074208"/>
                  <a:pt x="1249892" y="1064683"/>
                  <a:pt x="1276350" y="1092200"/>
                </a:cubicBezTo>
                <a:cubicBezTo>
                  <a:pt x="1302808" y="1119717"/>
                  <a:pt x="1351492" y="1201208"/>
                  <a:pt x="1377950" y="1225550"/>
                </a:cubicBezTo>
                <a:cubicBezTo>
                  <a:pt x="1404408" y="1249892"/>
                  <a:pt x="1398058" y="1241425"/>
                  <a:pt x="1435100" y="1238250"/>
                </a:cubicBezTo>
                <a:cubicBezTo>
                  <a:pt x="1472142" y="1235075"/>
                  <a:pt x="1551517" y="1211792"/>
                  <a:pt x="1600200" y="1206500"/>
                </a:cubicBezTo>
                <a:cubicBezTo>
                  <a:pt x="1648883" y="1201208"/>
                  <a:pt x="1690158" y="1200150"/>
                  <a:pt x="1727200" y="1206500"/>
                </a:cubicBezTo>
                <a:cubicBezTo>
                  <a:pt x="1764242" y="1212850"/>
                  <a:pt x="1792817" y="1235075"/>
                  <a:pt x="1822450" y="1244600"/>
                </a:cubicBezTo>
                <a:cubicBezTo>
                  <a:pt x="1852083" y="1254125"/>
                  <a:pt x="1875367" y="1264708"/>
                  <a:pt x="1905000" y="1263650"/>
                </a:cubicBezTo>
                <a:cubicBezTo>
                  <a:pt x="1934633" y="1262592"/>
                  <a:pt x="1976967" y="1243542"/>
                  <a:pt x="2000250" y="1238250"/>
                </a:cubicBezTo>
                <a:cubicBezTo>
                  <a:pt x="2023533" y="1232958"/>
                  <a:pt x="2005542" y="1224492"/>
                  <a:pt x="2044700" y="1231900"/>
                </a:cubicBezTo>
                <a:cubicBezTo>
                  <a:pt x="2083858" y="1239308"/>
                  <a:pt x="2184400" y="1266825"/>
                  <a:pt x="2235200" y="1282700"/>
                </a:cubicBezTo>
                <a:cubicBezTo>
                  <a:pt x="2286000" y="1298575"/>
                  <a:pt x="2323042" y="1316567"/>
                  <a:pt x="2349500" y="1327150"/>
                </a:cubicBezTo>
                <a:cubicBezTo>
                  <a:pt x="2375958" y="1337733"/>
                  <a:pt x="2368550" y="1370542"/>
                  <a:pt x="2393950" y="1346200"/>
                </a:cubicBezTo>
                <a:cubicBezTo>
                  <a:pt x="2419350" y="1321858"/>
                  <a:pt x="2472267" y="1217083"/>
                  <a:pt x="2501900" y="1181100"/>
                </a:cubicBezTo>
                <a:cubicBezTo>
                  <a:pt x="2531533" y="1145117"/>
                  <a:pt x="2553758" y="1144058"/>
                  <a:pt x="2571750" y="1130300"/>
                </a:cubicBezTo>
                <a:cubicBezTo>
                  <a:pt x="2589742" y="1116542"/>
                  <a:pt x="2591858" y="1098550"/>
                  <a:pt x="2609850" y="1098550"/>
                </a:cubicBezTo>
                <a:cubicBezTo>
                  <a:pt x="2627842" y="1098550"/>
                  <a:pt x="2656417" y="1125008"/>
                  <a:pt x="2679700" y="1130300"/>
                </a:cubicBezTo>
                <a:cubicBezTo>
                  <a:pt x="2702983" y="1135592"/>
                  <a:pt x="2726267" y="1121833"/>
                  <a:pt x="2749550" y="1130300"/>
                </a:cubicBezTo>
                <a:cubicBezTo>
                  <a:pt x="2772833" y="1138767"/>
                  <a:pt x="2800350" y="1169458"/>
                  <a:pt x="2819400" y="1181100"/>
                </a:cubicBezTo>
                <a:cubicBezTo>
                  <a:pt x="2838450" y="1192742"/>
                  <a:pt x="2855383" y="1195917"/>
                  <a:pt x="2863850" y="1200150"/>
                </a:cubicBezTo>
              </a:path>
            </a:pathLst>
          </a:cu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Блок-схема: узел 88"/>
          <p:cNvSpPr/>
          <p:nvPr/>
        </p:nvSpPr>
        <p:spPr bwMode="auto">
          <a:xfrm>
            <a:off x="6805448" y="2206386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8" name="Блок-схема: узел 87"/>
          <p:cNvSpPr/>
          <p:nvPr/>
        </p:nvSpPr>
        <p:spPr bwMode="auto">
          <a:xfrm>
            <a:off x="3869085" y="1251816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1" name="Полилиния 10"/>
          <p:cNvSpPr/>
          <p:nvPr/>
        </p:nvSpPr>
        <p:spPr>
          <a:xfrm>
            <a:off x="2744943" y="4614403"/>
            <a:ext cx="71437" cy="260747"/>
          </a:xfrm>
          <a:custGeom>
            <a:avLst/>
            <a:gdLst>
              <a:gd name="connsiteX0" fmla="*/ 0 w 71437"/>
              <a:gd name="connsiteY0" fmla="*/ 347663 h 347663"/>
              <a:gd name="connsiteX1" fmla="*/ 71437 w 714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1437" h="347663">
                <a:moveTo>
                  <a:pt x="0" y="347663"/>
                </a:moveTo>
                <a:lnTo>
                  <a:pt x="71437" y="0"/>
                </a:lnTo>
              </a:path>
            </a:pathLst>
          </a:custGeom>
          <a:ln w="241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олилиния 55"/>
          <p:cNvSpPr/>
          <p:nvPr/>
        </p:nvSpPr>
        <p:spPr>
          <a:xfrm>
            <a:off x="2686720" y="4614401"/>
            <a:ext cx="71437" cy="260747"/>
          </a:xfrm>
          <a:custGeom>
            <a:avLst/>
            <a:gdLst>
              <a:gd name="connsiteX0" fmla="*/ 0 w 71437"/>
              <a:gd name="connsiteY0" fmla="*/ 347663 h 347663"/>
              <a:gd name="connsiteX1" fmla="*/ 71437 w 714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1437" h="347663">
                <a:moveTo>
                  <a:pt x="0" y="347663"/>
                </a:moveTo>
                <a:lnTo>
                  <a:pt x="71437" y="0"/>
                </a:lnTo>
              </a:path>
            </a:pathLst>
          </a:cu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Полилиния 56"/>
          <p:cNvSpPr/>
          <p:nvPr/>
        </p:nvSpPr>
        <p:spPr>
          <a:xfrm>
            <a:off x="2806222" y="4633343"/>
            <a:ext cx="71437" cy="260747"/>
          </a:xfrm>
          <a:custGeom>
            <a:avLst/>
            <a:gdLst>
              <a:gd name="connsiteX0" fmla="*/ 0 w 71437"/>
              <a:gd name="connsiteY0" fmla="*/ 347663 h 347663"/>
              <a:gd name="connsiteX1" fmla="*/ 71437 w 714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1437" h="347663">
                <a:moveTo>
                  <a:pt x="0" y="347663"/>
                </a:moveTo>
                <a:lnTo>
                  <a:pt x="71437" y="0"/>
                </a:lnTo>
              </a:path>
            </a:pathLst>
          </a:cu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олилиния 57"/>
          <p:cNvSpPr/>
          <p:nvPr/>
        </p:nvSpPr>
        <p:spPr>
          <a:xfrm>
            <a:off x="2741517" y="4619603"/>
            <a:ext cx="71437" cy="260747"/>
          </a:xfrm>
          <a:custGeom>
            <a:avLst/>
            <a:gdLst>
              <a:gd name="connsiteX0" fmla="*/ 0 w 71437"/>
              <a:gd name="connsiteY0" fmla="*/ 347663 h 347663"/>
              <a:gd name="connsiteX1" fmla="*/ 71437 w 71437"/>
              <a:gd name="connsiteY1" fmla="*/ 0 h 347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1437" h="347663">
                <a:moveTo>
                  <a:pt x="0" y="347663"/>
                </a:moveTo>
                <a:lnTo>
                  <a:pt x="71437" y="0"/>
                </a:lnTo>
              </a:path>
            </a:pathLst>
          </a:cu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Блок-схема: узел 78"/>
          <p:cNvSpPr/>
          <p:nvPr/>
        </p:nvSpPr>
        <p:spPr bwMode="auto">
          <a:xfrm>
            <a:off x="2634492" y="4852221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65" name="Прямая со стрелкой 64"/>
          <p:cNvCxnSpPr>
            <a:stCxn id="87" idx="1"/>
            <a:endCxn id="48" idx="9"/>
          </p:cNvCxnSpPr>
          <p:nvPr/>
        </p:nvCxnSpPr>
        <p:spPr>
          <a:xfrm flipH="1">
            <a:off x="4583595" y="1382181"/>
            <a:ext cx="1394142" cy="32188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Скругленный прямоугольник 77"/>
          <p:cNvSpPr/>
          <p:nvPr/>
        </p:nvSpPr>
        <p:spPr bwMode="auto">
          <a:xfrm>
            <a:off x="302315" y="2412130"/>
            <a:ext cx="3100815" cy="141259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olid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18000" tIns="10800" rIns="18000" bIns="10800" anchor="ctr"/>
          <a:lstStyle/>
          <a:p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Талдықорған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Өскемен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287-1073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768 к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– 16</a:t>
            </a:r>
          </a:p>
          <a:p>
            <a:pPr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СИТИК, К-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Дорстрой</a:t>
            </a:r>
            <a:r>
              <a:rPr lang="ru-RU" altLang="ru-RU" sz="1100" b="1" i="1" dirty="0">
                <a:cs typeface="Times New Roman" panose="02020603050405020304" pitchFamily="18" charset="0"/>
              </a:rPr>
              <a:t>, </a:t>
            </a:r>
          </a:p>
          <a:p>
            <a:pPr>
              <a:defRPr/>
            </a:pPr>
            <a:r>
              <a:rPr lang="ru-RU" altLang="ru-RU" sz="1100" b="1" i="1" dirty="0" err="1">
                <a:cs typeface="Times New Roman" panose="02020603050405020304" pitchFamily="18" charset="0"/>
              </a:rPr>
              <a:t>Тодини</a:t>
            </a:r>
            <a:r>
              <a:rPr lang="ru-RU" altLang="ru-RU" sz="1100" b="1" i="1" dirty="0">
                <a:cs typeface="Times New Roman" panose="02020603050405020304" pitchFamily="18" charset="0"/>
              </a:rPr>
              <a:t> Централ Азия</a:t>
            </a:r>
            <a:endParaRPr lang="ru-RU" altLang="ru-RU" sz="1100" b="1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ұн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en-US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277 млрд. </a:t>
            </a:r>
            <a:r>
              <a:rPr lang="ru-RU" altLang="ru-RU" sz="110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тг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- </a:t>
            </a:r>
            <a:r>
              <a:rPr lang="ru-RU" altLang="ru-RU" sz="110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ЭксимБанк</a:t>
            </a:r>
            <a:endParaRPr lang="ru-RU" altLang="ru-RU" sz="1100" b="1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100" b="1" dirty="0"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2019-2022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жж</a:t>
            </a:r>
            <a:endParaRPr lang="ru-RU" altLang="ru-RU" sz="1100" b="1" i="1" dirty="0">
              <a:cs typeface="Times New Roman" panose="02020603050405020304" pitchFamily="18" charset="0"/>
            </a:endParaRPr>
          </a:p>
        </p:txBody>
      </p:sp>
      <p:sp>
        <p:nvSpPr>
          <p:cNvPr id="87" name="Скругленный прямоугольник 86"/>
          <p:cNvSpPr/>
          <p:nvPr/>
        </p:nvSpPr>
        <p:spPr bwMode="auto">
          <a:xfrm>
            <a:off x="5977737" y="799518"/>
            <a:ext cx="2794015" cy="1165325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olid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18000" tIns="10800" rIns="18000" bIns="10800" anchor="ctr"/>
          <a:lstStyle/>
          <a:p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Қалбатау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– 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Майқапшағай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906-1321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415 к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– 10</a:t>
            </a:r>
          </a:p>
          <a:p>
            <a:pPr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Казгерстрой</a:t>
            </a:r>
            <a:r>
              <a:rPr lang="ru-RU" altLang="ru-RU" sz="1100" b="1" i="1" dirty="0">
                <a:cs typeface="Times New Roman" panose="02020603050405020304" pitchFamily="18" charset="0"/>
              </a:rPr>
              <a:t>,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Синьсинь</a:t>
            </a:r>
            <a:endParaRPr lang="ru-RU" altLang="ru-RU" sz="1100" b="1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ұн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en-US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157 млрд. </a:t>
            </a:r>
            <a:r>
              <a:rPr lang="ru-RU" altLang="ru-RU" sz="110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тг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- </a:t>
            </a:r>
            <a:r>
              <a:rPr lang="ru-RU" altLang="ru-RU" sz="110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ЭксимБанк</a:t>
            </a:r>
            <a:endParaRPr lang="ru-RU" altLang="ru-RU" sz="1100" b="1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100" b="1" dirty="0"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2019-2022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жж</a:t>
            </a:r>
            <a:endParaRPr lang="ru-RU" altLang="ru-RU" sz="1100" b="1" i="1" dirty="0">
              <a:cs typeface="Times New Roman" panose="02020603050405020304" pitchFamily="18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4206240" y="805815"/>
            <a:ext cx="182880" cy="120015"/>
          </a:xfrm>
          <a:custGeom>
            <a:avLst/>
            <a:gdLst>
              <a:gd name="connsiteX0" fmla="*/ 182880 w 182880"/>
              <a:gd name="connsiteY0" fmla="*/ 0 h 160020"/>
              <a:gd name="connsiteX1" fmla="*/ 68580 w 182880"/>
              <a:gd name="connsiteY1" fmla="*/ 91440 h 160020"/>
              <a:gd name="connsiteX2" fmla="*/ 0 w 182880"/>
              <a:gd name="connsiteY2" fmla="*/ 160020 h 16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880" h="160020">
                <a:moveTo>
                  <a:pt x="182880" y="0"/>
                </a:moveTo>
                <a:cubicBezTo>
                  <a:pt x="140970" y="32385"/>
                  <a:pt x="99060" y="64770"/>
                  <a:pt x="68580" y="91440"/>
                </a:cubicBezTo>
                <a:cubicBezTo>
                  <a:pt x="38100" y="118110"/>
                  <a:pt x="19050" y="139065"/>
                  <a:pt x="0" y="160020"/>
                </a:cubicBezTo>
              </a:path>
            </a:pathLst>
          </a:custGeom>
          <a:ln w="2286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Полилиния 91"/>
          <p:cNvSpPr/>
          <p:nvPr/>
        </p:nvSpPr>
        <p:spPr>
          <a:xfrm>
            <a:off x="4161091" y="761978"/>
            <a:ext cx="182880" cy="120015"/>
          </a:xfrm>
          <a:custGeom>
            <a:avLst/>
            <a:gdLst>
              <a:gd name="connsiteX0" fmla="*/ 182880 w 182880"/>
              <a:gd name="connsiteY0" fmla="*/ 0 h 160020"/>
              <a:gd name="connsiteX1" fmla="*/ 68580 w 182880"/>
              <a:gd name="connsiteY1" fmla="*/ 91440 h 160020"/>
              <a:gd name="connsiteX2" fmla="*/ 0 w 182880"/>
              <a:gd name="connsiteY2" fmla="*/ 160020 h 16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880" h="160020">
                <a:moveTo>
                  <a:pt x="182880" y="0"/>
                </a:moveTo>
                <a:cubicBezTo>
                  <a:pt x="140970" y="32385"/>
                  <a:pt x="99060" y="64770"/>
                  <a:pt x="68580" y="91440"/>
                </a:cubicBezTo>
                <a:cubicBezTo>
                  <a:pt x="38100" y="118110"/>
                  <a:pt x="19050" y="139065"/>
                  <a:pt x="0" y="160020"/>
                </a:cubicBezTo>
              </a:path>
            </a:pathLst>
          </a:cu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олилиния 93"/>
          <p:cNvSpPr/>
          <p:nvPr/>
        </p:nvSpPr>
        <p:spPr>
          <a:xfrm>
            <a:off x="4247952" y="832024"/>
            <a:ext cx="182880" cy="120015"/>
          </a:xfrm>
          <a:custGeom>
            <a:avLst/>
            <a:gdLst>
              <a:gd name="connsiteX0" fmla="*/ 182880 w 182880"/>
              <a:gd name="connsiteY0" fmla="*/ 0 h 160020"/>
              <a:gd name="connsiteX1" fmla="*/ 68580 w 182880"/>
              <a:gd name="connsiteY1" fmla="*/ 91440 h 160020"/>
              <a:gd name="connsiteX2" fmla="*/ 0 w 182880"/>
              <a:gd name="connsiteY2" fmla="*/ 160020 h 16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880" h="160020">
                <a:moveTo>
                  <a:pt x="182880" y="0"/>
                </a:moveTo>
                <a:cubicBezTo>
                  <a:pt x="140970" y="32385"/>
                  <a:pt x="99060" y="64770"/>
                  <a:pt x="68580" y="91440"/>
                </a:cubicBezTo>
                <a:cubicBezTo>
                  <a:pt x="38100" y="118110"/>
                  <a:pt x="19050" y="139065"/>
                  <a:pt x="0" y="160020"/>
                </a:cubicBezTo>
              </a:path>
            </a:pathLst>
          </a:cu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олилиния 98"/>
          <p:cNvSpPr/>
          <p:nvPr/>
        </p:nvSpPr>
        <p:spPr>
          <a:xfrm>
            <a:off x="4199632" y="804895"/>
            <a:ext cx="182880" cy="120015"/>
          </a:xfrm>
          <a:custGeom>
            <a:avLst/>
            <a:gdLst>
              <a:gd name="connsiteX0" fmla="*/ 182880 w 182880"/>
              <a:gd name="connsiteY0" fmla="*/ 0 h 160020"/>
              <a:gd name="connsiteX1" fmla="*/ 68580 w 182880"/>
              <a:gd name="connsiteY1" fmla="*/ 91440 h 160020"/>
              <a:gd name="connsiteX2" fmla="*/ 0 w 182880"/>
              <a:gd name="connsiteY2" fmla="*/ 160020 h 16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82880" h="160020">
                <a:moveTo>
                  <a:pt x="182880" y="0"/>
                </a:moveTo>
                <a:cubicBezTo>
                  <a:pt x="140970" y="32385"/>
                  <a:pt x="99060" y="64770"/>
                  <a:pt x="68580" y="91440"/>
                </a:cubicBezTo>
                <a:cubicBezTo>
                  <a:pt x="38100" y="118110"/>
                  <a:pt x="19050" y="139065"/>
                  <a:pt x="0" y="160020"/>
                </a:cubicBezTo>
              </a:path>
            </a:pathLst>
          </a:custGeom>
          <a:ln w="9525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Блок-схема: узел 89"/>
          <p:cNvSpPr/>
          <p:nvPr/>
        </p:nvSpPr>
        <p:spPr bwMode="auto">
          <a:xfrm>
            <a:off x="4342886" y="713662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4143376" y="3768328"/>
            <a:ext cx="1209675" cy="471488"/>
          </a:xfrm>
          <a:custGeom>
            <a:avLst/>
            <a:gdLst>
              <a:gd name="connsiteX0" fmla="*/ 0 w 1209675"/>
              <a:gd name="connsiteY0" fmla="*/ 0 h 628650"/>
              <a:gd name="connsiteX1" fmla="*/ 147638 w 1209675"/>
              <a:gd name="connsiteY1" fmla="*/ 42862 h 628650"/>
              <a:gd name="connsiteX2" fmla="*/ 271463 w 1209675"/>
              <a:gd name="connsiteY2" fmla="*/ 100012 h 628650"/>
              <a:gd name="connsiteX3" fmla="*/ 423863 w 1209675"/>
              <a:gd name="connsiteY3" fmla="*/ 161925 h 628650"/>
              <a:gd name="connsiteX4" fmla="*/ 466725 w 1209675"/>
              <a:gd name="connsiteY4" fmla="*/ 190500 h 628650"/>
              <a:gd name="connsiteX5" fmla="*/ 538163 w 1209675"/>
              <a:gd name="connsiteY5" fmla="*/ 304800 h 628650"/>
              <a:gd name="connsiteX6" fmla="*/ 638175 w 1209675"/>
              <a:gd name="connsiteY6" fmla="*/ 333375 h 628650"/>
              <a:gd name="connsiteX7" fmla="*/ 742950 w 1209675"/>
              <a:gd name="connsiteY7" fmla="*/ 276225 h 628650"/>
              <a:gd name="connsiteX8" fmla="*/ 828675 w 1209675"/>
              <a:gd name="connsiteY8" fmla="*/ 285750 h 628650"/>
              <a:gd name="connsiteX9" fmla="*/ 890588 w 1209675"/>
              <a:gd name="connsiteY9" fmla="*/ 404812 h 628650"/>
              <a:gd name="connsiteX10" fmla="*/ 1000125 w 1209675"/>
              <a:gd name="connsiteY10" fmla="*/ 538162 h 628650"/>
              <a:gd name="connsiteX11" fmla="*/ 1095375 w 1209675"/>
              <a:gd name="connsiteY11" fmla="*/ 585787 h 628650"/>
              <a:gd name="connsiteX12" fmla="*/ 1138238 w 1209675"/>
              <a:gd name="connsiteY12" fmla="*/ 604837 h 628650"/>
              <a:gd name="connsiteX13" fmla="*/ 1209675 w 1209675"/>
              <a:gd name="connsiteY13" fmla="*/ 62865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09675" h="628650">
                <a:moveTo>
                  <a:pt x="0" y="0"/>
                </a:moveTo>
                <a:cubicBezTo>
                  <a:pt x="51197" y="13096"/>
                  <a:pt x="102394" y="26193"/>
                  <a:pt x="147638" y="42862"/>
                </a:cubicBezTo>
                <a:cubicBezTo>
                  <a:pt x="192882" y="59531"/>
                  <a:pt x="225426" y="80168"/>
                  <a:pt x="271463" y="100012"/>
                </a:cubicBezTo>
                <a:cubicBezTo>
                  <a:pt x="317500" y="119856"/>
                  <a:pt x="391319" y="146844"/>
                  <a:pt x="423863" y="161925"/>
                </a:cubicBezTo>
                <a:cubicBezTo>
                  <a:pt x="456407" y="177006"/>
                  <a:pt x="447675" y="166688"/>
                  <a:pt x="466725" y="190500"/>
                </a:cubicBezTo>
                <a:cubicBezTo>
                  <a:pt x="485775" y="214312"/>
                  <a:pt x="509588" y="280988"/>
                  <a:pt x="538163" y="304800"/>
                </a:cubicBezTo>
                <a:cubicBezTo>
                  <a:pt x="566738" y="328612"/>
                  <a:pt x="604044" y="338137"/>
                  <a:pt x="638175" y="333375"/>
                </a:cubicBezTo>
                <a:cubicBezTo>
                  <a:pt x="672306" y="328613"/>
                  <a:pt x="711200" y="284162"/>
                  <a:pt x="742950" y="276225"/>
                </a:cubicBezTo>
                <a:cubicBezTo>
                  <a:pt x="774700" y="268288"/>
                  <a:pt x="804069" y="264319"/>
                  <a:pt x="828675" y="285750"/>
                </a:cubicBezTo>
                <a:cubicBezTo>
                  <a:pt x="853281" y="307181"/>
                  <a:pt x="862013" y="362743"/>
                  <a:pt x="890588" y="404812"/>
                </a:cubicBezTo>
                <a:cubicBezTo>
                  <a:pt x="919163" y="446881"/>
                  <a:pt x="965994" y="508000"/>
                  <a:pt x="1000125" y="538162"/>
                </a:cubicBezTo>
                <a:cubicBezTo>
                  <a:pt x="1034256" y="568324"/>
                  <a:pt x="1072356" y="574675"/>
                  <a:pt x="1095375" y="585787"/>
                </a:cubicBezTo>
                <a:cubicBezTo>
                  <a:pt x="1118394" y="596899"/>
                  <a:pt x="1119188" y="597693"/>
                  <a:pt x="1138238" y="604837"/>
                </a:cubicBezTo>
                <a:cubicBezTo>
                  <a:pt x="1157288" y="611981"/>
                  <a:pt x="1209675" y="628650"/>
                  <a:pt x="1209675" y="628650"/>
                </a:cubicBezTo>
              </a:path>
            </a:pathLst>
          </a:custGeom>
          <a:noFill/>
          <a:ln w="1143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100" name="Полилиния 99"/>
          <p:cNvSpPr/>
          <p:nvPr/>
        </p:nvSpPr>
        <p:spPr>
          <a:xfrm>
            <a:off x="4143376" y="3768328"/>
            <a:ext cx="1209675" cy="471488"/>
          </a:xfrm>
          <a:custGeom>
            <a:avLst/>
            <a:gdLst>
              <a:gd name="connsiteX0" fmla="*/ 0 w 1209675"/>
              <a:gd name="connsiteY0" fmla="*/ 0 h 628650"/>
              <a:gd name="connsiteX1" fmla="*/ 147638 w 1209675"/>
              <a:gd name="connsiteY1" fmla="*/ 42862 h 628650"/>
              <a:gd name="connsiteX2" fmla="*/ 271463 w 1209675"/>
              <a:gd name="connsiteY2" fmla="*/ 100012 h 628650"/>
              <a:gd name="connsiteX3" fmla="*/ 423863 w 1209675"/>
              <a:gd name="connsiteY3" fmla="*/ 161925 h 628650"/>
              <a:gd name="connsiteX4" fmla="*/ 466725 w 1209675"/>
              <a:gd name="connsiteY4" fmla="*/ 190500 h 628650"/>
              <a:gd name="connsiteX5" fmla="*/ 538163 w 1209675"/>
              <a:gd name="connsiteY5" fmla="*/ 304800 h 628650"/>
              <a:gd name="connsiteX6" fmla="*/ 638175 w 1209675"/>
              <a:gd name="connsiteY6" fmla="*/ 333375 h 628650"/>
              <a:gd name="connsiteX7" fmla="*/ 742950 w 1209675"/>
              <a:gd name="connsiteY7" fmla="*/ 276225 h 628650"/>
              <a:gd name="connsiteX8" fmla="*/ 828675 w 1209675"/>
              <a:gd name="connsiteY8" fmla="*/ 285750 h 628650"/>
              <a:gd name="connsiteX9" fmla="*/ 890588 w 1209675"/>
              <a:gd name="connsiteY9" fmla="*/ 404812 h 628650"/>
              <a:gd name="connsiteX10" fmla="*/ 1000125 w 1209675"/>
              <a:gd name="connsiteY10" fmla="*/ 538162 h 628650"/>
              <a:gd name="connsiteX11" fmla="*/ 1095375 w 1209675"/>
              <a:gd name="connsiteY11" fmla="*/ 585787 h 628650"/>
              <a:gd name="connsiteX12" fmla="*/ 1138238 w 1209675"/>
              <a:gd name="connsiteY12" fmla="*/ 604837 h 628650"/>
              <a:gd name="connsiteX13" fmla="*/ 1209675 w 1209675"/>
              <a:gd name="connsiteY13" fmla="*/ 62865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09675" h="628650">
                <a:moveTo>
                  <a:pt x="0" y="0"/>
                </a:moveTo>
                <a:cubicBezTo>
                  <a:pt x="51197" y="13096"/>
                  <a:pt x="102394" y="26193"/>
                  <a:pt x="147638" y="42862"/>
                </a:cubicBezTo>
                <a:cubicBezTo>
                  <a:pt x="192882" y="59531"/>
                  <a:pt x="225426" y="80168"/>
                  <a:pt x="271463" y="100012"/>
                </a:cubicBezTo>
                <a:cubicBezTo>
                  <a:pt x="317500" y="119856"/>
                  <a:pt x="391319" y="146844"/>
                  <a:pt x="423863" y="161925"/>
                </a:cubicBezTo>
                <a:cubicBezTo>
                  <a:pt x="456407" y="177006"/>
                  <a:pt x="447675" y="166688"/>
                  <a:pt x="466725" y="190500"/>
                </a:cubicBezTo>
                <a:cubicBezTo>
                  <a:pt x="485775" y="214312"/>
                  <a:pt x="509588" y="280988"/>
                  <a:pt x="538163" y="304800"/>
                </a:cubicBezTo>
                <a:cubicBezTo>
                  <a:pt x="566738" y="328612"/>
                  <a:pt x="604044" y="338137"/>
                  <a:pt x="638175" y="333375"/>
                </a:cubicBezTo>
                <a:cubicBezTo>
                  <a:pt x="672306" y="328613"/>
                  <a:pt x="711200" y="284162"/>
                  <a:pt x="742950" y="276225"/>
                </a:cubicBezTo>
                <a:cubicBezTo>
                  <a:pt x="774700" y="268288"/>
                  <a:pt x="804069" y="264319"/>
                  <a:pt x="828675" y="285750"/>
                </a:cubicBezTo>
                <a:cubicBezTo>
                  <a:pt x="853281" y="307181"/>
                  <a:pt x="862013" y="362743"/>
                  <a:pt x="890588" y="404812"/>
                </a:cubicBezTo>
                <a:cubicBezTo>
                  <a:pt x="919163" y="446881"/>
                  <a:pt x="965994" y="508000"/>
                  <a:pt x="1000125" y="538162"/>
                </a:cubicBezTo>
                <a:cubicBezTo>
                  <a:pt x="1034256" y="568324"/>
                  <a:pt x="1072356" y="574675"/>
                  <a:pt x="1095375" y="585787"/>
                </a:cubicBezTo>
                <a:cubicBezTo>
                  <a:pt x="1118394" y="596899"/>
                  <a:pt x="1119188" y="597693"/>
                  <a:pt x="1138238" y="604837"/>
                </a:cubicBezTo>
                <a:cubicBezTo>
                  <a:pt x="1157288" y="611981"/>
                  <a:pt x="1209675" y="628650"/>
                  <a:pt x="1209675" y="628650"/>
                </a:cubicBezTo>
              </a:path>
            </a:pathLst>
          </a:custGeom>
          <a:noFill/>
          <a:ln w="9525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101" name="AutoShape 19"/>
          <p:cNvSpPr>
            <a:spLocks noChangeArrowheads="1"/>
          </p:cNvSpPr>
          <p:nvPr/>
        </p:nvSpPr>
        <p:spPr bwMode="auto">
          <a:xfrm>
            <a:off x="5468635" y="4199299"/>
            <a:ext cx="745324" cy="15464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ық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AutoShape 19"/>
          <p:cNvSpPr>
            <a:spLocks noChangeArrowheads="1"/>
          </p:cNvSpPr>
          <p:nvPr/>
        </p:nvSpPr>
        <p:spPr bwMode="auto">
          <a:xfrm>
            <a:off x="3290300" y="3733835"/>
            <a:ext cx="679349" cy="13405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арал</a:t>
            </a:r>
            <a:endParaRPr lang="ru-RU" sz="105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3" name="Блок-схема: узел 102"/>
          <p:cNvSpPr/>
          <p:nvPr/>
        </p:nvSpPr>
        <p:spPr bwMode="auto">
          <a:xfrm>
            <a:off x="5223678" y="4180635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4" name="Блок-схема: узел 103"/>
          <p:cNvSpPr/>
          <p:nvPr/>
        </p:nvSpPr>
        <p:spPr bwMode="auto">
          <a:xfrm>
            <a:off x="4015418" y="3709147"/>
            <a:ext cx="175892" cy="118362"/>
          </a:xfrm>
          <a:prstGeom prst="flowChartConnector">
            <a:avLst/>
          </a:prstGeom>
          <a:solidFill>
            <a:srgbClr val="FFC000"/>
          </a:solidFill>
          <a:ln w="6350">
            <a:solidFill>
              <a:schemeClr val="tx1"/>
            </a:solidFill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86457" tIns="43228" rIns="86457" bIns="43228" anchor="ctr"/>
          <a:lstStyle/>
          <a:p>
            <a:pPr algn="just" eaLnBrk="0" hangingPunct="0"/>
            <a:endParaRPr lang="ru-RU" sz="1050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cxnSp>
        <p:nvCxnSpPr>
          <p:cNvPr id="105" name="Прямая со стрелкой 104"/>
          <p:cNvCxnSpPr>
            <a:stCxn id="106" idx="1"/>
            <a:endCxn id="100" idx="4"/>
          </p:cNvCxnSpPr>
          <p:nvPr/>
        </p:nvCxnSpPr>
        <p:spPr>
          <a:xfrm flipH="1">
            <a:off x="4610101" y="3573684"/>
            <a:ext cx="1186035" cy="337519"/>
          </a:xfrm>
          <a:prstGeom prst="straightConnector1">
            <a:avLst/>
          </a:prstGeom>
          <a:ln w="127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Скругленный прямоугольник 105"/>
          <p:cNvSpPr/>
          <p:nvPr/>
        </p:nvSpPr>
        <p:spPr bwMode="auto">
          <a:xfrm>
            <a:off x="5796136" y="2966732"/>
            <a:ext cx="2691531" cy="1213903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olid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18000" tIns="10800" rIns="18000" bIns="10800" anchor="ctr"/>
          <a:lstStyle/>
          <a:p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Үшарал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10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Достық</a:t>
            </a:r>
            <a:r>
              <a:rPr lang="ru-RU" altLang="ru-RU" sz="110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0-180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180км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– 2</a:t>
            </a:r>
          </a:p>
          <a:p>
            <a:pPr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Кыран</a:t>
            </a:r>
            <a:r>
              <a:rPr lang="ru-RU" altLang="ru-RU" sz="1100" b="1" i="1" dirty="0">
                <a:cs typeface="Times New Roman" panose="02020603050405020304" pitchFamily="18" charset="0"/>
              </a:rPr>
              <a:t>, АБК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Автодор</a:t>
            </a:r>
            <a:r>
              <a:rPr lang="ru-RU" altLang="ru-RU" sz="1100" b="1" i="1" dirty="0">
                <a:cs typeface="Times New Roman" panose="02020603050405020304" pitchFamily="18" charset="0"/>
              </a:rPr>
              <a:t> НС</a:t>
            </a:r>
            <a:endParaRPr lang="ru-RU" altLang="ru-RU" sz="1100" b="1" i="1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ұны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en-US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45 млрд. </a:t>
            </a:r>
            <a:r>
              <a:rPr lang="ru-RU" altLang="ru-RU" sz="110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тг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.</a:t>
            </a:r>
          </a:p>
          <a:p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 </a:t>
            </a:r>
            <a:r>
              <a:rPr lang="ru-RU" altLang="ru-RU" sz="1100" b="1" i="1" dirty="0">
                <a:solidFill>
                  <a:schemeClr val="tx1"/>
                </a:solidFill>
                <a:cs typeface="Arial" panose="020B0604020202020204" pitchFamily="34" charset="0"/>
              </a:rPr>
              <a:t>- РБ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10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10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100" b="1" dirty="0">
                <a:cs typeface="Times New Roman" panose="02020603050405020304" pitchFamily="18" charset="0"/>
              </a:rPr>
              <a:t> </a:t>
            </a:r>
            <a:r>
              <a:rPr lang="ru-RU" altLang="ru-RU" sz="1100" b="1" i="1" dirty="0">
                <a:cs typeface="Times New Roman" panose="02020603050405020304" pitchFamily="18" charset="0"/>
              </a:rPr>
              <a:t>2019-2022 </a:t>
            </a:r>
            <a:r>
              <a:rPr lang="ru-RU" altLang="ru-RU" sz="1100" b="1" i="1" dirty="0" err="1">
                <a:cs typeface="Times New Roman" panose="02020603050405020304" pitchFamily="18" charset="0"/>
              </a:rPr>
              <a:t>жж</a:t>
            </a:r>
            <a:endParaRPr lang="ru-RU" altLang="ru-RU" sz="1100" b="1" i="1" dirty="0">
              <a:cs typeface="Times New Roman" panose="02020603050405020304" pitchFamily="18" charset="0"/>
            </a:endParaRPr>
          </a:p>
        </p:txBody>
      </p:sp>
      <p:grpSp>
        <p:nvGrpSpPr>
          <p:cNvPr id="41" name="Группа 40"/>
          <p:cNvGrpSpPr/>
          <p:nvPr/>
        </p:nvGrpSpPr>
        <p:grpSpPr>
          <a:xfrm>
            <a:off x="6588224" y="4473068"/>
            <a:ext cx="2448272" cy="592718"/>
            <a:chOff x="6588224" y="5964090"/>
            <a:chExt cx="2448272" cy="705270"/>
          </a:xfrm>
        </p:grpSpPr>
        <p:sp>
          <p:nvSpPr>
            <p:cNvPr id="110" name="Скругленный прямоугольник 109"/>
            <p:cNvSpPr/>
            <p:nvPr/>
          </p:nvSpPr>
          <p:spPr bwMode="auto">
            <a:xfrm>
              <a:off x="6588224" y="5964090"/>
              <a:ext cx="2448272" cy="705270"/>
            </a:xfrm>
            <a:prstGeom prst="roundRect">
              <a:avLst/>
            </a:prstGeom>
            <a:solidFill>
              <a:schemeClr val="bg1">
                <a:alpha val="70000"/>
              </a:schemeClr>
            </a:solidFill>
            <a:ln w="12700">
              <a:solidFill>
                <a:schemeClr val="tx2">
                  <a:lumMod val="60000"/>
                  <a:lumOff val="40000"/>
                </a:schemeClr>
              </a:solidFill>
              <a:prstDash val="solid"/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lIns="36000" tIns="45708" rIns="36000" bIns="45708" anchor="ctr"/>
            <a:lstStyle/>
            <a:p>
              <a:pPr>
                <a:defRPr/>
              </a:pPr>
              <a:endParaRPr lang="ru-RU" altLang="ru-RU" sz="10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defTabSz="0">
                <a:lnSpc>
                  <a:spcPct val="150000"/>
                </a:lnSpc>
                <a:defRPr/>
              </a:pPr>
              <a:r>
                <a:rPr lang="ru-RU" altLang="ru-RU" sz="1000" b="1" dirty="0">
                  <a:solidFill>
                    <a:srgbClr val="0070C0"/>
                  </a:solidFill>
                  <a:ea typeface="MS PGothic"/>
                  <a:cs typeface="MS PGothic"/>
                </a:rPr>
                <a:t>        </a:t>
              </a:r>
              <a:r>
                <a:rPr lang="ru-RU" altLang="ru-RU" sz="1000" b="1" dirty="0">
                  <a:solidFill>
                    <a:schemeClr val="tx1"/>
                  </a:solidFill>
                  <a:ea typeface="MS PGothic"/>
                  <a:cs typeface="MS PGothic"/>
                </a:rPr>
                <a:t>- </a:t>
              </a:r>
              <a:r>
                <a:rPr lang="ru-RU" altLang="ru-RU" sz="1000" b="1" dirty="0" err="1">
                  <a:solidFill>
                    <a:schemeClr val="tx1"/>
                  </a:solidFill>
                  <a:ea typeface="MS PGothic"/>
                  <a:cs typeface="MS PGothic"/>
                </a:rPr>
                <a:t>Республиканскалық</a:t>
              </a:r>
              <a:r>
                <a:rPr lang="ru-RU" altLang="ru-RU" sz="1000" b="1" dirty="0">
                  <a:solidFill>
                    <a:schemeClr val="tx1"/>
                  </a:solidFill>
                  <a:ea typeface="MS PGothic"/>
                  <a:cs typeface="MS PGothic"/>
                </a:rPr>
                <a:t> бюджет</a:t>
              </a:r>
            </a:p>
            <a:p>
              <a:pPr>
                <a:defRPr/>
              </a:pPr>
              <a:r>
                <a:rPr lang="ru-RU" altLang="ru-RU" sz="1000" b="1" dirty="0">
                  <a:solidFill>
                    <a:schemeClr val="tx1"/>
                  </a:solidFill>
                  <a:ea typeface="MS PGothic"/>
                  <a:cs typeface="MS PGothic"/>
                </a:rPr>
                <a:t>        - </a:t>
              </a:r>
              <a:r>
                <a:rPr lang="ru-RU" sz="1000" b="1" dirty="0" err="1"/>
                <a:t>Мемлекеттік</a:t>
              </a:r>
              <a:r>
                <a:rPr lang="ru-RU" sz="1000" b="1" dirty="0"/>
                <a:t> </a:t>
              </a:r>
              <a:r>
                <a:rPr lang="ru-RU" sz="1000" b="1" dirty="0" err="1"/>
                <a:t>кепіл</a:t>
              </a:r>
              <a:r>
                <a:rPr lang="ru-RU" sz="1000" b="1" dirty="0"/>
                <a:t> </a:t>
              </a:r>
              <a:r>
                <a:rPr lang="ru-RU" sz="1000" b="1" dirty="0" err="1"/>
                <a:t>бойынша</a:t>
              </a:r>
              <a:r>
                <a:rPr lang="ru-RU" sz="1000" b="1" dirty="0"/>
                <a:t> </a:t>
              </a:r>
              <a:r>
                <a:rPr lang="ru-RU" sz="1000" b="1" dirty="0" err="1"/>
                <a:t>займ</a:t>
              </a:r>
              <a:endParaRPr lang="ru-RU" sz="1000" b="1" dirty="0"/>
            </a:p>
          </p:txBody>
        </p:sp>
        <p:sp>
          <p:nvSpPr>
            <p:cNvPr id="111" name="AutoShape 19"/>
            <p:cNvSpPr>
              <a:spLocks noChangeArrowheads="1"/>
            </p:cNvSpPr>
            <p:nvPr/>
          </p:nvSpPr>
          <p:spPr bwMode="auto">
            <a:xfrm>
              <a:off x="6989754" y="5987439"/>
              <a:ext cx="1616724" cy="138113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87843"/>
              </a:srgbClr>
            </a:solidFill>
            <a:ln w="3175">
              <a:noFill/>
            </a:ln>
            <a:effectLst>
              <a:outerShdw blurRad="50800" dist="38100" dir="5400000" sx="1000" sy="1000" algn="t" rotWithShape="0">
                <a:prstClr val="black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500" tIns="27000" rIns="13500" bIns="27000" anchor="ctr"/>
            <a:lstStyle>
              <a:defPPr>
                <a:defRPr lang="ru-RU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ru-RU" sz="1000" b="1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Шартты</a:t>
              </a:r>
              <a:r>
                <a:rPr lang="ru-RU" altLang="ru-RU" sz="10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altLang="ru-RU" sz="1000" b="1" dirty="0" err="1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белгілер</a:t>
              </a:r>
              <a:endParaRPr lang="ru-RU" altLang="ru-RU" sz="10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114" name="Прямая соединительная линия 113"/>
            <p:cNvCxnSpPr/>
            <p:nvPr/>
          </p:nvCxnSpPr>
          <p:spPr>
            <a:xfrm>
              <a:off x="6643118" y="6560406"/>
              <a:ext cx="216024" cy="0"/>
            </a:xfrm>
            <a:prstGeom prst="line">
              <a:avLst/>
            </a:prstGeom>
            <a:ln w="6667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Прямая соединительная линия 114"/>
            <p:cNvCxnSpPr/>
            <p:nvPr/>
          </p:nvCxnSpPr>
          <p:spPr>
            <a:xfrm>
              <a:off x="6639958" y="6338460"/>
              <a:ext cx="216024" cy="0"/>
            </a:xfrm>
            <a:prstGeom prst="line">
              <a:avLst/>
            </a:prstGeom>
            <a:ln w="666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Заголовок 5"/>
          <p:cNvSpPr>
            <a:spLocks/>
          </p:cNvSpPr>
          <p:nvPr/>
        </p:nvSpPr>
        <p:spPr bwMode="auto">
          <a:xfrm>
            <a:off x="0" y="1893"/>
            <a:ext cx="9144000" cy="395705"/>
          </a:xfrm>
          <a:prstGeom prst="roundRect">
            <a:avLst>
              <a:gd name="adj" fmla="val 8801"/>
            </a:avLst>
          </a:prstGeom>
          <a:solidFill>
            <a:schemeClr val="bg1"/>
          </a:solidFill>
          <a:ln>
            <a:noFill/>
          </a:ln>
        </p:spPr>
        <p:txBody>
          <a:bodyPr lIns="110087" tIns="55043" rIns="110087" bIns="55043" anchor="ctr"/>
          <a:lstStyle/>
          <a:p>
            <a:pPr algn="ctr"/>
            <a:r>
              <a:rPr lang="ru-RU" altLang="ru-RU" sz="1500" dirty="0">
                <a:latin typeface="Impact" pitchFamily="34" charset="0"/>
              </a:rPr>
              <a:t> </a:t>
            </a:r>
            <a:r>
              <a:rPr lang="ru-RU" alt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ЛЫҚ МАҢЫЗЫ БАР </a:t>
            </a:r>
            <a:r>
              <a:rPr lang="ru-RU" altLang="ko-KR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ТАЛДЫҚОРҒАН – ӨСКЕМЕН», «ҚАЛБАТАУ - МАЙҚАПШАҒАЙ» ЖӘНЕ «ҮШАРАЛ – ДОСТЫҚ» АВТОМОБИЛЬ ЖОЛДАРЫН РЕКОНСТРУКЦИЯЛАУ</a:t>
            </a:r>
            <a:endParaRPr lang="en-US" altLang="ko-KR" sz="15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12954" y="419720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153241" y="4910121"/>
            <a:ext cx="2057797" cy="273350"/>
          </a:xfrm>
        </p:spPr>
        <p:txBody>
          <a:bodyPr>
            <a:normAutofit lnSpcReduction="10000"/>
          </a:bodyPr>
          <a:lstStyle/>
          <a:p>
            <a:pPr>
              <a:defRPr/>
            </a:pPr>
            <a:r>
              <a:rPr lang="en-US" dirty="0"/>
              <a:t>7</a:t>
            </a:r>
            <a:endParaRPr lang="ru-RU" dirty="0"/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77935" y="509169"/>
            <a:ext cx="3350745" cy="624038"/>
          </a:xfrm>
          <a:prstGeom prst="roundRect">
            <a:avLst>
              <a:gd name="adj" fmla="val 8102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қашықтығы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– 1363 км </a:t>
            </a:r>
          </a:p>
          <a:p>
            <a:pPr>
              <a:defRPr/>
            </a:pPr>
            <a:r>
              <a:rPr lang="kk-KZ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олық аяқтау </a:t>
            </a:r>
            <a:r>
              <a:rPr lang="kk-KZ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2023 жыл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508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7A83D-AF44-4CF4-AD5B-573E81027BE7}" type="slidenum">
              <a:rPr lang="ru-RU" smtClean="0"/>
              <a:pPr/>
              <a:t>8</a:t>
            </a:fld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t="5425"/>
          <a:stretch/>
        </p:blipFill>
        <p:spPr>
          <a:xfrm>
            <a:off x="23813" y="631360"/>
            <a:ext cx="9096375" cy="43838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олилиния 4"/>
          <p:cNvSpPr/>
          <p:nvPr/>
        </p:nvSpPr>
        <p:spPr>
          <a:xfrm>
            <a:off x="6381561" y="2008324"/>
            <a:ext cx="1421436" cy="568774"/>
          </a:xfrm>
          <a:custGeom>
            <a:avLst/>
            <a:gdLst>
              <a:gd name="connsiteX0" fmla="*/ 0 w 3011360"/>
              <a:gd name="connsiteY0" fmla="*/ 1417778 h 1417778"/>
              <a:gd name="connsiteX1" fmla="*/ 57150 w 3011360"/>
              <a:gd name="connsiteY1" fmla="*/ 1392378 h 1417778"/>
              <a:gd name="connsiteX2" fmla="*/ 120650 w 3011360"/>
              <a:gd name="connsiteY2" fmla="*/ 1392378 h 1417778"/>
              <a:gd name="connsiteX3" fmla="*/ 161925 w 3011360"/>
              <a:gd name="connsiteY3" fmla="*/ 1386028 h 1417778"/>
              <a:gd name="connsiteX4" fmla="*/ 244475 w 3011360"/>
              <a:gd name="connsiteY4" fmla="*/ 1360628 h 1417778"/>
              <a:gd name="connsiteX5" fmla="*/ 349250 w 3011360"/>
              <a:gd name="connsiteY5" fmla="*/ 1341578 h 1417778"/>
              <a:gd name="connsiteX6" fmla="*/ 422275 w 3011360"/>
              <a:gd name="connsiteY6" fmla="*/ 1306653 h 1417778"/>
              <a:gd name="connsiteX7" fmla="*/ 511175 w 3011360"/>
              <a:gd name="connsiteY7" fmla="*/ 1274903 h 1417778"/>
              <a:gd name="connsiteX8" fmla="*/ 600075 w 3011360"/>
              <a:gd name="connsiteY8" fmla="*/ 1252678 h 1417778"/>
              <a:gd name="connsiteX9" fmla="*/ 650875 w 3011360"/>
              <a:gd name="connsiteY9" fmla="*/ 1227278 h 1417778"/>
              <a:gd name="connsiteX10" fmla="*/ 736600 w 3011360"/>
              <a:gd name="connsiteY10" fmla="*/ 1192353 h 1417778"/>
              <a:gd name="connsiteX11" fmla="*/ 777875 w 3011360"/>
              <a:gd name="connsiteY11" fmla="*/ 1179653 h 1417778"/>
              <a:gd name="connsiteX12" fmla="*/ 828675 w 3011360"/>
              <a:gd name="connsiteY12" fmla="*/ 1163778 h 1417778"/>
              <a:gd name="connsiteX13" fmla="*/ 898525 w 3011360"/>
              <a:gd name="connsiteY13" fmla="*/ 1147903 h 1417778"/>
              <a:gd name="connsiteX14" fmla="*/ 946150 w 3011360"/>
              <a:gd name="connsiteY14" fmla="*/ 1128853 h 1417778"/>
              <a:gd name="connsiteX15" fmla="*/ 977900 w 3011360"/>
              <a:gd name="connsiteY15" fmla="*/ 1093928 h 1417778"/>
              <a:gd name="connsiteX16" fmla="*/ 1012825 w 3011360"/>
              <a:gd name="connsiteY16" fmla="*/ 1055828 h 1417778"/>
              <a:gd name="connsiteX17" fmla="*/ 1076325 w 3011360"/>
              <a:gd name="connsiteY17" fmla="*/ 1052653 h 1417778"/>
              <a:gd name="connsiteX18" fmla="*/ 1146175 w 3011360"/>
              <a:gd name="connsiteY18" fmla="*/ 1043128 h 1417778"/>
              <a:gd name="connsiteX19" fmla="*/ 1168400 w 3011360"/>
              <a:gd name="connsiteY19" fmla="*/ 1014553 h 1417778"/>
              <a:gd name="connsiteX20" fmla="*/ 1181100 w 3011360"/>
              <a:gd name="connsiteY20" fmla="*/ 973278 h 1417778"/>
              <a:gd name="connsiteX21" fmla="*/ 1200150 w 3011360"/>
              <a:gd name="connsiteY21" fmla="*/ 951053 h 1417778"/>
              <a:gd name="connsiteX22" fmla="*/ 1244600 w 3011360"/>
              <a:gd name="connsiteY22" fmla="*/ 938353 h 1417778"/>
              <a:gd name="connsiteX23" fmla="*/ 1285875 w 3011360"/>
              <a:gd name="connsiteY23" fmla="*/ 868503 h 1417778"/>
              <a:gd name="connsiteX24" fmla="*/ 1343025 w 3011360"/>
              <a:gd name="connsiteY24" fmla="*/ 855803 h 1417778"/>
              <a:gd name="connsiteX25" fmla="*/ 1441450 w 3011360"/>
              <a:gd name="connsiteY25" fmla="*/ 830403 h 1417778"/>
              <a:gd name="connsiteX26" fmla="*/ 1565275 w 3011360"/>
              <a:gd name="connsiteY26" fmla="*/ 805003 h 1417778"/>
              <a:gd name="connsiteX27" fmla="*/ 1638300 w 3011360"/>
              <a:gd name="connsiteY27" fmla="*/ 779603 h 1417778"/>
              <a:gd name="connsiteX28" fmla="*/ 1689100 w 3011360"/>
              <a:gd name="connsiteY28" fmla="*/ 792303 h 1417778"/>
              <a:gd name="connsiteX29" fmla="*/ 1774825 w 3011360"/>
              <a:gd name="connsiteY29" fmla="*/ 792303 h 1417778"/>
              <a:gd name="connsiteX30" fmla="*/ 1822450 w 3011360"/>
              <a:gd name="connsiteY30" fmla="*/ 770078 h 1417778"/>
              <a:gd name="connsiteX31" fmla="*/ 1863725 w 3011360"/>
              <a:gd name="connsiteY31" fmla="*/ 738328 h 1417778"/>
              <a:gd name="connsiteX32" fmla="*/ 1892300 w 3011360"/>
              <a:gd name="connsiteY32" fmla="*/ 703403 h 1417778"/>
              <a:gd name="connsiteX33" fmla="*/ 1901825 w 3011360"/>
              <a:gd name="connsiteY33" fmla="*/ 655778 h 1417778"/>
              <a:gd name="connsiteX34" fmla="*/ 1939925 w 3011360"/>
              <a:gd name="connsiteY34" fmla="*/ 617678 h 1417778"/>
              <a:gd name="connsiteX35" fmla="*/ 2012950 w 3011360"/>
              <a:gd name="connsiteY35" fmla="*/ 563703 h 1417778"/>
              <a:gd name="connsiteX36" fmla="*/ 2070100 w 3011360"/>
              <a:gd name="connsiteY36" fmla="*/ 516078 h 1417778"/>
              <a:gd name="connsiteX37" fmla="*/ 2111375 w 3011360"/>
              <a:gd name="connsiteY37" fmla="*/ 468453 h 1417778"/>
              <a:gd name="connsiteX38" fmla="*/ 2178050 w 3011360"/>
              <a:gd name="connsiteY38" fmla="*/ 401778 h 1417778"/>
              <a:gd name="connsiteX39" fmla="*/ 2219325 w 3011360"/>
              <a:gd name="connsiteY39" fmla="*/ 354153 h 1417778"/>
              <a:gd name="connsiteX40" fmla="*/ 2251075 w 3011360"/>
              <a:gd name="connsiteY40" fmla="*/ 319228 h 1417778"/>
              <a:gd name="connsiteX41" fmla="*/ 2282825 w 3011360"/>
              <a:gd name="connsiteY41" fmla="*/ 284303 h 1417778"/>
              <a:gd name="connsiteX42" fmla="*/ 2352675 w 3011360"/>
              <a:gd name="connsiteY42" fmla="*/ 233503 h 1417778"/>
              <a:gd name="connsiteX43" fmla="*/ 2413000 w 3011360"/>
              <a:gd name="connsiteY43" fmla="*/ 214453 h 1417778"/>
              <a:gd name="connsiteX44" fmla="*/ 2486025 w 3011360"/>
              <a:gd name="connsiteY44" fmla="*/ 204928 h 1417778"/>
              <a:gd name="connsiteX45" fmla="*/ 2555875 w 3011360"/>
              <a:gd name="connsiteY45" fmla="*/ 214453 h 1417778"/>
              <a:gd name="connsiteX46" fmla="*/ 2609850 w 3011360"/>
              <a:gd name="connsiteY46" fmla="*/ 208103 h 1417778"/>
              <a:gd name="connsiteX47" fmla="*/ 2673350 w 3011360"/>
              <a:gd name="connsiteY47" fmla="*/ 182703 h 1417778"/>
              <a:gd name="connsiteX48" fmla="*/ 2727325 w 3011360"/>
              <a:gd name="connsiteY48" fmla="*/ 141428 h 1417778"/>
              <a:gd name="connsiteX49" fmla="*/ 2771775 w 3011360"/>
              <a:gd name="connsiteY49" fmla="*/ 109678 h 1417778"/>
              <a:gd name="connsiteX50" fmla="*/ 2813050 w 3011360"/>
              <a:gd name="connsiteY50" fmla="*/ 87453 h 1417778"/>
              <a:gd name="connsiteX51" fmla="*/ 2901950 w 3011360"/>
              <a:gd name="connsiteY51" fmla="*/ 77928 h 1417778"/>
              <a:gd name="connsiteX52" fmla="*/ 2949575 w 3011360"/>
              <a:gd name="connsiteY52" fmla="*/ 65228 h 1417778"/>
              <a:gd name="connsiteX53" fmla="*/ 3003550 w 3011360"/>
              <a:gd name="connsiteY53" fmla="*/ 8078 h 1417778"/>
              <a:gd name="connsiteX54" fmla="*/ 3009900 w 3011360"/>
              <a:gd name="connsiteY54" fmla="*/ 1728 h 1417778"/>
              <a:gd name="connsiteX0" fmla="*/ 0 w 3003550"/>
              <a:gd name="connsiteY0" fmla="*/ 1409700 h 1409700"/>
              <a:gd name="connsiteX1" fmla="*/ 57150 w 3003550"/>
              <a:gd name="connsiteY1" fmla="*/ 1384300 h 1409700"/>
              <a:gd name="connsiteX2" fmla="*/ 120650 w 3003550"/>
              <a:gd name="connsiteY2" fmla="*/ 1384300 h 1409700"/>
              <a:gd name="connsiteX3" fmla="*/ 161925 w 3003550"/>
              <a:gd name="connsiteY3" fmla="*/ 1377950 h 1409700"/>
              <a:gd name="connsiteX4" fmla="*/ 244475 w 3003550"/>
              <a:gd name="connsiteY4" fmla="*/ 1352550 h 1409700"/>
              <a:gd name="connsiteX5" fmla="*/ 349250 w 3003550"/>
              <a:gd name="connsiteY5" fmla="*/ 1333500 h 1409700"/>
              <a:gd name="connsiteX6" fmla="*/ 422275 w 3003550"/>
              <a:gd name="connsiteY6" fmla="*/ 1298575 h 1409700"/>
              <a:gd name="connsiteX7" fmla="*/ 511175 w 3003550"/>
              <a:gd name="connsiteY7" fmla="*/ 1266825 h 1409700"/>
              <a:gd name="connsiteX8" fmla="*/ 600075 w 3003550"/>
              <a:gd name="connsiteY8" fmla="*/ 1244600 h 1409700"/>
              <a:gd name="connsiteX9" fmla="*/ 650875 w 3003550"/>
              <a:gd name="connsiteY9" fmla="*/ 1219200 h 1409700"/>
              <a:gd name="connsiteX10" fmla="*/ 736600 w 3003550"/>
              <a:gd name="connsiteY10" fmla="*/ 1184275 h 1409700"/>
              <a:gd name="connsiteX11" fmla="*/ 777875 w 3003550"/>
              <a:gd name="connsiteY11" fmla="*/ 1171575 h 1409700"/>
              <a:gd name="connsiteX12" fmla="*/ 828675 w 3003550"/>
              <a:gd name="connsiteY12" fmla="*/ 1155700 h 1409700"/>
              <a:gd name="connsiteX13" fmla="*/ 898525 w 3003550"/>
              <a:gd name="connsiteY13" fmla="*/ 1139825 h 1409700"/>
              <a:gd name="connsiteX14" fmla="*/ 946150 w 3003550"/>
              <a:gd name="connsiteY14" fmla="*/ 1120775 h 1409700"/>
              <a:gd name="connsiteX15" fmla="*/ 977900 w 3003550"/>
              <a:gd name="connsiteY15" fmla="*/ 1085850 h 1409700"/>
              <a:gd name="connsiteX16" fmla="*/ 1012825 w 3003550"/>
              <a:gd name="connsiteY16" fmla="*/ 1047750 h 1409700"/>
              <a:gd name="connsiteX17" fmla="*/ 1076325 w 3003550"/>
              <a:gd name="connsiteY17" fmla="*/ 1044575 h 1409700"/>
              <a:gd name="connsiteX18" fmla="*/ 1146175 w 3003550"/>
              <a:gd name="connsiteY18" fmla="*/ 1035050 h 1409700"/>
              <a:gd name="connsiteX19" fmla="*/ 1168400 w 3003550"/>
              <a:gd name="connsiteY19" fmla="*/ 1006475 h 1409700"/>
              <a:gd name="connsiteX20" fmla="*/ 1181100 w 3003550"/>
              <a:gd name="connsiteY20" fmla="*/ 965200 h 1409700"/>
              <a:gd name="connsiteX21" fmla="*/ 1200150 w 3003550"/>
              <a:gd name="connsiteY21" fmla="*/ 942975 h 1409700"/>
              <a:gd name="connsiteX22" fmla="*/ 1244600 w 3003550"/>
              <a:gd name="connsiteY22" fmla="*/ 930275 h 1409700"/>
              <a:gd name="connsiteX23" fmla="*/ 1285875 w 3003550"/>
              <a:gd name="connsiteY23" fmla="*/ 860425 h 1409700"/>
              <a:gd name="connsiteX24" fmla="*/ 1343025 w 3003550"/>
              <a:gd name="connsiteY24" fmla="*/ 847725 h 1409700"/>
              <a:gd name="connsiteX25" fmla="*/ 1441450 w 3003550"/>
              <a:gd name="connsiteY25" fmla="*/ 822325 h 1409700"/>
              <a:gd name="connsiteX26" fmla="*/ 1565275 w 3003550"/>
              <a:gd name="connsiteY26" fmla="*/ 796925 h 1409700"/>
              <a:gd name="connsiteX27" fmla="*/ 1638300 w 3003550"/>
              <a:gd name="connsiteY27" fmla="*/ 771525 h 1409700"/>
              <a:gd name="connsiteX28" fmla="*/ 1689100 w 3003550"/>
              <a:gd name="connsiteY28" fmla="*/ 784225 h 1409700"/>
              <a:gd name="connsiteX29" fmla="*/ 1774825 w 3003550"/>
              <a:gd name="connsiteY29" fmla="*/ 784225 h 1409700"/>
              <a:gd name="connsiteX30" fmla="*/ 1822450 w 3003550"/>
              <a:gd name="connsiteY30" fmla="*/ 762000 h 1409700"/>
              <a:gd name="connsiteX31" fmla="*/ 1863725 w 3003550"/>
              <a:gd name="connsiteY31" fmla="*/ 730250 h 1409700"/>
              <a:gd name="connsiteX32" fmla="*/ 1892300 w 3003550"/>
              <a:gd name="connsiteY32" fmla="*/ 695325 h 1409700"/>
              <a:gd name="connsiteX33" fmla="*/ 1901825 w 3003550"/>
              <a:gd name="connsiteY33" fmla="*/ 647700 h 1409700"/>
              <a:gd name="connsiteX34" fmla="*/ 1939925 w 3003550"/>
              <a:gd name="connsiteY34" fmla="*/ 609600 h 1409700"/>
              <a:gd name="connsiteX35" fmla="*/ 2012950 w 3003550"/>
              <a:gd name="connsiteY35" fmla="*/ 555625 h 1409700"/>
              <a:gd name="connsiteX36" fmla="*/ 2070100 w 3003550"/>
              <a:gd name="connsiteY36" fmla="*/ 508000 h 1409700"/>
              <a:gd name="connsiteX37" fmla="*/ 2111375 w 3003550"/>
              <a:gd name="connsiteY37" fmla="*/ 460375 h 1409700"/>
              <a:gd name="connsiteX38" fmla="*/ 2178050 w 3003550"/>
              <a:gd name="connsiteY38" fmla="*/ 393700 h 1409700"/>
              <a:gd name="connsiteX39" fmla="*/ 2219325 w 3003550"/>
              <a:gd name="connsiteY39" fmla="*/ 346075 h 1409700"/>
              <a:gd name="connsiteX40" fmla="*/ 2251075 w 3003550"/>
              <a:gd name="connsiteY40" fmla="*/ 311150 h 1409700"/>
              <a:gd name="connsiteX41" fmla="*/ 2282825 w 3003550"/>
              <a:gd name="connsiteY41" fmla="*/ 276225 h 1409700"/>
              <a:gd name="connsiteX42" fmla="*/ 2352675 w 3003550"/>
              <a:gd name="connsiteY42" fmla="*/ 225425 h 1409700"/>
              <a:gd name="connsiteX43" fmla="*/ 2413000 w 3003550"/>
              <a:gd name="connsiteY43" fmla="*/ 206375 h 1409700"/>
              <a:gd name="connsiteX44" fmla="*/ 2486025 w 3003550"/>
              <a:gd name="connsiteY44" fmla="*/ 196850 h 1409700"/>
              <a:gd name="connsiteX45" fmla="*/ 2555875 w 3003550"/>
              <a:gd name="connsiteY45" fmla="*/ 206375 h 1409700"/>
              <a:gd name="connsiteX46" fmla="*/ 2609850 w 3003550"/>
              <a:gd name="connsiteY46" fmla="*/ 200025 h 1409700"/>
              <a:gd name="connsiteX47" fmla="*/ 2673350 w 3003550"/>
              <a:gd name="connsiteY47" fmla="*/ 174625 h 1409700"/>
              <a:gd name="connsiteX48" fmla="*/ 2727325 w 3003550"/>
              <a:gd name="connsiteY48" fmla="*/ 133350 h 1409700"/>
              <a:gd name="connsiteX49" fmla="*/ 2771775 w 3003550"/>
              <a:gd name="connsiteY49" fmla="*/ 101600 h 1409700"/>
              <a:gd name="connsiteX50" fmla="*/ 2813050 w 3003550"/>
              <a:gd name="connsiteY50" fmla="*/ 79375 h 1409700"/>
              <a:gd name="connsiteX51" fmla="*/ 2901950 w 3003550"/>
              <a:gd name="connsiteY51" fmla="*/ 69850 h 1409700"/>
              <a:gd name="connsiteX52" fmla="*/ 2949575 w 3003550"/>
              <a:gd name="connsiteY52" fmla="*/ 57150 h 1409700"/>
              <a:gd name="connsiteX53" fmla="*/ 3003550 w 3003550"/>
              <a:gd name="connsiteY53" fmla="*/ 0 h 1409700"/>
              <a:gd name="connsiteX0" fmla="*/ 0 w 3003550"/>
              <a:gd name="connsiteY0" fmla="*/ 1409700 h 1409700"/>
              <a:gd name="connsiteX1" fmla="*/ 57150 w 3003550"/>
              <a:gd name="connsiteY1" fmla="*/ 1384300 h 1409700"/>
              <a:gd name="connsiteX2" fmla="*/ 120650 w 3003550"/>
              <a:gd name="connsiteY2" fmla="*/ 1384300 h 1409700"/>
              <a:gd name="connsiteX3" fmla="*/ 161925 w 3003550"/>
              <a:gd name="connsiteY3" fmla="*/ 1377950 h 1409700"/>
              <a:gd name="connsiteX4" fmla="*/ 244475 w 3003550"/>
              <a:gd name="connsiteY4" fmla="*/ 1352550 h 1409700"/>
              <a:gd name="connsiteX5" fmla="*/ 349250 w 3003550"/>
              <a:gd name="connsiteY5" fmla="*/ 1333500 h 1409700"/>
              <a:gd name="connsiteX6" fmla="*/ 422275 w 3003550"/>
              <a:gd name="connsiteY6" fmla="*/ 1298575 h 1409700"/>
              <a:gd name="connsiteX7" fmla="*/ 511175 w 3003550"/>
              <a:gd name="connsiteY7" fmla="*/ 1266825 h 1409700"/>
              <a:gd name="connsiteX8" fmla="*/ 600075 w 3003550"/>
              <a:gd name="connsiteY8" fmla="*/ 1244600 h 1409700"/>
              <a:gd name="connsiteX9" fmla="*/ 650875 w 3003550"/>
              <a:gd name="connsiteY9" fmla="*/ 1219200 h 1409700"/>
              <a:gd name="connsiteX10" fmla="*/ 736600 w 3003550"/>
              <a:gd name="connsiteY10" fmla="*/ 1184275 h 1409700"/>
              <a:gd name="connsiteX11" fmla="*/ 777875 w 3003550"/>
              <a:gd name="connsiteY11" fmla="*/ 1171575 h 1409700"/>
              <a:gd name="connsiteX12" fmla="*/ 828675 w 3003550"/>
              <a:gd name="connsiteY12" fmla="*/ 1155700 h 1409700"/>
              <a:gd name="connsiteX13" fmla="*/ 898525 w 3003550"/>
              <a:gd name="connsiteY13" fmla="*/ 1139825 h 1409700"/>
              <a:gd name="connsiteX14" fmla="*/ 946150 w 3003550"/>
              <a:gd name="connsiteY14" fmla="*/ 1120775 h 1409700"/>
              <a:gd name="connsiteX15" fmla="*/ 977900 w 3003550"/>
              <a:gd name="connsiteY15" fmla="*/ 1085850 h 1409700"/>
              <a:gd name="connsiteX16" fmla="*/ 1012825 w 3003550"/>
              <a:gd name="connsiteY16" fmla="*/ 1047750 h 1409700"/>
              <a:gd name="connsiteX17" fmla="*/ 1076325 w 3003550"/>
              <a:gd name="connsiteY17" fmla="*/ 1044575 h 1409700"/>
              <a:gd name="connsiteX18" fmla="*/ 1146175 w 3003550"/>
              <a:gd name="connsiteY18" fmla="*/ 1035050 h 1409700"/>
              <a:gd name="connsiteX19" fmla="*/ 1168400 w 3003550"/>
              <a:gd name="connsiteY19" fmla="*/ 1006475 h 1409700"/>
              <a:gd name="connsiteX20" fmla="*/ 1181100 w 3003550"/>
              <a:gd name="connsiteY20" fmla="*/ 965200 h 1409700"/>
              <a:gd name="connsiteX21" fmla="*/ 1200150 w 3003550"/>
              <a:gd name="connsiteY21" fmla="*/ 942975 h 1409700"/>
              <a:gd name="connsiteX22" fmla="*/ 1244600 w 3003550"/>
              <a:gd name="connsiteY22" fmla="*/ 930275 h 1409700"/>
              <a:gd name="connsiteX23" fmla="*/ 1285875 w 3003550"/>
              <a:gd name="connsiteY23" fmla="*/ 860425 h 1409700"/>
              <a:gd name="connsiteX24" fmla="*/ 1343025 w 3003550"/>
              <a:gd name="connsiteY24" fmla="*/ 847725 h 1409700"/>
              <a:gd name="connsiteX25" fmla="*/ 1441450 w 3003550"/>
              <a:gd name="connsiteY25" fmla="*/ 822325 h 1409700"/>
              <a:gd name="connsiteX26" fmla="*/ 1565275 w 3003550"/>
              <a:gd name="connsiteY26" fmla="*/ 796925 h 1409700"/>
              <a:gd name="connsiteX27" fmla="*/ 1638300 w 3003550"/>
              <a:gd name="connsiteY27" fmla="*/ 771525 h 1409700"/>
              <a:gd name="connsiteX28" fmla="*/ 1689100 w 3003550"/>
              <a:gd name="connsiteY28" fmla="*/ 784225 h 1409700"/>
              <a:gd name="connsiteX29" fmla="*/ 1774825 w 3003550"/>
              <a:gd name="connsiteY29" fmla="*/ 784225 h 1409700"/>
              <a:gd name="connsiteX30" fmla="*/ 1822450 w 3003550"/>
              <a:gd name="connsiteY30" fmla="*/ 762000 h 1409700"/>
              <a:gd name="connsiteX31" fmla="*/ 1863725 w 3003550"/>
              <a:gd name="connsiteY31" fmla="*/ 730250 h 1409700"/>
              <a:gd name="connsiteX32" fmla="*/ 1892300 w 3003550"/>
              <a:gd name="connsiteY32" fmla="*/ 695325 h 1409700"/>
              <a:gd name="connsiteX33" fmla="*/ 1901825 w 3003550"/>
              <a:gd name="connsiteY33" fmla="*/ 647700 h 1409700"/>
              <a:gd name="connsiteX34" fmla="*/ 1939925 w 3003550"/>
              <a:gd name="connsiteY34" fmla="*/ 609600 h 1409700"/>
              <a:gd name="connsiteX35" fmla="*/ 2012950 w 3003550"/>
              <a:gd name="connsiteY35" fmla="*/ 555625 h 1409700"/>
              <a:gd name="connsiteX36" fmla="*/ 2070100 w 3003550"/>
              <a:gd name="connsiteY36" fmla="*/ 508000 h 1409700"/>
              <a:gd name="connsiteX37" fmla="*/ 2111375 w 3003550"/>
              <a:gd name="connsiteY37" fmla="*/ 460375 h 1409700"/>
              <a:gd name="connsiteX38" fmla="*/ 2178050 w 3003550"/>
              <a:gd name="connsiteY38" fmla="*/ 393700 h 1409700"/>
              <a:gd name="connsiteX39" fmla="*/ 2219325 w 3003550"/>
              <a:gd name="connsiteY39" fmla="*/ 346075 h 1409700"/>
              <a:gd name="connsiteX40" fmla="*/ 2251075 w 3003550"/>
              <a:gd name="connsiteY40" fmla="*/ 311150 h 1409700"/>
              <a:gd name="connsiteX41" fmla="*/ 2282825 w 3003550"/>
              <a:gd name="connsiteY41" fmla="*/ 276225 h 1409700"/>
              <a:gd name="connsiteX42" fmla="*/ 2352675 w 3003550"/>
              <a:gd name="connsiteY42" fmla="*/ 225425 h 1409700"/>
              <a:gd name="connsiteX43" fmla="*/ 2413000 w 3003550"/>
              <a:gd name="connsiteY43" fmla="*/ 206375 h 1409700"/>
              <a:gd name="connsiteX44" fmla="*/ 2486025 w 3003550"/>
              <a:gd name="connsiteY44" fmla="*/ 196850 h 1409700"/>
              <a:gd name="connsiteX45" fmla="*/ 2555875 w 3003550"/>
              <a:gd name="connsiteY45" fmla="*/ 206375 h 1409700"/>
              <a:gd name="connsiteX46" fmla="*/ 2609850 w 3003550"/>
              <a:gd name="connsiteY46" fmla="*/ 200025 h 1409700"/>
              <a:gd name="connsiteX47" fmla="*/ 2673350 w 3003550"/>
              <a:gd name="connsiteY47" fmla="*/ 174625 h 1409700"/>
              <a:gd name="connsiteX48" fmla="*/ 2727325 w 3003550"/>
              <a:gd name="connsiteY48" fmla="*/ 133350 h 1409700"/>
              <a:gd name="connsiteX49" fmla="*/ 2771775 w 3003550"/>
              <a:gd name="connsiteY49" fmla="*/ 101600 h 1409700"/>
              <a:gd name="connsiteX50" fmla="*/ 2813050 w 3003550"/>
              <a:gd name="connsiteY50" fmla="*/ 79375 h 1409700"/>
              <a:gd name="connsiteX51" fmla="*/ 2901950 w 3003550"/>
              <a:gd name="connsiteY51" fmla="*/ 69850 h 1409700"/>
              <a:gd name="connsiteX52" fmla="*/ 3003550 w 3003550"/>
              <a:gd name="connsiteY52" fmla="*/ 0 h 1409700"/>
              <a:gd name="connsiteX0" fmla="*/ 0 w 2901950"/>
              <a:gd name="connsiteY0" fmla="*/ 1339850 h 1339850"/>
              <a:gd name="connsiteX1" fmla="*/ 57150 w 2901950"/>
              <a:gd name="connsiteY1" fmla="*/ 1314450 h 1339850"/>
              <a:gd name="connsiteX2" fmla="*/ 120650 w 2901950"/>
              <a:gd name="connsiteY2" fmla="*/ 1314450 h 1339850"/>
              <a:gd name="connsiteX3" fmla="*/ 161925 w 2901950"/>
              <a:gd name="connsiteY3" fmla="*/ 1308100 h 1339850"/>
              <a:gd name="connsiteX4" fmla="*/ 244475 w 2901950"/>
              <a:gd name="connsiteY4" fmla="*/ 1282700 h 1339850"/>
              <a:gd name="connsiteX5" fmla="*/ 349250 w 2901950"/>
              <a:gd name="connsiteY5" fmla="*/ 1263650 h 1339850"/>
              <a:gd name="connsiteX6" fmla="*/ 422275 w 2901950"/>
              <a:gd name="connsiteY6" fmla="*/ 1228725 h 1339850"/>
              <a:gd name="connsiteX7" fmla="*/ 511175 w 2901950"/>
              <a:gd name="connsiteY7" fmla="*/ 1196975 h 1339850"/>
              <a:gd name="connsiteX8" fmla="*/ 600075 w 2901950"/>
              <a:gd name="connsiteY8" fmla="*/ 1174750 h 1339850"/>
              <a:gd name="connsiteX9" fmla="*/ 650875 w 2901950"/>
              <a:gd name="connsiteY9" fmla="*/ 1149350 h 1339850"/>
              <a:gd name="connsiteX10" fmla="*/ 736600 w 2901950"/>
              <a:gd name="connsiteY10" fmla="*/ 1114425 h 1339850"/>
              <a:gd name="connsiteX11" fmla="*/ 777875 w 2901950"/>
              <a:gd name="connsiteY11" fmla="*/ 1101725 h 1339850"/>
              <a:gd name="connsiteX12" fmla="*/ 828675 w 2901950"/>
              <a:gd name="connsiteY12" fmla="*/ 1085850 h 1339850"/>
              <a:gd name="connsiteX13" fmla="*/ 898525 w 2901950"/>
              <a:gd name="connsiteY13" fmla="*/ 1069975 h 1339850"/>
              <a:gd name="connsiteX14" fmla="*/ 946150 w 2901950"/>
              <a:gd name="connsiteY14" fmla="*/ 1050925 h 1339850"/>
              <a:gd name="connsiteX15" fmla="*/ 977900 w 2901950"/>
              <a:gd name="connsiteY15" fmla="*/ 1016000 h 1339850"/>
              <a:gd name="connsiteX16" fmla="*/ 1012825 w 2901950"/>
              <a:gd name="connsiteY16" fmla="*/ 977900 h 1339850"/>
              <a:gd name="connsiteX17" fmla="*/ 1076325 w 2901950"/>
              <a:gd name="connsiteY17" fmla="*/ 974725 h 1339850"/>
              <a:gd name="connsiteX18" fmla="*/ 1146175 w 2901950"/>
              <a:gd name="connsiteY18" fmla="*/ 965200 h 1339850"/>
              <a:gd name="connsiteX19" fmla="*/ 1168400 w 2901950"/>
              <a:gd name="connsiteY19" fmla="*/ 936625 h 1339850"/>
              <a:gd name="connsiteX20" fmla="*/ 1181100 w 2901950"/>
              <a:gd name="connsiteY20" fmla="*/ 895350 h 1339850"/>
              <a:gd name="connsiteX21" fmla="*/ 1200150 w 2901950"/>
              <a:gd name="connsiteY21" fmla="*/ 873125 h 1339850"/>
              <a:gd name="connsiteX22" fmla="*/ 1244600 w 2901950"/>
              <a:gd name="connsiteY22" fmla="*/ 860425 h 1339850"/>
              <a:gd name="connsiteX23" fmla="*/ 1285875 w 2901950"/>
              <a:gd name="connsiteY23" fmla="*/ 790575 h 1339850"/>
              <a:gd name="connsiteX24" fmla="*/ 1343025 w 2901950"/>
              <a:gd name="connsiteY24" fmla="*/ 777875 h 1339850"/>
              <a:gd name="connsiteX25" fmla="*/ 1441450 w 2901950"/>
              <a:gd name="connsiteY25" fmla="*/ 752475 h 1339850"/>
              <a:gd name="connsiteX26" fmla="*/ 1565275 w 2901950"/>
              <a:gd name="connsiteY26" fmla="*/ 727075 h 1339850"/>
              <a:gd name="connsiteX27" fmla="*/ 1638300 w 2901950"/>
              <a:gd name="connsiteY27" fmla="*/ 701675 h 1339850"/>
              <a:gd name="connsiteX28" fmla="*/ 1689100 w 2901950"/>
              <a:gd name="connsiteY28" fmla="*/ 714375 h 1339850"/>
              <a:gd name="connsiteX29" fmla="*/ 1774825 w 2901950"/>
              <a:gd name="connsiteY29" fmla="*/ 714375 h 1339850"/>
              <a:gd name="connsiteX30" fmla="*/ 1822450 w 2901950"/>
              <a:gd name="connsiteY30" fmla="*/ 692150 h 1339850"/>
              <a:gd name="connsiteX31" fmla="*/ 1863725 w 2901950"/>
              <a:gd name="connsiteY31" fmla="*/ 660400 h 1339850"/>
              <a:gd name="connsiteX32" fmla="*/ 1892300 w 2901950"/>
              <a:gd name="connsiteY32" fmla="*/ 625475 h 1339850"/>
              <a:gd name="connsiteX33" fmla="*/ 1901825 w 2901950"/>
              <a:gd name="connsiteY33" fmla="*/ 577850 h 1339850"/>
              <a:gd name="connsiteX34" fmla="*/ 1939925 w 2901950"/>
              <a:gd name="connsiteY34" fmla="*/ 539750 h 1339850"/>
              <a:gd name="connsiteX35" fmla="*/ 2012950 w 2901950"/>
              <a:gd name="connsiteY35" fmla="*/ 485775 h 1339850"/>
              <a:gd name="connsiteX36" fmla="*/ 2070100 w 2901950"/>
              <a:gd name="connsiteY36" fmla="*/ 438150 h 1339850"/>
              <a:gd name="connsiteX37" fmla="*/ 2111375 w 2901950"/>
              <a:gd name="connsiteY37" fmla="*/ 390525 h 1339850"/>
              <a:gd name="connsiteX38" fmla="*/ 2178050 w 2901950"/>
              <a:gd name="connsiteY38" fmla="*/ 323850 h 1339850"/>
              <a:gd name="connsiteX39" fmla="*/ 2219325 w 2901950"/>
              <a:gd name="connsiteY39" fmla="*/ 276225 h 1339850"/>
              <a:gd name="connsiteX40" fmla="*/ 2251075 w 2901950"/>
              <a:gd name="connsiteY40" fmla="*/ 241300 h 1339850"/>
              <a:gd name="connsiteX41" fmla="*/ 2282825 w 2901950"/>
              <a:gd name="connsiteY41" fmla="*/ 206375 h 1339850"/>
              <a:gd name="connsiteX42" fmla="*/ 2352675 w 2901950"/>
              <a:gd name="connsiteY42" fmla="*/ 155575 h 1339850"/>
              <a:gd name="connsiteX43" fmla="*/ 2413000 w 2901950"/>
              <a:gd name="connsiteY43" fmla="*/ 136525 h 1339850"/>
              <a:gd name="connsiteX44" fmla="*/ 2486025 w 2901950"/>
              <a:gd name="connsiteY44" fmla="*/ 127000 h 1339850"/>
              <a:gd name="connsiteX45" fmla="*/ 2555875 w 2901950"/>
              <a:gd name="connsiteY45" fmla="*/ 136525 h 1339850"/>
              <a:gd name="connsiteX46" fmla="*/ 2609850 w 2901950"/>
              <a:gd name="connsiteY46" fmla="*/ 130175 h 1339850"/>
              <a:gd name="connsiteX47" fmla="*/ 2673350 w 2901950"/>
              <a:gd name="connsiteY47" fmla="*/ 104775 h 1339850"/>
              <a:gd name="connsiteX48" fmla="*/ 2727325 w 2901950"/>
              <a:gd name="connsiteY48" fmla="*/ 63500 h 1339850"/>
              <a:gd name="connsiteX49" fmla="*/ 2771775 w 2901950"/>
              <a:gd name="connsiteY49" fmla="*/ 31750 h 1339850"/>
              <a:gd name="connsiteX50" fmla="*/ 2813050 w 2901950"/>
              <a:gd name="connsiteY50" fmla="*/ 9525 h 1339850"/>
              <a:gd name="connsiteX51" fmla="*/ 2901950 w 2901950"/>
              <a:gd name="connsiteY51" fmla="*/ 0 h 1339850"/>
              <a:gd name="connsiteX0" fmla="*/ 0 w 2901950"/>
              <a:gd name="connsiteY0" fmla="*/ 1339850 h 1339850"/>
              <a:gd name="connsiteX1" fmla="*/ 57150 w 2901950"/>
              <a:gd name="connsiteY1" fmla="*/ 1314450 h 1339850"/>
              <a:gd name="connsiteX2" fmla="*/ 120650 w 2901950"/>
              <a:gd name="connsiteY2" fmla="*/ 1314450 h 1339850"/>
              <a:gd name="connsiteX3" fmla="*/ 161925 w 2901950"/>
              <a:gd name="connsiteY3" fmla="*/ 1308100 h 1339850"/>
              <a:gd name="connsiteX4" fmla="*/ 244475 w 2901950"/>
              <a:gd name="connsiteY4" fmla="*/ 1282700 h 1339850"/>
              <a:gd name="connsiteX5" fmla="*/ 349250 w 2901950"/>
              <a:gd name="connsiteY5" fmla="*/ 1263650 h 1339850"/>
              <a:gd name="connsiteX6" fmla="*/ 422275 w 2901950"/>
              <a:gd name="connsiteY6" fmla="*/ 1228725 h 1339850"/>
              <a:gd name="connsiteX7" fmla="*/ 511175 w 2901950"/>
              <a:gd name="connsiteY7" fmla="*/ 1196975 h 1339850"/>
              <a:gd name="connsiteX8" fmla="*/ 600075 w 2901950"/>
              <a:gd name="connsiteY8" fmla="*/ 1174750 h 1339850"/>
              <a:gd name="connsiteX9" fmla="*/ 650875 w 2901950"/>
              <a:gd name="connsiteY9" fmla="*/ 1149350 h 1339850"/>
              <a:gd name="connsiteX10" fmla="*/ 736600 w 2901950"/>
              <a:gd name="connsiteY10" fmla="*/ 1114425 h 1339850"/>
              <a:gd name="connsiteX11" fmla="*/ 777875 w 2901950"/>
              <a:gd name="connsiteY11" fmla="*/ 1101725 h 1339850"/>
              <a:gd name="connsiteX12" fmla="*/ 828675 w 2901950"/>
              <a:gd name="connsiteY12" fmla="*/ 1085850 h 1339850"/>
              <a:gd name="connsiteX13" fmla="*/ 898525 w 2901950"/>
              <a:gd name="connsiteY13" fmla="*/ 1069975 h 1339850"/>
              <a:gd name="connsiteX14" fmla="*/ 946150 w 2901950"/>
              <a:gd name="connsiteY14" fmla="*/ 1050925 h 1339850"/>
              <a:gd name="connsiteX15" fmla="*/ 977900 w 2901950"/>
              <a:gd name="connsiteY15" fmla="*/ 1016000 h 1339850"/>
              <a:gd name="connsiteX16" fmla="*/ 1012825 w 2901950"/>
              <a:gd name="connsiteY16" fmla="*/ 977900 h 1339850"/>
              <a:gd name="connsiteX17" fmla="*/ 1076325 w 2901950"/>
              <a:gd name="connsiteY17" fmla="*/ 974725 h 1339850"/>
              <a:gd name="connsiteX18" fmla="*/ 1146175 w 2901950"/>
              <a:gd name="connsiteY18" fmla="*/ 965200 h 1339850"/>
              <a:gd name="connsiteX19" fmla="*/ 1168400 w 2901950"/>
              <a:gd name="connsiteY19" fmla="*/ 936625 h 1339850"/>
              <a:gd name="connsiteX20" fmla="*/ 1181100 w 2901950"/>
              <a:gd name="connsiteY20" fmla="*/ 895350 h 1339850"/>
              <a:gd name="connsiteX21" fmla="*/ 1200150 w 2901950"/>
              <a:gd name="connsiteY21" fmla="*/ 873125 h 1339850"/>
              <a:gd name="connsiteX22" fmla="*/ 1244600 w 2901950"/>
              <a:gd name="connsiteY22" fmla="*/ 860425 h 1339850"/>
              <a:gd name="connsiteX23" fmla="*/ 1285875 w 2901950"/>
              <a:gd name="connsiteY23" fmla="*/ 790575 h 1339850"/>
              <a:gd name="connsiteX24" fmla="*/ 1343025 w 2901950"/>
              <a:gd name="connsiteY24" fmla="*/ 777875 h 1339850"/>
              <a:gd name="connsiteX25" fmla="*/ 1441450 w 2901950"/>
              <a:gd name="connsiteY25" fmla="*/ 752475 h 1339850"/>
              <a:gd name="connsiteX26" fmla="*/ 1565275 w 2901950"/>
              <a:gd name="connsiteY26" fmla="*/ 727075 h 1339850"/>
              <a:gd name="connsiteX27" fmla="*/ 1638300 w 2901950"/>
              <a:gd name="connsiteY27" fmla="*/ 701675 h 1339850"/>
              <a:gd name="connsiteX28" fmla="*/ 1689100 w 2901950"/>
              <a:gd name="connsiteY28" fmla="*/ 714375 h 1339850"/>
              <a:gd name="connsiteX29" fmla="*/ 1774825 w 2901950"/>
              <a:gd name="connsiteY29" fmla="*/ 714375 h 1339850"/>
              <a:gd name="connsiteX30" fmla="*/ 1822450 w 2901950"/>
              <a:gd name="connsiteY30" fmla="*/ 692150 h 1339850"/>
              <a:gd name="connsiteX31" fmla="*/ 1863725 w 2901950"/>
              <a:gd name="connsiteY31" fmla="*/ 660400 h 1339850"/>
              <a:gd name="connsiteX32" fmla="*/ 1892300 w 2901950"/>
              <a:gd name="connsiteY32" fmla="*/ 625475 h 1339850"/>
              <a:gd name="connsiteX33" fmla="*/ 1901825 w 2901950"/>
              <a:gd name="connsiteY33" fmla="*/ 577850 h 1339850"/>
              <a:gd name="connsiteX34" fmla="*/ 1939925 w 2901950"/>
              <a:gd name="connsiteY34" fmla="*/ 539750 h 1339850"/>
              <a:gd name="connsiteX35" fmla="*/ 2012950 w 2901950"/>
              <a:gd name="connsiteY35" fmla="*/ 485775 h 1339850"/>
              <a:gd name="connsiteX36" fmla="*/ 2070100 w 2901950"/>
              <a:gd name="connsiteY36" fmla="*/ 438150 h 1339850"/>
              <a:gd name="connsiteX37" fmla="*/ 2111375 w 2901950"/>
              <a:gd name="connsiteY37" fmla="*/ 390525 h 1339850"/>
              <a:gd name="connsiteX38" fmla="*/ 2178050 w 2901950"/>
              <a:gd name="connsiteY38" fmla="*/ 323850 h 1339850"/>
              <a:gd name="connsiteX39" fmla="*/ 2219325 w 2901950"/>
              <a:gd name="connsiteY39" fmla="*/ 276225 h 1339850"/>
              <a:gd name="connsiteX40" fmla="*/ 2251075 w 2901950"/>
              <a:gd name="connsiteY40" fmla="*/ 241300 h 1339850"/>
              <a:gd name="connsiteX41" fmla="*/ 2282825 w 2901950"/>
              <a:gd name="connsiteY41" fmla="*/ 206375 h 1339850"/>
              <a:gd name="connsiteX42" fmla="*/ 2352675 w 2901950"/>
              <a:gd name="connsiteY42" fmla="*/ 155575 h 1339850"/>
              <a:gd name="connsiteX43" fmla="*/ 2413000 w 2901950"/>
              <a:gd name="connsiteY43" fmla="*/ 136525 h 1339850"/>
              <a:gd name="connsiteX44" fmla="*/ 2486025 w 2901950"/>
              <a:gd name="connsiteY44" fmla="*/ 127000 h 1339850"/>
              <a:gd name="connsiteX45" fmla="*/ 2555875 w 2901950"/>
              <a:gd name="connsiteY45" fmla="*/ 136525 h 1339850"/>
              <a:gd name="connsiteX46" fmla="*/ 2609850 w 2901950"/>
              <a:gd name="connsiteY46" fmla="*/ 130175 h 1339850"/>
              <a:gd name="connsiteX47" fmla="*/ 2673350 w 2901950"/>
              <a:gd name="connsiteY47" fmla="*/ 104775 h 1339850"/>
              <a:gd name="connsiteX48" fmla="*/ 2727325 w 2901950"/>
              <a:gd name="connsiteY48" fmla="*/ 63500 h 1339850"/>
              <a:gd name="connsiteX49" fmla="*/ 2771775 w 2901950"/>
              <a:gd name="connsiteY49" fmla="*/ 31750 h 1339850"/>
              <a:gd name="connsiteX50" fmla="*/ 2901950 w 2901950"/>
              <a:gd name="connsiteY50" fmla="*/ 0 h 1339850"/>
              <a:gd name="connsiteX0" fmla="*/ 0 w 2771775"/>
              <a:gd name="connsiteY0" fmla="*/ 1308100 h 1308100"/>
              <a:gd name="connsiteX1" fmla="*/ 57150 w 2771775"/>
              <a:gd name="connsiteY1" fmla="*/ 1282700 h 1308100"/>
              <a:gd name="connsiteX2" fmla="*/ 120650 w 2771775"/>
              <a:gd name="connsiteY2" fmla="*/ 1282700 h 1308100"/>
              <a:gd name="connsiteX3" fmla="*/ 161925 w 2771775"/>
              <a:gd name="connsiteY3" fmla="*/ 1276350 h 1308100"/>
              <a:gd name="connsiteX4" fmla="*/ 244475 w 2771775"/>
              <a:gd name="connsiteY4" fmla="*/ 1250950 h 1308100"/>
              <a:gd name="connsiteX5" fmla="*/ 349250 w 2771775"/>
              <a:gd name="connsiteY5" fmla="*/ 1231900 h 1308100"/>
              <a:gd name="connsiteX6" fmla="*/ 422275 w 2771775"/>
              <a:gd name="connsiteY6" fmla="*/ 1196975 h 1308100"/>
              <a:gd name="connsiteX7" fmla="*/ 511175 w 2771775"/>
              <a:gd name="connsiteY7" fmla="*/ 1165225 h 1308100"/>
              <a:gd name="connsiteX8" fmla="*/ 600075 w 2771775"/>
              <a:gd name="connsiteY8" fmla="*/ 1143000 h 1308100"/>
              <a:gd name="connsiteX9" fmla="*/ 650875 w 2771775"/>
              <a:gd name="connsiteY9" fmla="*/ 1117600 h 1308100"/>
              <a:gd name="connsiteX10" fmla="*/ 736600 w 2771775"/>
              <a:gd name="connsiteY10" fmla="*/ 1082675 h 1308100"/>
              <a:gd name="connsiteX11" fmla="*/ 777875 w 2771775"/>
              <a:gd name="connsiteY11" fmla="*/ 1069975 h 1308100"/>
              <a:gd name="connsiteX12" fmla="*/ 828675 w 2771775"/>
              <a:gd name="connsiteY12" fmla="*/ 1054100 h 1308100"/>
              <a:gd name="connsiteX13" fmla="*/ 898525 w 2771775"/>
              <a:gd name="connsiteY13" fmla="*/ 1038225 h 1308100"/>
              <a:gd name="connsiteX14" fmla="*/ 946150 w 2771775"/>
              <a:gd name="connsiteY14" fmla="*/ 1019175 h 1308100"/>
              <a:gd name="connsiteX15" fmla="*/ 977900 w 2771775"/>
              <a:gd name="connsiteY15" fmla="*/ 984250 h 1308100"/>
              <a:gd name="connsiteX16" fmla="*/ 1012825 w 2771775"/>
              <a:gd name="connsiteY16" fmla="*/ 946150 h 1308100"/>
              <a:gd name="connsiteX17" fmla="*/ 1076325 w 2771775"/>
              <a:gd name="connsiteY17" fmla="*/ 942975 h 1308100"/>
              <a:gd name="connsiteX18" fmla="*/ 1146175 w 2771775"/>
              <a:gd name="connsiteY18" fmla="*/ 933450 h 1308100"/>
              <a:gd name="connsiteX19" fmla="*/ 1168400 w 2771775"/>
              <a:gd name="connsiteY19" fmla="*/ 904875 h 1308100"/>
              <a:gd name="connsiteX20" fmla="*/ 1181100 w 2771775"/>
              <a:gd name="connsiteY20" fmla="*/ 863600 h 1308100"/>
              <a:gd name="connsiteX21" fmla="*/ 1200150 w 2771775"/>
              <a:gd name="connsiteY21" fmla="*/ 841375 h 1308100"/>
              <a:gd name="connsiteX22" fmla="*/ 1244600 w 2771775"/>
              <a:gd name="connsiteY22" fmla="*/ 828675 h 1308100"/>
              <a:gd name="connsiteX23" fmla="*/ 1285875 w 2771775"/>
              <a:gd name="connsiteY23" fmla="*/ 758825 h 1308100"/>
              <a:gd name="connsiteX24" fmla="*/ 1343025 w 2771775"/>
              <a:gd name="connsiteY24" fmla="*/ 746125 h 1308100"/>
              <a:gd name="connsiteX25" fmla="*/ 1441450 w 2771775"/>
              <a:gd name="connsiteY25" fmla="*/ 720725 h 1308100"/>
              <a:gd name="connsiteX26" fmla="*/ 1565275 w 2771775"/>
              <a:gd name="connsiteY26" fmla="*/ 695325 h 1308100"/>
              <a:gd name="connsiteX27" fmla="*/ 1638300 w 2771775"/>
              <a:gd name="connsiteY27" fmla="*/ 669925 h 1308100"/>
              <a:gd name="connsiteX28" fmla="*/ 1689100 w 2771775"/>
              <a:gd name="connsiteY28" fmla="*/ 682625 h 1308100"/>
              <a:gd name="connsiteX29" fmla="*/ 1774825 w 2771775"/>
              <a:gd name="connsiteY29" fmla="*/ 682625 h 1308100"/>
              <a:gd name="connsiteX30" fmla="*/ 1822450 w 2771775"/>
              <a:gd name="connsiteY30" fmla="*/ 660400 h 1308100"/>
              <a:gd name="connsiteX31" fmla="*/ 1863725 w 2771775"/>
              <a:gd name="connsiteY31" fmla="*/ 628650 h 1308100"/>
              <a:gd name="connsiteX32" fmla="*/ 1892300 w 2771775"/>
              <a:gd name="connsiteY32" fmla="*/ 593725 h 1308100"/>
              <a:gd name="connsiteX33" fmla="*/ 1901825 w 2771775"/>
              <a:gd name="connsiteY33" fmla="*/ 546100 h 1308100"/>
              <a:gd name="connsiteX34" fmla="*/ 1939925 w 2771775"/>
              <a:gd name="connsiteY34" fmla="*/ 508000 h 1308100"/>
              <a:gd name="connsiteX35" fmla="*/ 2012950 w 2771775"/>
              <a:gd name="connsiteY35" fmla="*/ 454025 h 1308100"/>
              <a:gd name="connsiteX36" fmla="*/ 2070100 w 2771775"/>
              <a:gd name="connsiteY36" fmla="*/ 406400 h 1308100"/>
              <a:gd name="connsiteX37" fmla="*/ 2111375 w 2771775"/>
              <a:gd name="connsiteY37" fmla="*/ 358775 h 1308100"/>
              <a:gd name="connsiteX38" fmla="*/ 2178050 w 2771775"/>
              <a:gd name="connsiteY38" fmla="*/ 292100 h 1308100"/>
              <a:gd name="connsiteX39" fmla="*/ 2219325 w 2771775"/>
              <a:gd name="connsiteY39" fmla="*/ 244475 h 1308100"/>
              <a:gd name="connsiteX40" fmla="*/ 2251075 w 2771775"/>
              <a:gd name="connsiteY40" fmla="*/ 209550 h 1308100"/>
              <a:gd name="connsiteX41" fmla="*/ 2282825 w 2771775"/>
              <a:gd name="connsiteY41" fmla="*/ 174625 h 1308100"/>
              <a:gd name="connsiteX42" fmla="*/ 2352675 w 2771775"/>
              <a:gd name="connsiteY42" fmla="*/ 123825 h 1308100"/>
              <a:gd name="connsiteX43" fmla="*/ 2413000 w 2771775"/>
              <a:gd name="connsiteY43" fmla="*/ 104775 h 1308100"/>
              <a:gd name="connsiteX44" fmla="*/ 2486025 w 2771775"/>
              <a:gd name="connsiteY44" fmla="*/ 95250 h 1308100"/>
              <a:gd name="connsiteX45" fmla="*/ 2555875 w 2771775"/>
              <a:gd name="connsiteY45" fmla="*/ 104775 h 1308100"/>
              <a:gd name="connsiteX46" fmla="*/ 2609850 w 2771775"/>
              <a:gd name="connsiteY46" fmla="*/ 98425 h 1308100"/>
              <a:gd name="connsiteX47" fmla="*/ 2673350 w 2771775"/>
              <a:gd name="connsiteY47" fmla="*/ 73025 h 1308100"/>
              <a:gd name="connsiteX48" fmla="*/ 2727325 w 2771775"/>
              <a:gd name="connsiteY48" fmla="*/ 31750 h 1308100"/>
              <a:gd name="connsiteX49" fmla="*/ 2771775 w 2771775"/>
              <a:gd name="connsiteY49" fmla="*/ 0 h 1308100"/>
              <a:gd name="connsiteX0" fmla="*/ 0 w 2727325"/>
              <a:gd name="connsiteY0" fmla="*/ 1276350 h 1276350"/>
              <a:gd name="connsiteX1" fmla="*/ 57150 w 2727325"/>
              <a:gd name="connsiteY1" fmla="*/ 1250950 h 1276350"/>
              <a:gd name="connsiteX2" fmla="*/ 120650 w 2727325"/>
              <a:gd name="connsiteY2" fmla="*/ 1250950 h 1276350"/>
              <a:gd name="connsiteX3" fmla="*/ 161925 w 2727325"/>
              <a:gd name="connsiteY3" fmla="*/ 1244600 h 1276350"/>
              <a:gd name="connsiteX4" fmla="*/ 244475 w 2727325"/>
              <a:gd name="connsiteY4" fmla="*/ 1219200 h 1276350"/>
              <a:gd name="connsiteX5" fmla="*/ 349250 w 2727325"/>
              <a:gd name="connsiteY5" fmla="*/ 1200150 h 1276350"/>
              <a:gd name="connsiteX6" fmla="*/ 422275 w 2727325"/>
              <a:gd name="connsiteY6" fmla="*/ 1165225 h 1276350"/>
              <a:gd name="connsiteX7" fmla="*/ 511175 w 2727325"/>
              <a:gd name="connsiteY7" fmla="*/ 1133475 h 1276350"/>
              <a:gd name="connsiteX8" fmla="*/ 600075 w 2727325"/>
              <a:gd name="connsiteY8" fmla="*/ 1111250 h 1276350"/>
              <a:gd name="connsiteX9" fmla="*/ 650875 w 2727325"/>
              <a:gd name="connsiteY9" fmla="*/ 1085850 h 1276350"/>
              <a:gd name="connsiteX10" fmla="*/ 736600 w 2727325"/>
              <a:gd name="connsiteY10" fmla="*/ 1050925 h 1276350"/>
              <a:gd name="connsiteX11" fmla="*/ 777875 w 2727325"/>
              <a:gd name="connsiteY11" fmla="*/ 1038225 h 1276350"/>
              <a:gd name="connsiteX12" fmla="*/ 828675 w 2727325"/>
              <a:gd name="connsiteY12" fmla="*/ 1022350 h 1276350"/>
              <a:gd name="connsiteX13" fmla="*/ 898525 w 2727325"/>
              <a:gd name="connsiteY13" fmla="*/ 1006475 h 1276350"/>
              <a:gd name="connsiteX14" fmla="*/ 946150 w 2727325"/>
              <a:gd name="connsiteY14" fmla="*/ 987425 h 1276350"/>
              <a:gd name="connsiteX15" fmla="*/ 977900 w 2727325"/>
              <a:gd name="connsiteY15" fmla="*/ 952500 h 1276350"/>
              <a:gd name="connsiteX16" fmla="*/ 1012825 w 2727325"/>
              <a:gd name="connsiteY16" fmla="*/ 914400 h 1276350"/>
              <a:gd name="connsiteX17" fmla="*/ 1076325 w 2727325"/>
              <a:gd name="connsiteY17" fmla="*/ 911225 h 1276350"/>
              <a:gd name="connsiteX18" fmla="*/ 1146175 w 2727325"/>
              <a:gd name="connsiteY18" fmla="*/ 901700 h 1276350"/>
              <a:gd name="connsiteX19" fmla="*/ 1168400 w 2727325"/>
              <a:gd name="connsiteY19" fmla="*/ 873125 h 1276350"/>
              <a:gd name="connsiteX20" fmla="*/ 1181100 w 2727325"/>
              <a:gd name="connsiteY20" fmla="*/ 831850 h 1276350"/>
              <a:gd name="connsiteX21" fmla="*/ 1200150 w 2727325"/>
              <a:gd name="connsiteY21" fmla="*/ 809625 h 1276350"/>
              <a:gd name="connsiteX22" fmla="*/ 1244600 w 2727325"/>
              <a:gd name="connsiteY22" fmla="*/ 796925 h 1276350"/>
              <a:gd name="connsiteX23" fmla="*/ 1285875 w 2727325"/>
              <a:gd name="connsiteY23" fmla="*/ 727075 h 1276350"/>
              <a:gd name="connsiteX24" fmla="*/ 1343025 w 2727325"/>
              <a:gd name="connsiteY24" fmla="*/ 714375 h 1276350"/>
              <a:gd name="connsiteX25" fmla="*/ 1441450 w 2727325"/>
              <a:gd name="connsiteY25" fmla="*/ 688975 h 1276350"/>
              <a:gd name="connsiteX26" fmla="*/ 1565275 w 2727325"/>
              <a:gd name="connsiteY26" fmla="*/ 663575 h 1276350"/>
              <a:gd name="connsiteX27" fmla="*/ 1638300 w 2727325"/>
              <a:gd name="connsiteY27" fmla="*/ 638175 h 1276350"/>
              <a:gd name="connsiteX28" fmla="*/ 1689100 w 2727325"/>
              <a:gd name="connsiteY28" fmla="*/ 650875 h 1276350"/>
              <a:gd name="connsiteX29" fmla="*/ 1774825 w 2727325"/>
              <a:gd name="connsiteY29" fmla="*/ 650875 h 1276350"/>
              <a:gd name="connsiteX30" fmla="*/ 1822450 w 2727325"/>
              <a:gd name="connsiteY30" fmla="*/ 628650 h 1276350"/>
              <a:gd name="connsiteX31" fmla="*/ 1863725 w 2727325"/>
              <a:gd name="connsiteY31" fmla="*/ 596900 h 1276350"/>
              <a:gd name="connsiteX32" fmla="*/ 1892300 w 2727325"/>
              <a:gd name="connsiteY32" fmla="*/ 561975 h 1276350"/>
              <a:gd name="connsiteX33" fmla="*/ 1901825 w 2727325"/>
              <a:gd name="connsiteY33" fmla="*/ 514350 h 1276350"/>
              <a:gd name="connsiteX34" fmla="*/ 1939925 w 2727325"/>
              <a:gd name="connsiteY34" fmla="*/ 476250 h 1276350"/>
              <a:gd name="connsiteX35" fmla="*/ 2012950 w 2727325"/>
              <a:gd name="connsiteY35" fmla="*/ 422275 h 1276350"/>
              <a:gd name="connsiteX36" fmla="*/ 2070100 w 2727325"/>
              <a:gd name="connsiteY36" fmla="*/ 374650 h 1276350"/>
              <a:gd name="connsiteX37" fmla="*/ 2111375 w 2727325"/>
              <a:gd name="connsiteY37" fmla="*/ 327025 h 1276350"/>
              <a:gd name="connsiteX38" fmla="*/ 2178050 w 2727325"/>
              <a:gd name="connsiteY38" fmla="*/ 260350 h 1276350"/>
              <a:gd name="connsiteX39" fmla="*/ 2219325 w 2727325"/>
              <a:gd name="connsiteY39" fmla="*/ 212725 h 1276350"/>
              <a:gd name="connsiteX40" fmla="*/ 2251075 w 2727325"/>
              <a:gd name="connsiteY40" fmla="*/ 177800 h 1276350"/>
              <a:gd name="connsiteX41" fmla="*/ 2282825 w 2727325"/>
              <a:gd name="connsiteY41" fmla="*/ 142875 h 1276350"/>
              <a:gd name="connsiteX42" fmla="*/ 2352675 w 2727325"/>
              <a:gd name="connsiteY42" fmla="*/ 92075 h 1276350"/>
              <a:gd name="connsiteX43" fmla="*/ 2413000 w 2727325"/>
              <a:gd name="connsiteY43" fmla="*/ 73025 h 1276350"/>
              <a:gd name="connsiteX44" fmla="*/ 2486025 w 2727325"/>
              <a:gd name="connsiteY44" fmla="*/ 63500 h 1276350"/>
              <a:gd name="connsiteX45" fmla="*/ 2555875 w 2727325"/>
              <a:gd name="connsiteY45" fmla="*/ 73025 h 1276350"/>
              <a:gd name="connsiteX46" fmla="*/ 2609850 w 2727325"/>
              <a:gd name="connsiteY46" fmla="*/ 66675 h 1276350"/>
              <a:gd name="connsiteX47" fmla="*/ 2673350 w 2727325"/>
              <a:gd name="connsiteY47" fmla="*/ 41275 h 1276350"/>
              <a:gd name="connsiteX48" fmla="*/ 2727325 w 2727325"/>
              <a:gd name="connsiteY48" fmla="*/ 0 h 1276350"/>
              <a:gd name="connsiteX0" fmla="*/ 0 w 2673350"/>
              <a:gd name="connsiteY0" fmla="*/ 1235075 h 1235075"/>
              <a:gd name="connsiteX1" fmla="*/ 57150 w 2673350"/>
              <a:gd name="connsiteY1" fmla="*/ 1209675 h 1235075"/>
              <a:gd name="connsiteX2" fmla="*/ 120650 w 2673350"/>
              <a:gd name="connsiteY2" fmla="*/ 1209675 h 1235075"/>
              <a:gd name="connsiteX3" fmla="*/ 161925 w 2673350"/>
              <a:gd name="connsiteY3" fmla="*/ 1203325 h 1235075"/>
              <a:gd name="connsiteX4" fmla="*/ 244475 w 2673350"/>
              <a:gd name="connsiteY4" fmla="*/ 1177925 h 1235075"/>
              <a:gd name="connsiteX5" fmla="*/ 349250 w 2673350"/>
              <a:gd name="connsiteY5" fmla="*/ 1158875 h 1235075"/>
              <a:gd name="connsiteX6" fmla="*/ 422275 w 2673350"/>
              <a:gd name="connsiteY6" fmla="*/ 1123950 h 1235075"/>
              <a:gd name="connsiteX7" fmla="*/ 511175 w 2673350"/>
              <a:gd name="connsiteY7" fmla="*/ 1092200 h 1235075"/>
              <a:gd name="connsiteX8" fmla="*/ 600075 w 2673350"/>
              <a:gd name="connsiteY8" fmla="*/ 1069975 h 1235075"/>
              <a:gd name="connsiteX9" fmla="*/ 650875 w 2673350"/>
              <a:gd name="connsiteY9" fmla="*/ 1044575 h 1235075"/>
              <a:gd name="connsiteX10" fmla="*/ 736600 w 2673350"/>
              <a:gd name="connsiteY10" fmla="*/ 1009650 h 1235075"/>
              <a:gd name="connsiteX11" fmla="*/ 777875 w 2673350"/>
              <a:gd name="connsiteY11" fmla="*/ 996950 h 1235075"/>
              <a:gd name="connsiteX12" fmla="*/ 828675 w 2673350"/>
              <a:gd name="connsiteY12" fmla="*/ 981075 h 1235075"/>
              <a:gd name="connsiteX13" fmla="*/ 898525 w 2673350"/>
              <a:gd name="connsiteY13" fmla="*/ 965200 h 1235075"/>
              <a:gd name="connsiteX14" fmla="*/ 946150 w 2673350"/>
              <a:gd name="connsiteY14" fmla="*/ 946150 h 1235075"/>
              <a:gd name="connsiteX15" fmla="*/ 977900 w 2673350"/>
              <a:gd name="connsiteY15" fmla="*/ 911225 h 1235075"/>
              <a:gd name="connsiteX16" fmla="*/ 1012825 w 2673350"/>
              <a:gd name="connsiteY16" fmla="*/ 873125 h 1235075"/>
              <a:gd name="connsiteX17" fmla="*/ 1076325 w 2673350"/>
              <a:gd name="connsiteY17" fmla="*/ 869950 h 1235075"/>
              <a:gd name="connsiteX18" fmla="*/ 1146175 w 2673350"/>
              <a:gd name="connsiteY18" fmla="*/ 860425 h 1235075"/>
              <a:gd name="connsiteX19" fmla="*/ 1168400 w 2673350"/>
              <a:gd name="connsiteY19" fmla="*/ 831850 h 1235075"/>
              <a:gd name="connsiteX20" fmla="*/ 1181100 w 2673350"/>
              <a:gd name="connsiteY20" fmla="*/ 790575 h 1235075"/>
              <a:gd name="connsiteX21" fmla="*/ 1200150 w 2673350"/>
              <a:gd name="connsiteY21" fmla="*/ 768350 h 1235075"/>
              <a:gd name="connsiteX22" fmla="*/ 1244600 w 2673350"/>
              <a:gd name="connsiteY22" fmla="*/ 755650 h 1235075"/>
              <a:gd name="connsiteX23" fmla="*/ 1285875 w 2673350"/>
              <a:gd name="connsiteY23" fmla="*/ 685800 h 1235075"/>
              <a:gd name="connsiteX24" fmla="*/ 1343025 w 2673350"/>
              <a:gd name="connsiteY24" fmla="*/ 673100 h 1235075"/>
              <a:gd name="connsiteX25" fmla="*/ 1441450 w 2673350"/>
              <a:gd name="connsiteY25" fmla="*/ 647700 h 1235075"/>
              <a:gd name="connsiteX26" fmla="*/ 1565275 w 2673350"/>
              <a:gd name="connsiteY26" fmla="*/ 622300 h 1235075"/>
              <a:gd name="connsiteX27" fmla="*/ 1638300 w 2673350"/>
              <a:gd name="connsiteY27" fmla="*/ 596900 h 1235075"/>
              <a:gd name="connsiteX28" fmla="*/ 1689100 w 2673350"/>
              <a:gd name="connsiteY28" fmla="*/ 609600 h 1235075"/>
              <a:gd name="connsiteX29" fmla="*/ 1774825 w 2673350"/>
              <a:gd name="connsiteY29" fmla="*/ 609600 h 1235075"/>
              <a:gd name="connsiteX30" fmla="*/ 1822450 w 2673350"/>
              <a:gd name="connsiteY30" fmla="*/ 587375 h 1235075"/>
              <a:gd name="connsiteX31" fmla="*/ 1863725 w 2673350"/>
              <a:gd name="connsiteY31" fmla="*/ 555625 h 1235075"/>
              <a:gd name="connsiteX32" fmla="*/ 1892300 w 2673350"/>
              <a:gd name="connsiteY32" fmla="*/ 520700 h 1235075"/>
              <a:gd name="connsiteX33" fmla="*/ 1901825 w 2673350"/>
              <a:gd name="connsiteY33" fmla="*/ 473075 h 1235075"/>
              <a:gd name="connsiteX34" fmla="*/ 1939925 w 2673350"/>
              <a:gd name="connsiteY34" fmla="*/ 434975 h 1235075"/>
              <a:gd name="connsiteX35" fmla="*/ 2012950 w 2673350"/>
              <a:gd name="connsiteY35" fmla="*/ 381000 h 1235075"/>
              <a:gd name="connsiteX36" fmla="*/ 2070100 w 2673350"/>
              <a:gd name="connsiteY36" fmla="*/ 333375 h 1235075"/>
              <a:gd name="connsiteX37" fmla="*/ 2111375 w 2673350"/>
              <a:gd name="connsiteY37" fmla="*/ 285750 h 1235075"/>
              <a:gd name="connsiteX38" fmla="*/ 2178050 w 2673350"/>
              <a:gd name="connsiteY38" fmla="*/ 219075 h 1235075"/>
              <a:gd name="connsiteX39" fmla="*/ 2219325 w 2673350"/>
              <a:gd name="connsiteY39" fmla="*/ 171450 h 1235075"/>
              <a:gd name="connsiteX40" fmla="*/ 2251075 w 2673350"/>
              <a:gd name="connsiteY40" fmla="*/ 136525 h 1235075"/>
              <a:gd name="connsiteX41" fmla="*/ 2282825 w 2673350"/>
              <a:gd name="connsiteY41" fmla="*/ 101600 h 1235075"/>
              <a:gd name="connsiteX42" fmla="*/ 2352675 w 2673350"/>
              <a:gd name="connsiteY42" fmla="*/ 50800 h 1235075"/>
              <a:gd name="connsiteX43" fmla="*/ 2413000 w 2673350"/>
              <a:gd name="connsiteY43" fmla="*/ 31750 h 1235075"/>
              <a:gd name="connsiteX44" fmla="*/ 2486025 w 2673350"/>
              <a:gd name="connsiteY44" fmla="*/ 22225 h 1235075"/>
              <a:gd name="connsiteX45" fmla="*/ 2555875 w 2673350"/>
              <a:gd name="connsiteY45" fmla="*/ 31750 h 1235075"/>
              <a:gd name="connsiteX46" fmla="*/ 2609850 w 2673350"/>
              <a:gd name="connsiteY46" fmla="*/ 25400 h 1235075"/>
              <a:gd name="connsiteX47" fmla="*/ 2673350 w 2673350"/>
              <a:gd name="connsiteY47" fmla="*/ 0 h 1235075"/>
              <a:gd name="connsiteX0" fmla="*/ 0 w 2609850"/>
              <a:gd name="connsiteY0" fmla="*/ 1212850 h 1212850"/>
              <a:gd name="connsiteX1" fmla="*/ 57150 w 2609850"/>
              <a:gd name="connsiteY1" fmla="*/ 1187450 h 1212850"/>
              <a:gd name="connsiteX2" fmla="*/ 120650 w 2609850"/>
              <a:gd name="connsiteY2" fmla="*/ 1187450 h 1212850"/>
              <a:gd name="connsiteX3" fmla="*/ 161925 w 2609850"/>
              <a:gd name="connsiteY3" fmla="*/ 1181100 h 1212850"/>
              <a:gd name="connsiteX4" fmla="*/ 244475 w 2609850"/>
              <a:gd name="connsiteY4" fmla="*/ 1155700 h 1212850"/>
              <a:gd name="connsiteX5" fmla="*/ 349250 w 2609850"/>
              <a:gd name="connsiteY5" fmla="*/ 1136650 h 1212850"/>
              <a:gd name="connsiteX6" fmla="*/ 422275 w 2609850"/>
              <a:gd name="connsiteY6" fmla="*/ 1101725 h 1212850"/>
              <a:gd name="connsiteX7" fmla="*/ 511175 w 2609850"/>
              <a:gd name="connsiteY7" fmla="*/ 1069975 h 1212850"/>
              <a:gd name="connsiteX8" fmla="*/ 600075 w 2609850"/>
              <a:gd name="connsiteY8" fmla="*/ 1047750 h 1212850"/>
              <a:gd name="connsiteX9" fmla="*/ 650875 w 2609850"/>
              <a:gd name="connsiteY9" fmla="*/ 1022350 h 1212850"/>
              <a:gd name="connsiteX10" fmla="*/ 736600 w 2609850"/>
              <a:gd name="connsiteY10" fmla="*/ 987425 h 1212850"/>
              <a:gd name="connsiteX11" fmla="*/ 777875 w 2609850"/>
              <a:gd name="connsiteY11" fmla="*/ 974725 h 1212850"/>
              <a:gd name="connsiteX12" fmla="*/ 828675 w 2609850"/>
              <a:gd name="connsiteY12" fmla="*/ 958850 h 1212850"/>
              <a:gd name="connsiteX13" fmla="*/ 898525 w 2609850"/>
              <a:gd name="connsiteY13" fmla="*/ 942975 h 1212850"/>
              <a:gd name="connsiteX14" fmla="*/ 946150 w 2609850"/>
              <a:gd name="connsiteY14" fmla="*/ 923925 h 1212850"/>
              <a:gd name="connsiteX15" fmla="*/ 977900 w 2609850"/>
              <a:gd name="connsiteY15" fmla="*/ 889000 h 1212850"/>
              <a:gd name="connsiteX16" fmla="*/ 1012825 w 2609850"/>
              <a:gd name="connsiteY16" fmla="*/ 850900 h 1212850"/>
              <a:gd name="connsiteX17" fmla="*/ 1076325 w 2609850"/>
              <a:gd name="connsiteY17" fmla="*/ 847725 h 1212850"/>
              <a:gd name="connsiteX18" fmla="*/ 1146175 w 2609850"/>
              <a:gd name="connsiteY18" fmla="*/ 838200 h 1212850"/>
              <a:gd name="connsiteX19" fmla="*/ 1168400 w 2609850"/>
              <a:gd name="connsiteY19" fmla="*/ 809625 h 1212850"/>
              <a:gd name="connsiteX20" fmla="*/ 1181100 w 2609850"/>
              <a:gd name="connsiteY20" fmla="*/ 768350 h 1212850"/>
              <a:gd name="connsiteX21" fmla="*/ 1200150 w 2609850"/>
              <a:gd name="connsiteY21" fmla="*/ 746125 h 1212850"/>
              <a:gd name="connsiteX22" fmla="*/ 1244600 w 2609850"/>
              <a:gd name="connsiteY22" fmla="*/ 733425 h 1212850"/>
              <a:gd name="connsiteX23" fmla="*/ 1285875 w 2609850"/>
              <a:gd name="connsiteY23" fmla="*/ 663575 h 1212850"/>
              <a:gd name="connsiteX24" fmla="*/ 1343025 w 2609850"/>
              <a:gd name="connsiteY24" fmla="*/ 650875 h 1212850"/>
              <a:gd name="connsiteX25" fmla="*/ 1441450 w 2609850"/>
              <a:gd name="connsiteY25" fmla="*/ 625475 h 1212850"/>
              <a:gd name="connsiteX26" fmla="*/ 1565275 w 2609850"/>
              <a:gd name="connsiteY26" fmla="*/ 600075 h 1212850"/>
              <a:gd name="connsiteX27" fmla="*/ 1638300 w 2609850"/>
              <a:gd name="connsiteY27" fmla="*/ 574675 h 1212850"/>
              <a:gd name="connsiteX28" fmla="*/ 1689100 w 2609850"/>
              <a:gd name="connsiteY28" fmla="*/ 587375 h 1212850"/>
              <a:gd name="connsiteX29" fmla="*/ 1774825 w 2609850"/>
              <a:gd name="connsiteY29" fmla="*/ 587375 h 1212850"/>
              <a:gd name="connsiteX30" fmla="*/ 1822450 w 2609850"/>
              <a:gd name="connsiteY30" fmla="*/ 565150 h 1212850"/>
              <a:gd name="connsiteX31" fmla="*/ 1863725 w 2609850"/>
              <a:gd name="connsiteY31" fmla="*/ 533400 h 1212850"/>
              <a:gd name="connsiteX32" fmla="*/ 1892300 w 2609850"/>
              <a:gd name="connsiteY32" fmla="*/ 498475 h 1212850"/>
              <a:gd name="connsiteX33" fmla="*/ 1901825 w 2609850"/>
              <a:gd name="connsiteY33" fmla="*/ 450850 h 1212850"/>
              <a:gd name="connsiteX34" fmla="*/ 1939925 w 2609850"/>
              <a:gd name="connsiteY34" fmla="*/ 412750 h 1212850"/>
              <a:gd name="connsiteX35" fmla="*/ 2012950 w 2609850"/>
              <a:gd name="connsiteY35" fmla="*/ 358775 h 1212850"/>
              <a:gd name="connsiteX36" fmla="*/ 2070100 w 2609850"/>
              <a:gd name="connsiteY36" fmla="*/ 311150 h 1212850"/>
              <a:gd name="connsiteX37" fmla="*/ 2111375 w 2609850"/>
              <a:gd name="connsiteY37" fmla="*/ 263525 h 1212850"/>
              <a:gd name="connsiteX38" fmla="*/ 2178050 w 2609850"/>
              <a:gd name="connsiteY38" fmla="*/ 196850 h 1212850"/>
              <a:gd name="connsiteX39" fmla="*/ 2219325 w 2609850"/>
              <a:gd name="connsiteY39" fmla="*/ 149225 h 1212850"/>
              <a:gd name="connsiteX40" fmla="*/ 2251075 w 2609850"/>
              <a:gd name="connsiteY40" fmla="*/ 114300 h 1212850"/>
              <a:gd name="connsiteX41" fmla="*/ 2282825 w 2609850"/>
              <a:gd name="connsiteY41" fmla="*/ 79375 h 1212850"/>
              <a:gd name="connsiteX42" fmla="*/ 2352675 w 2609850"/>
              <a:gd name="connsiteY42" fmla="*/ 28575 h 1212850"/>
              <a:gd name="connsiteX43" fmla="*/ 2413000 w 2609850"/>
              <a:gd name="connsiteY43" fmla="*/ 9525 h 1212850"/>
              <a:gd name="connsiteX44" fmla="*/ 2486025 w 2609850"/>
              <a:gd name="connsiteY44" fmla="*/ 0 h 1212850"/>
              <a:gd name="connsiteX45" fmla="*/ 2555875 w 2609850"/>
              <a:gd name="connsiteY45" fmla="*/ 9525 h 1212850"/>
              <a:gd name="connsiteX46" fmla="*/ 2609850 w 2609850"/>
              <a:gd name="connsiteY46" fmla="*/ 3175 h 1212850"/>
              <a:gd name="connsiteX0" fmla="*/ 0 w 2665841"/>
              <a:gd name="connsiteY0" fmla="*/ 1237667 h 1237667"/>
              <a:gd name="connsiteX1" fmla="*/ 57150 w 2665841"/>
              <a:gd name="connsiteY1" fmla="*/ 1212267 h 1237667"/>
              <a:gd name="connsiteX2" fmla="*/ 120650 w 2665841"/>
              <a:gd name="connsiteY2" fmla="*/ 1212267 h 1237667"/>
              <a:gd name="connsiteX3" fmla="*/ 161925 w 2665841"/>
              <a:gd name="connsiteY3" fmla="*/ 1205917 h 1237667"/>
              <a:gd name="connsiteX4" fmla="*/ 244475 w 2665841"/>
              <a:gd name="connsiteY4" fmla="*/ 1180517 h 1237667"/>
              <a:gd name="connsiteX5" fmla="*/ 349250 w 2665841"/>
              <a:gd name="connsiteY5" fmla="*/ 1161467 h 1237667"/>
              <a:gd name="connsiteX6" fmla="*/ 422275 w 2665841"/>
              <a:gd name="connsiteY6" fmla="*/ 1126542 h 1237667"/>
              <a:gd name="connsiteX7" fmla="*/ 511175 w 2665841"/>
              <a:gd name="connsiteY7" fmla="*/ 1094792 h 1237667"/>
              <a:gd name="connsiteX8" fmla="*/ 600075 w 2665841"/>
              <a:gd name="connsiteY8" fmla="*/ 1072567 h 1237667"/>
              <a:gd name="connsiteX9" fmla="*/ 650875 w 2665841"/>
              <a:gd name="connsiteY9" fmla="*/ 1047167 h 1237667"/>
              <a:gd name="connsiteX10" fmla="*/ 736600 w 2665841"/>
              <a:gd name="connsiteY10" fmla="*/ 1012242 h 1237667"/>
              <a:gd name="connsiteX11" fmla="*/ 777875 w 2665841"/>
              <a:gd name="connsiteY11" fmla="*/ 999542 h 1237667"/>
              <a:gd name="connsiteX12" fmla="*/ 828675 w 2665841"/>
              <a:gd name="connsiteY12" fmla="*/ 983667 h 1237667"/>
              <a:gd name="connsiteX13" fmla="*/ 898525 w 2665841"/>
              <a:gd name="connsiteY13" fmla="*/ 967792 h 1237667"/>
              <a:gd name="connsiteX14" fmla="*/ 946150 w 2665841"/>
              <a:gd name="connsiteY14" fmla="*/ 948742 h 1237667"/>
              <a:gd name="connsiteX15" fmla="*/ 977900 w 2665841"/>
              <a:gd name="connsiteY15" fmla="*/ 913817 h 1237667"/>
              <a:gd name="connsiteX16" fmla="*/ 1012825 w 2665841"/>
              <a:gd name="connsiteY16" fmla="*/ 875717 h 1237667"/>
              <a:gd name="connsiteX17" fmla="*/ 1076325 w 2665841"/>
              <a:gd name="connsiteY17" fmla="*/ 872542 h 1237667"/>
              <a:gd name="connsiteX18" fmla="*/ 1146175 w 2665841"/>
              <a:gd name="connsiteY18" fmla="*/ 863017 h 1237667"/>
              <a:gd name="connsiteX19" fmla="*/ 1168400 w 2665841"/>
              <a:gd name="connsiteY19" fmla="*/ 834442 h 1237667"/>
              <a:gd name="connsiteX20" fmla="*/ 1181100 w 2665841"/>
              <a:gd name="connsiteY20" fmla="*/ 793167 h 1237667"/>
              <a:gd name="connsiteX21" fmla="*/ 1200150 w 2665841"/>
              <a:gd name="connsiteY21" fmla="*/ 770942 h 1237667"/>
              <a:gd name="connsiteX22" fmla="*/ 1244600 w 2665841"/>
              <a:gd name="connsiteY22" fmla="*/ 758242 h 1237667"/>
              <a:gd name="connsiteX23" fmla="*/ 1285875 w 2665841"/>
              <a:gd name="connsiteY23" fmla="*/ 688392 h 1237667"/>
              <a:gd name="connsiteX24" fmla="*/ 1343025 w 2665841"/>
              <a:gd name="connsiteY24" fmla="*/ 675692 h 1237667"/>
              <a:gd name="connsiteX25" fmla="*/ 1441450 w 2665841"/>
              <a:gd name="connsiteY25" fmla="*/ 650292 h 1237667"/>
              <a:gd name="connsiteX26" fmla="*/ 1565275 w 2665841"/>
              <a:gd name="connsiteY26" fmla="*/ 624892 h 1237667"/>
              <a:gd name="connsiteX27" fmla="*/ 1638300 w 2665841"/>
              <a:gd name="connsiteY27" fmla="*/ 599492 h 1237667"/>
              <a:gd name="connsiteX28" fmla="*/ 1689100 w 2665841"/>
              <a:gd name="connsiteY28" fmla="*/ 612192 h 1237667"/>
              <a:gd name="connsiteX29" fmla="*/ 1774825 w 2665841"/>
              <a:gd name="connsiteY29" fmla="*/ 612192 h 1237667"/>
              <a:gd name="connsiteX30" fmla="*/ 1822450 w 2665841"/>
              <a:gd name="connsiteY30" fmla="*/ 589967 h 1237667"/>
              <a:gd name="connsiteX31" fmla="*/ 1863725 w 2665841"/>
              <a:gd name="connsiteY31" fmla="*/ 558217 h 1237667"/>
              <a:gd name="connsiteX32" fmla="*/ 1892300 w 2665841"/>
              <a:gd name="connsiteY32" fmla="*/ 523292 h 1237667"/>
              <a:gd name="connsiteX33" fmla="*/ 1901825 w 2665841"/>
              <a:gd name="connsiteY33" fmla="*/ 475667 h 1237667"/>
              <a:gd name="connsiteX34" fmla="*/ 1939925 w 2665841"/>
              <a:gd name="connsiteY34" fmla="*/ 437567 h 1237667"/>
              <a:gd name="connsiteX35" fmla="*/ 2012950 w 2665841"/>
              <a:gd name="connsiteY35" fmla="*/ 383592 h 1237667"/>
              <a:gd name="connsiteX36" fmla="*/ 2070100 w 2665841"/>
              <a:gd name="connsiteY36" fmla="*/ 335967 h 1237667"/>
              <a:gd name="connsiteX37" fmla="*/ 2111375 w 2665841"/>
              <a:gd name="connsiteY37" fmla="*/ 288342 h 1237667"/>
              <a:gd name="connsiteX38" fmla="*/ 2178050 w 2665841"/>
              <a:gd name="connsiteY38" fmla="*/ 221667 h 1237667"/>
              <a:gd name="connsiteX39" fmla="*/ 2219325 w 2665841"/>
              <a:gd name="connsiteY39" fmla="*/ 174042 h 1237667"/>
              <a:gd name="connsiteX40" fmla="*/ 2251075 w 2665841"/>
              <a:gd name="connsiteY40" fmla="*/ 139117 h 1237667"/>
              <a:gd name="connsiteX41" fmla="*/ 2282825 w 2665841"/>
              <a:gd name="connsiteY41" fmla="*/ 104192 h 1237667"/>
              <a:gd name="connsiteX42" fmla="*/ 2352675 w 2665841"/>
              <a:gd name="connsiteY42" fmla="*/ 53392 h 1237667"/>
              <a:gd name="connsiteX43" fmla="*/ 2413000 w 2665841"/>
              <a:gd name="connsiteY43" fmla="*/ 34342 h 1237667"/>
              <a:gd name="connsiteX44" fmla="*/ 2486025 w 2665841"/>
              <a:gd name="connsiteY44" fmla="*/ 24817 h 1237667"/>
              <a:gd name="connsiteX45" fmla="*/ 2555875 w 2665841"/>
              <a:gd name="connsiteY45" fmla="*/ 34342 h 1237667"/>
              <a:gd name="connsiteX46" fmla="*/ 2665841 w 2665841"/>
              <a:gd name="connsiteY46" fmla="*/ 0 h 1237667"/>
              <a:gd name="connsiteX0" fmla="*/ 450559 w 2627450"/>
              <a:gd name="connsiteY0" fmla="*/ 1093734 h 1221286"/>
              <a:gd name="connsiteX1" fmla="*/ 18759 w 2627450"/>
              <a:gd name="connsiteY1" fmla="*/ 1212267 h 1221286"/>
              <a:gd name="connsiteX2" fmla="*/ 82259 w 2627450"/>
              <a:gd name="connsiteY2" fmla="*/ 1212267 h 1221286"/>
              <a:gd name="connsiteX3" fmla="*/ 123534 w 2627450"/>
              <a:gd name="connsiteY3" fmla="*/ 1205917 h 1221286"/>
              <a:gd name="connsiteX4" fmla="*/ 206084 w 2627450"/>
              <a:gd name="connsiteY4" fmla="*/ 1180517 h 1221286"/>
              <a:gd name="connsiteX5" fmla="*/ 310859 w 2627450"/>
              <a:gd name="connsiteY5" fmla="*/ 1161467 h 1221286"/>
              <a:gd name="connsiteX6" fmla="*/ 383884 w 2627450"/>
              <a:gd name="connsiteY6" fmla="*/ 1126542 h 1221286"/>
              <a:gd name="connsiteX7" fmla="*/ 472784 w 2627450"/>
              <a:gd name="connsiteY7" fmla="*/ 1094792 h 1221286"/>
              <a:gd name="connsiteX8" fmla="*/ 561684 w 2627450"/>
              <a:gd name="connsiteY8" fmla="*/ 1072567 h 1221286"/>
              <a:gd name="connsiteX9" fmla="*/ 612484 w 2627450"/>
              <a:gd name="connsiteY9" fmla="*/ 1047167 h 1221286"/>
              <a:gd name="connsiteX10" fmla="*/ 698209 w 2627450"/>
              <a:gd name="connsiteY10" fmla="*/ 1012242 h 1221286"/>
              <a:gd name="connsiteX11" fmla="*/ 739484 w 2627450"/>
              <a:gd name="connsiteY11" fmla="*/ 999542 h 1221286"/>
              <a:gd name="connsiteX12" fmla="*/ 790284 w 2627450"/>
              <a:gd name="connsiteY12" fmla="*/ 983667 h 1221286"/>
              <a:gd name="connsiteX13" fmla="*/ 860134 w 2627450"/>
              <a:gd name="connsiteY13" fmla="*/ 967792 h 1221286"/>
              <a:gd name="connsiteX14" fmla="*/ 907759 w 2627450"/>
              <a:gd name="connsiteY14" fmla="*/ 948742 h 1221286"/>
              <a:gd name="connsiteX15" fmla="*/ 939509 w 2627450"/>
              <a:gd name="connsiteY15" fmla="*/ 913817 h 1221286"/>
              <a:gd name="connsiteX16" fmla="*/ 974434 w 2627450"/>
              <a:gd name="connsiteY16" fmla="*/ 875717 h 1221286"/>
              <a:gd name="connsiteX17" fmla="*/ 1037934 w 2627450"/>
              <a:gd name="connsiteY17" fmla="*/ 872542 h 1221286"/>
              <a:gd name="connsiteX18" fmla="*/ 1107784 w 2627450"/>
              <a:gd name="connsiteY18" fmla="*/ 863017 h 1221286"/>
              <a:gd name="connsiteX19" fmla="*/ 1130009 w 2627450"/>
              <a:gd name="connsiteY19" fmla="*/ 834442 h 1221286"/>
              <a:gd name="connsiteX20" fmla="*/ 1142709 w 2627450"/>
              <a:gd name="connsiteY20" fmla="*/ 793167 h 1221286"/>
              <a:gd name="connsiteX21" fmla="*/ 1161759 w 2627450"/>
              <a:gd name="connsiteY21" fmla="*/ 770942 h 1221286"/>
              <a:gd name="connsiteX22" fmla="*/ 1206209 w 2627450"/>
              <a:gd name="connsiteY22" fmla="*/ 758242 h 1221286"/>
              <a:gd name="connsiteX23" fmla="*/ 1247484 w 2627450"/>
              <a:gd name="connsiteY23" fmla="*/ 688392 h 1221286"/>
              <a:gd name="connsiteX24" fmla="*/ 1304634 w 2627450"/>
              <a:gd name="connsiteY24" fmla="*/ 675692 h 1221286"/>
              <a:gd name="connsiteX25" fmla="*/ 1403059 w 2627450"/>
              <a:gd name="connsiteY25" fmla="*/ 650292 h 1221286"/>
              <a:gd name="connsiteX26" fmla="*/ 1526884 w 2627450"/>
              <a:gd name="connsiteY26" fmla="*/ 624892 h 1221286"/>
              <a:gd name="connsiteX27" fmla="*/ 1599909 w 2627450"/>
              <a:gd name="connsiteY27" fmla="*/ 599492 h 1221286"/>
              <a:gd name="connsiteX28" fmla="*/ 1650709 w 2627450"/>
              <a:gd name="connsiteY28" fmla="*/ 612192 h 1221286"/>
              <a:gd name="connsiteX29" fmla="*/ 1736434 w 2627450"/>
              <a:gd name="connsiteY29" fmla="*/ 612192 h 1221286"/>
              <a:gd name="connsiteX30" fmla="*/ 1784059 w 2627450"/>
              <a:gd name="connsiteY30" fmla="*/ 589967 h 1221286"/>
              <a:gd name="connsiteX31" fmla="*/ 1825334 w 2627450"/>
              <a:gd name="connsiteY31" fmla="*/ 558217 h 1221286"/>
              <a:gd name="connsiteX32" fmla="*/ 1853909 w 2627450"/>
              <a:gd name="connsiteY32" fmla="*/ 523292 h 1221286"/>
              <a:gd name="connsiteX33" fmla="*/ 1863434 w 2627450"/>
              <a:gd name="connsiteY33" fmla="*/ 475667 h 1221286"/>
              <a:gd name="connsiteX34" fmla="*/ 1901534 w 2627450"/>
              <a:gd name="connsiteY34" fmla="*/ 437567 h 1221286"/>
              <a:gd name="connsiteX35" fmla="*/ 1974559 w 2627450"/>
              <a:gd name="connsiteY35" fmla="*/ 383592 h 1221286"/>
              <a:gd name="connsiteX36" fmla="*/ 2031709 w 2627450"/>
              <a:gd name="connsiteY36" fmla="*/ 335967 h 1221286"/>
              <a:gd name="connsiteX37" fmla="*/ 2072984 w 2627450"/>
              <a:gd name="connsiteY37" fmla="*/ 288342 h 1221286"/>
              <a:gd name="connsiteX38" fmla="*/ 2139659 w 2627450"/>
              <a:gd name="connsiteY38" fmla="*/ 221667 h 1221286"/>
              <a:gd name="connsiteX39" fmla="*/ 2180934 w 2627450"/>
              <a:gd name="connsiteY39" fmla="*/ 174042 h 1221286"/>
              <a:gd name="connsiteX40" fmla="*/ 2212684 w 2627450"/>
              <a:gd name="connsiteY40" fmla="*/ 139117 h 1221286"/>
              <a:gd name="connsiteX41" fmla="*/ 2244434 w 2627450"/>
              <a:gd name="connsiteY41" fmla="*/ 104192 h 1221286"/>
              <a:gd name="connsiteX42" fmla="*/ 2314284 w 2627450"/>
              <a:gd name="connsiteY42" fmla="*/ 53392 h 1221286"/>
              <a:gd name="connsiteX43" fmla="*/ 2374609 w 2627450"/>
              <a:gd name="connsiteY43" fmla="*/ 34342 h 1221286"/>
              <a:gd name="connsiteX44" fmla="*/ 2447634 w 2627450"/>
              <a:gd name="connsiteY44" fmla="*/ 24817 h 1221286"/>
              <a:gd name="connsiteX45" fmla="*/ 2517484 w 2627450"/>
              <a:gd name="connsiteY45" fmla="*/ 34342 h 1221286"/>
              <a:gd name="connsiteX46" fmla="*/ 2627450 w 2627450"/>
              <a:gd name="connsiteY46" fmla="*/ 0 h 1221286"/>
              <a:gd name="connsiteX0" fmla="*/ 450559 w 2627450"/>
              <a:gd name="connsiteY0" fmla="*/ 1093734 h 1221286"/>
              <a:gd name="connsiteX1" fmla="*/ 18759 w 2627450"/>
              <a:gd name="connsiteY1" fmla="*/ 1212267 h 1221286"/>
              <a:gd name="connsiteX2" fmla="*/ 82259 w 2627450"/>
              <a:gd name="connsiteY2" fmla="*/ 1212267 h 1221286"/>
              <a:gd name="connsiteX3" fmla="*/ 123534 w 2627450"/>
              <a:gd name="connsiteY3" fmla="*/ 1205917 h 1221286"/>
              <a:gd name="connsiteX4" fmla="*/ 206084 w 2627450"/>
              <a:gd name="connsiteY4" fmla="*/ 1180517 h 1221286"/>
              <a:gd name="connsiteX5" fmla="*/ 310859 w 2627450"/>
              <a:gd name="connsiteY5" fmla="*/ 1161467 h 1221286"/>
              <a:gd name="connsiteX6" fmla="*/ 383884 w 2627450"/>
              <a:gd name="connsiteY6" fmla="*/ 1126542 h 1221286"/>
              <a:gd name="connsiteX7" fmla="*/ 472784 w 2627450"/>
              <a:gd name="connsiteY7" fmla="*/ 1094792 h 1221286"/>
              <a:gd name="connsiteX8" fmla="*/ 561684 w 2627450"/>
              <a:gd name="connsiteY8" fmla="*/ 1072567 h 1221286"/>
              <a:gd name="connsiteX9" fmla="*/ 612484 w 2627450"/>
              <a:gd name="connsiteY9" fmla="*/ 1047167 h 1221286"/>
              <a:gd name="connsiteX10" fmla="*/ 698209 w 2627450"/>
              <a:gd name="connsiteY10" fmla="*/ 1012242 h 1221286"/>
              <a:gd name="connsiteX11" fmla="*/ 739484 w 2627450"/>
              <a:gd name="connsiteY11" fmla="*/ 999542 h 1221286"/>
              <a:gd name="connsiteX12" fmla="*/ 790284 w 2627450"/>
              <a:gd name="connsiteY12" fmla="*/ 983667 h 1221286"/>
              <a:gd name="connsiteX13" fmla="*/ 860134 w 2627450"/>
              <a:gd name="connsiteY13" fmla="*/ 967792 h 1221286"/>
              <a:gd name="connsiteX14" fmla="*/ 907759 w 2627450"/>
              <a:gd name="connsiteY14" fmla="*/ 948742 h 1221286"/>
              <a:gd name="connsiteX15" fmla="*/ 939509 w 2627450"/>
              <a:gd name="connsiteY15" fmla="*/ 913817 h 1221286"/>
              <a:gd name="connsiteX16" fmla="*/ 1037934 w 2627450"/>
              <a:gd name="connsiteY16" fmla="*/ 872542 h 1221286"/>
              <a:gd name="connsiteX17" fmla="*/ 1107784 w 2627450"/>
              <a:gd name="connsiteY17" fmla="*/ 863017 h 1221286"/>
              <a:gd name="connsiteX18" fmla="*/ 1130009 w 2627450"/>
              <a:gd name="connsiteY18" fmla="*/ 834442 h 1221286"/>
              <a:gd name="connsiteX19" fmla="*/ 1142709 w 2627450"/>
              <a:gd name="connsiteY19" fmla="*/ 793167 h 1221286"/>
              <a:gd name="connsiteX20" fmla="*/ 1161759 w 2627450"/>
              <a:gd name="connsiteY20" fmla="*/ 770942 h 1221286"/>
              <a:gd name="connsiteX21" fmla="*/ 1206209 w 2627450"/>
              <a:gd name="connsiteY21" fmla="*/ 758242 h 1221286"/>
              <a:gd name="connsiteX22" fmla="*/ 1247484 w 2627450"/>
              <a:gd name="connsiteY22" fmla="*/ 688392 h 1221286"/>
              <a:gd name="connsiteX23" fmla="*/ 1304634 w 2627450"/>
              <a:gd name="connsiteY23" fmla="*/ 675692 h 1221286"/>
              <a:gd name="connsiteX24" fmla="*/ 1403059 w 2627450"/>
              <a:gd name="connsiteY24" fmla="*/ 650292 h 1221286"/>
              <a:gd name="connsiteX25" fmla="*/ 1526884 w 2627450"/>
              <a:gd name="connsiteY25" fmla="*/ 624892 h 1221286"/>
              <a:gd name="connsiteX26" fmla="*/ 1599909 w 2627450"/>
              <a:gd name="connsiteY26" fmla="*/ 599492 h 1221286"/>
              <a:gd name="connsiteX27" fmla="*/ 1650709 w 2627450"/>
              <a:gd name="connsiteY27" fmla="*/ 612192 h 1221286"/>
              <a:gd name="connsiteX28" fmla="*/ 1736434 w 2627450"/>
              <a:gd name="connsiteY28" fmla="*/ 612192 h 1221286"/>
              <a:gd name="connsiteX29" fmla="*/ 1784059 w 2627450"/>
              <a:gd name="connsiteY29" fmla="*/ 589967 h 1221286"/>
              <a:gd name="connsiteX30" fmla="*/ 1825334 w 2627450"/>
              <a:gd name="connsiteY30" fmla="*/ 558217 h 1221286"/>
              <a:gd name="connsiteX31" fmla="*/ 1853909 w 2627450"/>
              <a:gd name="connsiteY31" fmla="*/ 523292 h 1221286"/>
              <a:gd name="connsiteX32" fmla="*/ 1863434 w 2627450"/>
              <a:gd name="connsiteY32" fmla="*/ 475667 h 1221286"/>
              <a:gd name="connsiteX33" fmla="*/ 1901534 w 2627450"/>
              <a:gd name="connsiteY33" fmla="*/ 437567 h 1221286"/>
              <a:gd name="connsiteX34" fmla="*/ 1974559 w 2627450"/>
              <a:gd name="connsiteY34" fmla="*/ 383592 h 1221286"/>
              <a:gd name="connsiteX35" fmla="*/ 2031709 w 2627450"/>
              <a:gd name="connsiteY35" fmla="*/ 335967 h 1221286"/>
              <a:gd name="connsiteX36" fmla="*/ 2072984 w 2627450"/>
              <a:gd name="connsiteY36" fmla="*/ 288342 h 1221286"/>
              <a:gd name="connsiteX37" fmla="*/ 2139659 w 2627450"/>
              <a:gd name="connsiteY37" fmla="*/ 221667 h 1221286"/>
              <a:gd name="connsiteX38" fmla="*/ 2180934 w 2627450"/>
              <a:gd name="connsiteY38" fmla="*/ 174042 h 1221286"/>
              <a:gd name="connsiteX39" fmla="*/ 2212684 w 2627450"/>
              <a:gd name="connsiteY39" fmla="*/ 139117 h 1221286"/>
              <a:gd name="connsiteX40" fmla="*/ 2244434 w 2627450"/>
              <a:gd name="connsiteY40" fmla="*/ 104192 h 1221286"/>
              <a:gd name="connsiteX41" fmla="*/ 2314284 w 2627450"/>
              <a:gd name="connsiteY41" fmla="*/ 53392 h 1221286"/>
              <a:gd name="connsiteX42" fmla="*/ 2374609 w 2627450"/>
              <a:gd name="connsiteY42" fmla="*/ 34342 h 1221286"/>
              <a:gd name="connsiteX43" fmla="*/ 2447634 w 2627450"/>
              <a:gd name="connsiteY43" fmla="*/ 24817 h 1221286"/>
              <a:gd name="connsiteX44" fmla="*/ 2517484 w 2627450"/>
              <a:gd name="connsiteY44" fmla="*/ 34342 h 1221286"/>
              <a:gd name="connsiteX45" fmla="*/ 2627450 w 2627450"/>
              <a:gd name="connsiteY45" fmla="*/ 0 h 1221286"/>
              <a:gd name="connsiteX0" fmla="*/ 450559 w 2627450"/>
              <a:gd name="connsiteY0" fmla="*/ 1093734 h 1221286"/>
              <a:gd name="connsiteX1" fmla="*/ 18759 w 2627450"/>
              <a:gd name="connsiteY1" fmla="*/ 1212267 h 1221286"/>
              <a:gd name="connsiteX2" fmla="*/ 82259 w 2627450"/>
              <a:gd name="connsiteY2" fmla="*/ 1212267 h 1221286"/>
              <a:gd name="connsiteX3" fmla="*/ 123534 w 2627450"/>
              <a:gd name="connsiteY3" fmla="*/ 1205917 h 1221286"/>
              <a:gd name="connsiteX4" fmla="*/ 206084 w 2627450"/>
              <a:gd name="connsiteY4" fmla="*/ 1180517 h 1221286"/>
              <a:gd name="connsiteX5" fmla="*/ 310859 w 2627450"/>
              <a:gd name="connsiteY5" fmla="*/ 1161467 h 1221286"/>
              <a:gd name="connsiteX6" fmla="*/ 472784 w 2627450"/>
              <a:gd name="connsiteY6" fmla="*/ 1094792 h 1221286"/>
              <a:gd name="connsiteX7" fmla="*/ 561684 w 2627450"/>
              <a:gd name="connsiteY7" fmla="*/ 1072567 h 1221286"/>
              <a:gd name="connsiteX8" fmla="*/ 612484 w 2627450"/>
              <a:gd name="connsiteY8" fmla="*/ 1047167 h 1221286"/>
              <a:gd name="connsiteX9" fmla="*/ 698209 w 2627450"/>
              <a:gd name="connsiteY9" fmla="*/ 1012242 h 1221286"/>
              <a:gd name="connsiteX10" fmla="*/ 739484 w 2627450"/>
              <a:gd name="connsiteY10" fmla="*/ 999542 h 1221286"/>
              <a:gd name="connsiteX11" fmla="*/ 790284 w 2627450"/>
              <a:gd name="connsiteY11" fmla="*/ 983667 h 1221286"/>
              <a:gd name="connsiteX12" fmla="*/ 860134 w 2627450"/>
              <a:gd name="connsiteY12" fmla="*/ 967792 h 1221286"/>
              <a:gd name="connsiteX13" fmla="*/ 907759 w 2627450"/>
              <a:gd name="connsiteY13" fmla="*/ 948742 h 1221286"/>
              <a:gd name="connsiteX14" fmla="*/ 939509 w 2627450"/>
              <a:gd name="connsiteY14" fmla="*/ 913817 h 1221286"/>
              <a:gd name="connsiteX15" fmla="*/ 1037934 w 2627450"/>
              <a:gd name="connsiteY15" fmla="*/ 872542 h 1221286"/>
              <a:gd name="connsiteX16" fmla="*/ 1107784 w 2627450"/>
              <a:gd name="connsiteY16" fmla="*/ 863017 h 1221286"/>
              <a:gd name="connsiteX17" fmla="*/ 1130009 w 2627450"/>
              <a:gd name="connsiteY17" fmla="*/ 834442 h 1221286"/>
              <a:gd name="connsiteX18" fmla="*/ 1142709 w 2627450"/>
              <a:gd name="connsiteY18" fmla="*/ 793167 h 1221286"/>
              <a:gd name="connsiteX19" fmla="*/ 1161759 w 2627450"/>
              <a:gd name="connsiteY19" fmla="*/ 770942 h 1221286"/>
              <a:gd name="connsiteX20" fmla="*/ 1206209 w 2627450"/>
              <a:gd name="connsiteY20" fmla="*/ 758242 h 1221286"/>
              <a:gd name="connsiteX21" fmla="*/ 1247484 w 2627450"/>
              <a:gd name="connsiteY21" fmla="*/ 688392 h 1221286"/>
              <a:gd name="connsiteX22" fmla="*/ 1304634 w 2627450"/>
              <a:gd name="connsiteY22" fmla="*/ 675692 h 1221286"/>
              <a:gd name="connsiteX23" fmla="*/ 1403059 w 2627450"/>
              <a:gd name="connsiteY23" fmla="*/ 650292 h 1221286"/>
              <a:gd name="connsiteX24" fmla="*/ 1526884 w 2627450"/>
              <a:gd name="connsiteY24" fmla="*/ 624892 h 1221286"/>
              <a:gd name="connsiteX25" fmla="*/ 1599909 w 2627450"/>
              <a:gd name="connsiteY25" fmla="*/ 599492 h 1221286"/>
              <a:gd name="connsiteX26" fmla="*/ 1650709 w 2627450"/>
              <a:gd name="connsiteY26" fmla="*/ 612192 h 1221286"/>
              <a:gd name="connsiteX27" fmla="*/ 1736434 w 2627450"/>
              <a:gd name="connsiteY27" fmla="*/ 612192 h 1221286"/>
              <a:gd name="connsiteX28" fmla="*/ 1784059 w 2627450"/>
              <a:gd name="connsiteY28" fmla="*/ 589967 h 1221286"/>
              <a:gd name="connsiteX29" fmla="*/ 1825334 w 2627450"/>
              <a:gd name="connsiteY29" fmla="*/ 558217 h 1221286"/>
              <a:gd name="connsiteX30" fmla="*/ 1853909 w 2627450"/>
              <a:gd name="connsiteY30" fmla="*/ 523292 h 1221286"/>
              <a:gd name="connsiteX31" fmla="*/ 1863434 w 2627450"/>
              <a:gd name="connsiteY31" fmla="*/ 475667 h 1221286"/>
              <a:gd name="connsiteX32" fmla="*/ 1901534 w 2627450"/>
              <a:gd name="connsiteY32" fmla="*/ 437567 h 1221286"/>
              <a:gd name="connsiteX33" fmla="*/ 1974559 w 2627450"/>
              <a:gd name="connsiteY33" fmla="*/ 383592 h 1221286"/>
              <a:gd name="connsiteX34" fmla="*/ 2031709 w 2627450"/>
              <a:gd name="connsiteY34" fmla="*/ 335967 h 1221286"/>
              <a:gd name="connsiteX35" fmla="*/ 2072984 w 2627450"/>
              <a:gd name="connsiteY35" fmla="*/ 288342 h 1221286"/>
              <a:gd name="connsiteX36" fmla="*/ 2139659 w 2627450"/>
              <a:gd name="connsiteY36" fmla="*/ 221667 h 1221286"/>
              <a:gd name="connsiteX37" fmla="*/ 2180934 w 2627450"/>
              <a:gd name="connsiteY37" fmla="*/ 174042 h 1221286"/>
              <a:gd name="connsiteX38" fmla="*/ 2212684 w 2627450"/>
              <a:gd name="connsiteY38" fmla="*/ 139117 h 1221286"/>
              <a:gd name="connsiteX39" fmla="*/ 2244434 w 2627450"/>
              <a:gd name="connsiteY39" fmla="*/ 104192 h 1221286"/>
              <a:gd name="connsiteX40" fmla="*/ 2314284 w 2627450"/>
              <a:gd name="connsiteY40" fmla="*/ 53392 h 1221286"/>
              <a:gd name="connsiteX41" fmla="*/ 2374609 w 2627450"/>
              <a:gd name="connsiteY41" fmla="*/ 34342 h 1221286"/>
              <a:gd name="connsiteX42" fmla="*/ 2447634 w 2627450"/>
              <a:gd name="connsiteY42" fmla="*/ 24817 h 1221286"/>
              <a:gd name="connsiteX43" fmla="*/ 2517484 w 2627450"/>
              <a:gd name="connsiteY43" fmla="*/ 34342 h 1221286"/>
              <a:gd name="connsiteX44" fmla="*/ 2627450 w 2627450"/>
              <a:gd name="connsiteY44" fmla="*/ 0 h 1221286"/>
              <a:gd name="connsiteX0" fmla="*/ 450559 w 2627450"/>
              <a:gd name="connsiteY0" fmla="*/ 1093734 h 1221286"/>
              <a:gd name="connsiteX1" fmla="*/ 18759 w 2627450"/>
              <a:gd name="connsiteY1" fmla="*/ 1212267 h 1221286"/>
              <a:gd name="connsiteX2" fmla="*/ 82259 w 2627450"/>
              <a:gd name="connsiteY2" fmla="*/ 1212267 h 1221286"/>
              <a:gd name="connsiteX3" fmla="*/ 123534 w 2627450"/>
              <a:gd name="connsiteY3" fmla="*/ 1205917 h 1221286"/>
              <a:gd name="connsiteX4" fmla="*/ 206084 w 2627450"/>
              <a:gd name="connsiteY4" fmla="*/ 1180517 h 1221286"/>
              <a:gd name="connsiteX5" fmla="*/ 472784 w 2627450"/>
              <a:gd name="connsiteY5" fmla="*/ 1094792 h 1221286"/>
              <a:gd name="connsiteX6" fmla="*/ 561684 w 2627450"/>
              <a:gd name="connsiteY6" fmla="*/ 1072567 h 1221286"/>
              <a:gd name="connsiteX7" fmla="*/ 612484 w 2627450"/>
              <a:gd name="connsiteY7" fmla="*/ 1047167 h 1221286"/>
              <a:gd name="connsiteX8" fmla="*/ 698209 w 2627450"/>
              <a:gd name="connsiteY8" fmla="*/ 1012242 h 1221286"/>
              <a:gd name="connsiteX9" fmla="*/ 739484 w 2627450"/>
              <a:gd name="connsiteY9" fmla="*/ 999542 h 1221286"/>
              <a:gd name="connsiteX10" fmla="*/ 790284 w 2627450"/>
              <a:gd name="connsiteY10" fmla="*/ 983667 h 1221286"/>
              <a:gd name="connsiteX11" fmla="*/ 860134 w 2627450"/>
              <a:gd name="connsiteY11" fmla="*/ 967792 h 1221286"/>
              <a:gd name="connsiteX12" fmla="*/ 907759 w 2627450"/>
              <a:gd name="connsiteY12" fmla="*/ 948742 h 1221286"/>
              <a:gd name="connsiteX13" fmla="*/ 939509 w 2627450"/>
              <a:gd name="connsiteY13" fmla="*/ 913817 h 1221286"/>
              <a:gd name="connsiteX14" fmla="*/ 1037934 w 2627450"/>
              <a:gd name="connsiteY14" fmla="*/ 872542 h 1221286"/>
              <a:gd name="connsiteX15" fmla="*/ 1107784 w 2627450"/>
              <a:gd name="connsiteY15" fmla="*/ 863017 h 1221286"/>
              <a:gd name="connsiteX16" fmla="*/ 1130009 w 2627450"/>
              <a:gd name="connsiteY16" fmla="*/ 834442 h 1221286"/>
              <a:gd name="connsiteX17" fmla="*/ 1142709 w 2627450"/>
              <a:gd name="connsiteY17" fmla="*/ 793167 h 1221286"/>
              <a:gd name="connsiteX18" fmla="*/ 1161759 w 2627450"/>
              <a:gd name="connsiteY18" fmla="*/ 770942 h 1221286"/>
              <a:gd name="connsiteX19" fmla="*/ 1206209 w 2627450"/>
              <a:gd name="connsiteY19" fmla="*/ 758242 h 1221286"/>
              <a:gd name="connsiteX20" fmla="*/ 1247484 w 2627450"/>
              <a:gd name="connsiteY20" fmla="*/ 688392 h 1221286"/>
              <a:gd name="connsiteX21" fmla="*/ 1304634 w 2627450"/>
              <a:gd name="connsiteY21" fmla="*/ 675692 h 1221286"/>
              <a:gd name="connsiteX22" fmla="*/ 1403059 w 2627450"/>
              <a:gd name="connsiteY22" fmla="*/ 650292 h 1221286"/>
              <a:gd name="connsiteX23" fmla="*/ 1526884 w 2627450"/>
              <a:gd name="connsiteY23" fmla="*/ 624892 h 1221286"/>
              <a:gd name="connsiteX24" fmla="*/ 1599909 w 2627450"/>
              <a:gd name="connsiteY24" fmla="*/ 599492 h 1221286"/>
              <a:gd name="connsiteX25" fmla="*/ 1650709 w 2627450"/>
              <a:gd name="connsiteY25" fmla="*/ 612192 h 1221286"/>
              <a:gd name="connsiteX26" fmla="*/ 1736434 w 2627450"/>
              <a:gd name="connsiteY26" fmla="*/ 612192 h 1221286"/>
              <a:gd name="connsiteX27" fmla="*/ 1784059 w 2627450"/>
              <a:gd name="connsiteY27" fmla="*/ 589967 h 1221286"/>
              <a:gd name="connsiteX28" fmla="*/ 1825334 w 2627450"/>
              <a:gd name="connsiteY28" fmla="*/ 558217 h 1221286"/>
              <a:gd name="connsiteX29" fmla="*/ 1853909 w 2627450"/>
              <a:gd name="connsiteY29" fmla="*/ 523292 h 1221286"/>
              <a:gd name="connsiteX30" fmla="*/ 1863434 w 2627450"/>
              <a:gd name="connsiteY30" fmla="*/ 475667 h 1221286"/>
              <a:gd name="connsiteX31" fmla="*/ 1901534 w 2627450"/>
              <a:gd name="connsiteY31" fmla="*/ 437567 h 1221286"/>
              <a:gd name="connsiteX32" fmla="*/ 1974559 w 2627450"/>
              <a:gd name="connsiteY32" fmla="*/ 383592 h 1221286"/>
              <a:gd name="connsiteX33" fmla="*/ 2031709 w 2627450"/>
              <a:gd name="connsiteY33" fmla="*/ 335967 h 1221286"/>
              <a:gd name="connsiteX34" fmla="*/ 2072984 w 2627450"/>
              <a:gd name="connsiteY34" fmla="*/ 288342 h 1221286"/>
              <a:gd name="connsiteX35" fmla="*/ 2139659 w 2627450"/>
              <a:gd name="connsiteY35" fmla="*/ 221667 h 1221286"/>
              <a:gd name="connsiteX36" fmla="*/ 2180934 w 2627450"/>
              <a:gd name="connsiteY36" fmla="*/ 174042 h 1221286"/>
              <a:gd name="connsiteX37" fmla="*/ 2212684 w 2627450"/>
              <a:gd name="connsiteY37" fmla="*/ 139117 h 1221286"/>
              <a:gd name="connsiteX38" fmla="*/ 2244434 w 2627450"/>
              <a:gd name="connsiteY38" fmla="*/ 104192 h 1221286"/>
              <a:gd name="connsiteX39" fmla="*/ 2314284 w 2627450"/>
              <a:gd name="connsiteY39" fmla="*/ 53392 h 1221286"/>
              <a:gd name="connsiteX40" fmla="*/ 2374609 w 2627450"/>
              <a:gd name="connsiteY40" fmla="*/ 34342 h 1221286"/>
              <a:gd name="connsiteX41" fmla="*/ 2447634 w 2627450"/>
              <a:gd name="connsiteY41" fmla="*/ 24817 h 1221286"/>
              <a:gd name="connsiteX42" fmla="*/ 2517484 w 2627450"/>
              <a:gd name="connsiteY42" fmla="*/ 34342 h 1221286"/>
              <a:gd name="connsiteX43" fmla="*/ 2627450 w 2627450"/>
              <a:gd name="connsiteY43" fmla="*/ 0 h 1221286"/>
              <a:gd name="connsiteX0" fmla="*/ 445144 w 2622035"/>
              <a:gd name="connsiteY0" fmla="*/ 1093734 h 1220146"/>
              <a:gd name="connsiteX1" fmla="*/ 13344 w 2622035"/>
              <a:gd name="connsiteY1" fmla="*/ 1212267 h 1220146"/>
              <a:gd name="connsiteX2" fmla="*/ 118119 w 2622035"/>
              <a:gd name="connsiteY2" fmla="*/ 1205917 h 1220146"/>
              <a:gd name="connsiteX3" fmla="*/ 200669 w 2622035"/>
              <a:gd name="connsiteY3" fmla="*/ 1180517 h 1220146"/>
              <a:gd name="connsiteX4" fmla="*/ 467369 w 2622035"/>
              <a:gd name="connsiteY4" fmla="*/ 1094792 h 1220146"/>
              <a:gd name="connsiteX5" fmla="*/ 556269 w 2622035"/>
              <a:gd name="connsiteY5" fmla="*/ 1072567 h 1220146"/>
              <a:gd name="connsiteX6" fmla="*/ 607069 w 2622035"/>
              <a:gd name="connsiteY6" fmla="*/ 1047167 h 1220146"/>
              <a:gd name="connsiteX7" fmla="*/ 692794 w 2622035"/>
              <a:gd name="connsiteY7" fmla="*/ 1012242 h 1220146"/>
              <a:gd name="connsiteX8" fmla="*/ 734069 w 2622035"/>
              <a:gd name="connsiteY8" fmla="*/ 999542 h 1220146"/>
              <a:gd name="connsiteX9" fmla="*/ 784869 w 2622035"/>
              <a:gd name="connsiteY9" fmla="*/ 983667 h 1220146"/>
              <a:gd name="connsiteX10" fmla="*/ 854719 w 2622035"/>
              <a:gd name="connsiteY10" fmla="*/ 967792 h 1220146"/>
              <a:gd name="connsiteX11" fmla="*/ 902344 w 2622035"/>
              <a:gd name="connsiteY11" fmla="*/ 948742 h 1220146"/>
              <a:gd name="connsiteX12" fmla="*/ 934094 w 2622035"/>
              <a:gd name="connsiteY12" fmla="*/ 913817 h 1220146"/>
              <a:gd name="connsiteX13" fmla="*/ 1032519 w 2622035"/>
              <a:gd name="connsiteY13" fmla="*/ 872542 h 1220146"/>
              <a:gd name="connsiteX14" fmla="*/ 1102369 w 2622035"/>
              <a:gd name="connsiteY14" fmla="*/ 863017 h 1220146"/>
              <a:gd name="connsiteX15" fmla="*/ 1124594 w 2622035"/>
              <a:gd name="connsiteY15" fmla="*/ 834442 h 1220146"/>
              <a:gd name="connsiteX16" fmla="*/ 1137294 w 2622035"/>
              <a:gd name="connsiteY16" fmla="*/ 793167 h 1220146"/>
              <a:gd name="connsiteX17" fmla="*/ 1156344 w 2622035"/>
              <a:gd name="connsiteY17" fmla="*/ 770942 h 1220146"/>
              <a:gd name="connsiteX18" fmla="*/ 1200794 w 2622035"/>
              <a:gd name="connsiteY18" fmla="*/ 758242 h 1220146"/>
              <a:gd name="connsiteX19" fmla="*/ 1242069 w 2622035"/>
              <a:gd name="connsiteY19" fmla="*/ 688392 h 1220146"/>
              <a:gd name="connsiteX20" fmla="*/ 1299219 w 2622035"/>
              <a:gd name="connsiteY20" fmla="*/ 675692 h 1220146"/>
              <a:gd name="connsiteX21" fmla="*/ 1397644 w 2622035"/>
              <a:gd name="connsiteY21" fmla="*/ 650292 h 1220146"/>
              <a:gd name="connsiteX22" fmla="*/ 1521469 w 2622035"/>
              <a:gd name="connsiteY22" fmla="*/ 624892 h 1220146"/>
              <a:gd name="connsiteX23" fmla="*/ 1594494 w 2622035"/>
              <a:gd name="connsiteY23" fmla="*/ 599492 h 1220146"/>
              <a:gd name="connsiteX24" fmla="*/ 1645294 w 2622035"/>
              <a:gd name="connsiteY24" fmla="*/ 612192 h 1220146"/>
              <a:gd name="connsiteX25" fmla="*/ 1731019 w 2622035"/>
              <a:gd name="connsiteY25" fmla="*/ 612192 h 1220146"/>
              <a:gd name="connsiteX26" fmla="*/ 1778644 w 2622035"/>
              <a:gd name="connsiteY26" fmla="*/ 589967 h 1220146"/>
              <a:gd name="connsiteX27" fmla="*/ 1819919 w 2622035"/>
              <a:gd name="connsiteY27" fmla="*/ 558217 h 1220146"/>
              <a:gd name="connsiteX28" fmla="*/ 1848494 w 2622035"/>
              <a:gd name="connsiteY28" fmla="*/ 523292 h 1220146"/>
              <a:gd name="connsiteX29" fmla="*/ 1858019 w 2622035"/>
              <a:gd name="connsiteY29" fmla="*/ 475667 h 1220146"/>
              <a:gd name="connsiteX30" fmla="*/ 1896119 w 2622035"/>
              <a:gd name="connsiteY30" fmla="*/ 437567 h 1220146"/>
              <a:gd name="connsiteX31" fmla="*/ 1969144 w 2622035"/>
              <a:gd name="connsiteY31" fmla="*/ 383592 h 1220146"/>
              <a:gd name="connsiteX32" fmla="*/ 2026294 w 2622035"/>
              <a:gd name="connsiteY32" fmla="*/ 335967 h 1220146"/>
              <a:gd name="connsiteX33" fmla="*/ 2067569 w 2622035"/>
              <a:gd name="connsiteY33" fmla="*/ 288342 h 1220146"/>
              <a:gd name="connsiteX34" fmla="*/ 2134244 w 2622035"/>
              <a:gd name="connsiteY34" fmla="*/ 221667 h 1220146"/>
              <a:gd name="connsiteX35" fmla="*/ 2175519 w 2622035"/>
              <a:gd name="connsiteY35" fmla="*/ 174042 h 1220146"/>
              <a:gd name="connsiteX36" fmla="*/ 2207269 w 2622035"/>
              <a:gd name="connsiteY36" fmla="*/ 139117 h 1220146"/>
              <a:gd name="connsiteX37" fmla="*/ 2239019 w 2622035"/>
              <a:gd name="connsiteY37" fmla="*/ 104192 h 1220146"/>
              <a:gd name="connsiteX38" fmla="*/ 2308869 w 2622035"/>
              <a:gd name="connsiteY38" fmla="*/ 53392 h 1220146"/>
              <a:gd name="connsiteX39" fmla="*/ 2369194 w 2622035"/>
              <a:gd name="connsiteY39" fmla="*/ 34342 h 1220146"/>
              <a:gd name="connsiteX40" fmla="*/ 2442219 w 2622035"/>
              <a:gd name="connsiteY40" fmla="*/ 24817 h 1220146"/>
              <a:gd name="connsiteX41" fmla="*/ 2512069 w 2622035"/>
              <a:gd name="connsiteY41" fmla="*/ 34342 h 1220146"/>
              <a:gd name="connsiteX42" fmla="*/ 2622035 w 2622035"/>
              <a:gd name="connsiteY42" fmla="*/ 0 h 1220146"/>
              <a:gd name="connsiteX0" fmla="*/ 327025 w 2503916"/>
              <a:gd name="connsiteY0" fmla="*/ 1093734 h 1205917"/>
              <a:gd name="connsiteX1" fmla="*/ 0 w 2503916"/>
              <a:gd name="connsiteY1" fmla="*/ 1205917 h 1205917"/>
              <a:gd name="connsiteX2" fmla="*/ 82550 w 2503916"/>
              <a:gd name="connsiteY2" fmla="*/ 1180517 h 1205917"/>
              <a:gd name="connsiteX3" fmla="*/ 349250 w 2503916"/>
              <a:gd name="connsiteY3" fmla="*/ 1094792 h 1205917"/>
              <a:gd name="connsiteX4" fmla="*/ 438150 w 2503916"/>
              <a:gd name="connsiteY4" fmla="*/ 1072567 h 1205917"/>
              <a:gd name="connsiteX5" fmla="*/ 488950 w 2503916"/>
              <a:gd name="connsiteY5" fmla="*/ 1047167 h 1205917"/>
              <a:gd name="connsiteX6" fmla="*/ 574675 w 2503916"/>
              <a:gd name="connsiteY6" fmla="*/ 1012242 h 1205917"/>
              <a:gd name="connsiteX7" fmla="*/ 615950 w 2503916"/>
              <a:gd name="connsiteY7" fmla="*/ 999542 h 1205917"/>
              <a:gd name="connsiteX8" fmla="*/ 666750 w 2503916"/>
              <a:gd name="connsiteY8" fmla="*/ 983667 h 1205917"/>
              <a:gd name="connsiteX9" fmla="*/ 736600 w 2503916"/>
              <a:gd name="connsiteY9" fmla="*/ 967792 h 1205917"/>
              <a:gd name="connsiteX10" fmla="*/ 784225 w 2503916"/>
              <a:gd name="connsiteY10" fmla="*/ 948742 h 1205917"/>
              <a:gd name="connsiteX11" fmla="*/ 815975 w 2503916"/>
              <a:gd name="connsiteY11" fmla="*/ 913817 h 1205917"/>
              <a:gd name="connsiteX12" fmla="*/ 914400 w 2503916"/>
              <a:gd name="connsiteY12" fmla="*/ 872542 h 1205917"/>
              <a:gd name="connsiteX13" fmla="*/ 984250 w 2503916"/>
              <a:gd name="connsiteY13" fmla="*/ 863017 h 1205917"/>
              <a:gd name="connsiteX14" fmla="*/ 1006475 w 2503916"/>
              <a:gd name="connsiteY14" fmla="*/ 834442 h 1205917"/>
              <a:gd name="connsiteX15" fmla="*/ 1019175 w 2503916"/>
              <a:gd name="connsiteY15" fmla="*/ 793167 h 1205917"/>
              <a:gd name="connsiteX16" fmla="*/ 1038225 w 2503916"/>
              <a:gd name="connsiteY16" fmla="*/ 770942 h 1205917"/>
              <a:gd name="connsiteX17" fmla="*/ 1082675 w 2503916"/>
              <a:gd name="connsiteY17" fmla="*/ 758242 h 1205917"/>
              <a:gd name="connsiteX18" fmla="*/ 1123950 w 2503916"/>
              <a:gd name="connsiteY18" fmla="*/ 688392 h 1205917"/>
              <a:gd name="connsiteX19" fmla="*/ 1181100 w 2503916"/>
              <a:gd name="connsiteY19" fmla="*/ 675692 h 1205917"/>
              <a:gd name="connsiteX20" fmla="*/ 1279525 w 2503916"/>
              <a:gd name="connsiteY20" fmla="*/ 650292 h 1205917"/>
              <a:gd name="connsiteX21" fmla="*/ 1403350 w 2503916"/>
              <a:gd name="connsiteY21" fmla="*/ 624892 h 1205917"/>
              <a:gd name="connsiteX22" fmla="*/ 1476375 w 2503916"/>
              <a:gd name="connsiteY22" fmla="*/ 599492 h 1205917"/>
              <a:gd name="connsiteX23" fmla="*/ 1527175 w 2503916"/>
              <a:gd name="connsiteY23" fmla="*/ 612192 h 1205917"/>
              <a:gd name="connsiteX24" fmla="*/ 1612900 w 2503916"/>
              <a:gd name="connsiteY24" fmla="*/ 612192 h 1205917"/>
              <a:gd name="connsiteX25" fmla="*/ 1660525 w 2503916"/>
              <a:gd name="connsiteY25" fmla="*/ 589967 h 1205917"/>
              <a:gd name="connsiteX26" fmla="*/ 1701800 w 2503916"/>
              <a:gd name="connsiteY26" fmla="*/ 558217 h 1205917"/>
              <a:gd name="connsiteX27" fmla="*/ 1730375 w 2503916"/>
              <a:gd name="connsiteY27" fmla="*/ 523292 h 1205917"/>
              <a:gd name="connsiteX28" fmla="*/ 1739900 w 2503916"/>
              <a:gd name="connsiteY28" fmla="*/ 475667 h 1205917"/>
              <a:gd name="connsiteX29" fmla="*/ 1778000 w 2503916"/>
              <a:gd name="connsiteY29" fmla="*/ 437567 h 1205917"/>
              <a:gd name="connsiteX30" fmla="*/ 1851025 w 2503916"/>
              <a:gd name="connsiteY30" fmla="*/ 383592 h 1205917"/>
              <a:gd name="connsiteX31" fmla="*/ 1908175 w 2503916"/>
              <a:gd name="connsiteY31" fmla="*/ 335967 h 1205917"/>
              <a:gd name="connsiteX32" fmla="*/ 1949450 w 2503916"/>
              <a:gd name="connsiteY32" fmla="*/ 288342 h 1205917"/>
              <a:gd name="connsiteX33" fmla="*/ 2016125 w 2503916"/>
              <a:gd name="connsiteY33" fmla="*/ 221667 h 1205917"/>
              <a:gd name="connsiteX34" fmla="*/ 2057400 w 2503916"/>
              <a:gd name="connsiteY34" fmla="*/ 174042 h 1205917"/>
              <a:gd name="connsiteX35" fmla="*/ 2089150 w 2503916"/>
              <a:gd name="connsiteY35" fmla="*/ 139117 h 1205917"/>
              <a:gd name="connsiteX36" fmla="*/ 2120900 w 2503916"/>
              <a:gd name="connsiteY36" fmla="*/ 104192 h 1205917"/>
              <a:gd name="connsiteX37" fmla="*/ 2190750 w 2503916"/>
              <a:gd name="connsiteY37" fmla="*/ 53392 h 1205917"/>
              <a:gd name="connsiteX38" fmla="*/ 2251075 w 2503916"/>
              <a:gd name="connsiteY38" fmla="*/ 34342 h 1205917"/>
              <a:gd name="connsiteX39" fmla="*/ 2324100 w 2503916"/>
              <a:gd name="connsiteY39" fmla="*/ 24817 h 1205917"/>
              <a:gd name="connsiteX40" fmla="*/ 2393950 w 2503916"/>
              <a:gd name="connsiteY40" fmla="*/ 34342 h 1205917"/>
              <a:gd name="connsiteX41" fmla="*/ 2503916 w 2503916"/>
              <a:gd name="connsiteY41" fmla="*/ 0 h 1205917"/>
              <a:gd name="connsiteX0" fmla="*/ 355888 w 2532779"/>
              <a:gd name="connsiteY0" fmla="*/ 1093734 h 1212936"/>
              <a:gd name="connsiteX1" fmla="*/ 28863 w 2532779"/>
              <a:gd name="connsiteY1" fmla="*/ 1205917 h 1212936"/>
              <a:gd name="connsiteX2" fmla="*/ 25685 w 2532779"/>
              <a:gd name="connsiteY2" fmla="*/ 1198905 h 1212936"/>
              <a:gd name="connsiteX3" fmla="*/ 111413 w 2532779"/>
              <a:gd name="connsiteY3" fmla="*/ 1180517 h 1212936"/>
              <a:gd name="connsiteX4" fmla="*/ 378113 w 2532779"/>
              <a:gd name="connsiteY4" fmla="*/ 1094792 h 1212936"/>
              <a:gd name="connsiteX5" fmla="*/ 467013 w 2532779"/>
              <a:gd name="connsiteY5" fmla="*/ 1072567 h 1212936"/>
              <a:gd name="connsiteX6" fmla="*/ 517813 w 2532779"/>
              <a:gd name="connsiteY6" fmla="*/ 1047167 h 1212936"/>
              <a:gd name="connsiteX7" fmla="*/ 603538 w 2532779"/>
              <a:gd name="connsiteY7" fmla="*/ 1012242 h 1212936"/>
              <a:gd name="connsiteX8" fmla="*/ 644813 w 2532779"/>
              <a:gd name="connsiteY8" fmla="*/ 999542 h 1212936"/>
              <a:gd name="connsiteX9" fmla="*/ 695613 w 2532779"/>
              <a:gd name="connsiteY9" fmla="*/ 983667 h 1212936"/>
              <a:gd name="connsiteX10" fmla="*/ 765463 w 2532779"/>
              <a:gd name="connsiteY10" fmla="*/ 967792 h 1212936"/>
              <a:gd name="connsiteX11" fmla="*/ 813088 w 2532779"/>
              <a:gd name="connsiteY11" fmla="*/ 948742 h 1212936"/>
              <a:gd name="connsiteX12" fmla="*/ 844838 w 2532779"/>
              <a:gd name="connsiteY12" fmla="*/ 913817 h 1212936"/>
              <a:gd name="connsiteX13" fmla="*/ 943263 w 2532779"/>
              <a:gd name="connsiteY13" fmla="*/ 872542 h 1212936"/>
              <a:gd name="connsiteX14" fmla="*/ 1013113 w 2532779"/>
              <a:gd name="connsiteY14" fmla="*/ 863017 h 1212936"/>
              <a:gd name="connsiteX15" fmla="*/ 1035338 w 2532779"/>
              <a:gd name="connsiteY15" fmla="*/ 834442 h 1212936"/>
              <a:gd name="connsiteX16" fmla="*/ 1048038 w 2532779"/>
              <a:gd name="connsiteY16" fmla="*/ 793167 h 1212936"/>
              <a:gd name="connsiteX17" fmla="*/ 1067088 w 2532779"/>
              <a:gd name="connsiteY17" fmla="*/ 770942 h 1212936"/>
              <a:gd name="connsiteX18" fmla="*/ 1111538 w 2532779"/>
              <a:gd name="connsiteY18" fmla="*/ 758242 h 1212936"/>
              <a:gd name="connsiteX19" fmla="*/ 1152813 w 2532779"/>
              <a:gd name="connsiteY19" fmla="*/ 688392 h 1212936"/>
              <a:gd name="connsiteX20" fmla="*/ 1209963 w 2532779"/>
              <a:gd name="connsiteY20" fmla="*/ 675692 h 1212936"/>
              <a:gd name="connsiteX21" fmla="*/ 1308388 w 2532779"/>
              <a:gd name="connsiteY21" fmla="*/ 650292 h 1212936"/>
              <a:gd name="connsiteX22" fmla="*/ 1432213 w 2532779"/>
              <a:gd name="connsiteY22" fmla="*/ 624892 h 1212936"/>
              <a:gd name="connsiteX23" fmla="*/ 1505238 w 2532779"/>
              <a:gd name="connsiteY23" fmla="*/ 599492 h 1212936"/>
              <a:gd name="connsiteX24" fmla="*/ 1556038 w 2532779"/>
              <a:gd name="connsiteY24" fmla="*/ 612192 h 1212936"/>
              <a:gd name="connsiteX25" fmla="*/ 1641763 w 2532779"/>
              <a:gd name="connsiteY25" fmla="*/ 612192 h 1212936"/>
              <a:gd name="connsiteX26" fmla="*/ 1689388 w 2532779"/>
              <a:gd name="connsiteY26" fmla="*/ 589967 h 1212936"/>
              <a:gd name="connsiteX27" fmla="*/ 1730663 w 2532779"/>
              <a:gd name="connsiteY27" fmla="*/ 558217 h 1212936"/>
              <a:gd name="connsiteX28" fmla="*/ 1759238 w 2532779"/>
              <a:gd name="connsiteY28" fmla="*/ 523292 h 1212936"/>
              <a:gd name="connsiteX29" fmla="*/ 1768763 w 2532779"/>
              <a:gd name="connsiteY29" fmla="*/ 475667 h 1212936"/>
              <a:gd name="connsiteX30" fmla="*/ 1806863 w 2532779"/>
              <a:gd name="connsiteY30" fmla="*/ 437567 h 1212936"/>
              <a:gd name="connsiteX31" fmla="*/ 1879888 w 2532779"/>
              <a:gd name="connsiteY31" fmla="*/ 383592 h 1212936"/>
              <a:gd name="connsiteX32" fmla="*/ 1937038 w 2532779"/>
              <a:gd name="connsiteY32" fmla="*/ 335967 h 1212936"/>
              <a:gd name="connsiteX33" fmla="*/ 1978313 w 2532779"/>
              <a:gd name="connsiteY33" fmla="*/ 288342 h 1212936"/>
              <a:gd name="connsiteX34" fmla="*/ 2044988 w 2532779"/>
              <a:gd name="connsiteY34" fmla="*/ 221667 h 1212936"/>
              <a:gd name="connsiteX35" fmla="*/ 2086263 w 2532779"/>
              <a:gd name="connsiteY35" fmla="*/ 174042 h 1212936"/>
              <a:gd name="connsiteX36" fmla="*/ 2118013 w 2532779"/>
              <a:gd name="connsiteY36" fmla="*/ 139117 h 1212936"/>
              <a:gd name="connsiteX37" fmla="*/ 2149763 w 2532779"/>
              <a:gd name="connsiteY37" fmla="*/ 104192 h 1212936"/>
              <a:gd name="connsiteX38" fmla="*/ 2219613 w 2532779"/>
              <a:gd name="connsiteY38" fmla="*/ 53392 h 1212936"/>
              <a:gd name="connsiteX39" fmla="*/ 2279938 w 2532779"/>
              <a:gd name="connsiteY39" fmla="*/ 34342 h 1212936"/>
              <a:gd name="connsiteX40" fmla="*/ 2352963 w 2532779"/>
              <a:gd name="connsiteY40" fmla="*/ 24817 h 1212936"/>
              <a:gd name="connsiteX41" fmla="*/ 2422813 w 2532779"/>
              <a:gd name="connsiteY41" fmla="*/ 34342 h 1212936"/>
              <a:gd name="connsiteX42" fmla="*/ 2532779 w 2532779"/>
              <a:gd name="connsiteY42" fmla="*/ 0 h 1212936"/>
              <a:gd name="connsiteX0" fmla="*/ 371154 w 2548045"/>
              <a:gd name="connsiteY0" fmla="*/ 1093734 h 1216363"/>
              <a:gd name="connsiteX1" fmla="*/ 44129 w 2548045"/>
              <a:gd name="connsiteY1" fmla="*/ 1205917 h 1216363"/>
              <a:gd name="connsiteX2" fmla="*/ 40951 w 2548045"/>
              <a:gd name="connsiteY2" fmla="*/ 1198905 h 1216363"/>
              <a:gd name="connsiteX3" fmla="*/ 393379 w 2548045"/>
              <a:gd name="connsiteY3" fmla="*/ 1094792 h 1216363"/>
              <a:gd name="connsiteX4" fmla="*/ 482279 w 2548045"/>
              <a:gd name="connsiteY4" fmla="*/ 1072567 h 1216363"/>
              <a:gd name="connsiteX5" fmla="*/ 533079 w 2548045"/>
              <a:gd name="connsiteY5" fmla="*/ 1047167 h 1216363"/>
              <a:gd name="connsiteX6" fmla="*/ 618804 w 2548045"/>
              <a:gd name="connsiteY6" fmla="*/ 1012242 h 1216363"/>
              <a:gd name="connsiteX7" fmla="*/ 660079 w 2548045"/>
              <a:gd name="connsiteY7" fmla="*/ 999542 h 1216363"/>
              <a:gd name="connsiteX8" fmla="*/ 710879 w 2548045"/>
              <a:gd name="connsiteY8" fmla="*/ 983667 h 1216363"/>
              <a:gd name="connsiteX9" fmla="*/ 780729 w 2548045"/>
              <a:gd name="connsiteY9" fmla="*/ 967792 h 1216363"/>
              <a:gd name="connsiteX10" fmla="*/ 828354 w 2548045"/>
              <a:gd name="connsiteY10" fmla="*/ 948742 h 1216363"/>
              <a:gd name="connsiteX11" fmla="*/ 860104 w 2548045"/>
              <a:gd name="connsiteY11" fmla="*/ 913817 h 1216363"/>
              <a:gd name="connsiteX12" fmla="*/ 958529 w 2548045"/>
              <a:gd name="connsiteY12" fmla="*/ 872542 h 1216363"/>
              <a:gd name="connsiteX13" fmla="*/ 1028379 w 2548045"/>
              <a:gd name="connsiteY13" fmla="*/ 863017 h 1216363"/>
              <a:gd name="connsiteX14" fmla="*/ 1050604 w 2548045"/>
              <a:gd name="connsiteY14" fmla="*/ 834442 h 1216363"/>
              <a:gd name="connsiteX15" fmla="*/ 1063304 w 2548045"/>
              <a:gd name="connsiteY15" fmla="*/ 793167 h 1216363"/>
              <a:gd name="connsiteX16" fmla="*/ 1082354 w 2548045"/>
              <a:gd name="connsiteY16" fmla="*/ 770942 h 1216363"/>
              <a:gd name="connsiteX17" fmla="*/ 1126804 w 2548045"/>
              <a:gd name="connsiteY17" fmla="*/ 758242 h 1216363"/>
              <a:gd name="connsiteX18" fmla="*/ 1168079 w 2548045"/>
              <a:gd name="connsiteY18" fmla="*/ 688392 h 1216363"/>
              <a:gd name="connsiteX19" fmla="*/ 1225229 w 2548045"/>
              <a:gd name="connsiteY19" fmla="*/ 675692 h 1216363"/>
              <a:gd name="connsiteX20" fmla="*/ 1323654 w 2548045"/>
              <a:gd name="connsiteY20" fmla="*/ 650292 h 1216363"/>
              <a:gd name="connsiteX21" fmla="*/ 1447479 w 2548045"/>
              <a:gd name="connsiteY21" fmla="*/ 624892 h 1216363"/>
              <a:gd name="connsiteX22" fmla="*/ 1520504 w 2548045"/>
              <a:gd name="connsiteY22" fmla="*/ 599492 h 1216363"/>
              <a:gd name="connsiteX23" fmla="*/ 1571304 w 2548045"/>
              <a:gd name="connsiteY23" fmla="*/ 612192 h 1216363"/>
              <a:gd name="connsiteX24" fmla="*/ 1657029 w 2548045"/>
              <a:gd name="connsiteY24" fmla="*/ 612192 h 1216363"/>
              <a:gd name="connsiteX25" fmla="*/ 1704654 w 2548045"/>
              <a:gd name="connsiteY25" fmla="*/ 589967 h 1216363"/>
              <a:gd name="connsiteX26" fmla="*/ 1745929 w 2548045"/>
              <a:gd name="connsiteY26" fmla="*/ 558217 h 1216363"/>
              <a:gd name="connsiteX27" fmla="*/ 1774504 w 2548045"/>
              <a:gd name="connsiteY27" fmla="*/ 523292 h 1216363"/>
              <a:gd name="connsiteX28" fmla="*/ 1784029 w 2548045"/>
              <a:gd name="connsiteY28" fmla="*/ 475667 h 1216363"/>
              <a:gd name="connsiteX29" fmla="*/ 1822129 w 2548045"/>
              <a:gd name="connsiteY29" fmla="*/ 437567 h 1216363"/>
              <a:gd name="connsiteX30" fmla="*/ 1895154 w 2548045"/>
              <a:gd name="connsiteY30" fmla="*/ 383592 h 1216363"/>
              <a:gd name="connsiteX31" fmla="*/ 1952304 w 2548045"/>
              <a:gd name="connsiteY31" fmla="*/ 335967 h 1216363"/>
              <a:gd name="connsiteX32" fmla="*/ 1993579 w 2548045"/>
              <a:gd name="connsiteY32" fmla="*/ 288342 h 1216363"/>
              <a:gd name="connsiteX33" fmla="*/ 2060254 w 2548045"/>
              <a:gd name="connsiteY33" fmla="*/ 221667 h 1216363"/>
              <a:gd name="connsiteX34" fmla="*/ 2101529 w 2548045"/>
              <a:gd name="connsiteY34" fmla="*/ 174042 h 1216363"/>
              <a:gd name="connsiteX35" fmla="*/ 2133279 w 2548045"/>
              <a:gd name="connsiteY35" fmla="*/ 139117 h 1216363"/>
              <a:gd name="connsiteX36" fmla="*/ 2165029 w 2548045"/>
              <a:gd name="connsiteY36" fmla="*/ 104192 h 1216363"/>
              <a:gd name="connsiteX37" fmla="*/ 2234879 w 2548045"/>
              <a:gd name="connsiteY37" fmla="*/ 53392 h 1216363"/>
              <a:gd name="connsiteX38" fmla="*/ 2295204 w 2548045"/>
              <a:gd name="connsiteY38" fmla="*/ 34342 h 1216363"/>
              <a:gd name="connsiteX39" fmla="*/ 2368229 w 2548045"/>
              <a:gd name="connsiteY39" fmla="*/ 24817 h 1216363"/>
              <a:gd name="connsiteX40" fmla="*/ 2438079 w 2548045"/>
              <a:gd name="connsiteY40" fmla="*/ 34342 h 1216363"/>
              <a:gd name="connsiteX41" fmla="*/ 2548045 w 2548045"/>
              <a:gd name="connsiteY41" fmla="*/ 0 h 1216363"/>
              <a:gd name="connsiteX0" fmla="*/ 330203 w 2507094"/>
              <a:gd name="connsiteY0" fmla="*/ 1093734 h 1198906"/>
              <a:gd name="connsiteX1" fmla="*/ 0 w 2507094"/>
              <a:gd name="connsiteY1" fmla="*/ 1198905 h 1198906"/>
              <a:gd name="connsiteX2" fmla="*/ 352428 w 2507094"/>
              <a:gd name="connsiteY2" fmla="*/ 1094792 h 1198906"/>
              <a:gd name="connsiteX3" fmla="*/ 441328 w 2507094"/>
              <a:gd name="connsiteY3" fmla="*/ 1072567 h 1198906"/>
              <a:gd name="connsiteX4" fmla="*/ 492128 w 2507094"/>
              <a:gd name="connsiteY4" fmla="*/ 1047167 h 1198906"/>
              <a:gd name="connsiteX5" fmla="*/ 577853 w 2507094"/>
              <a:gd name="connsiteY5" fmla="*/ 1012242 h 1198906"/>
              <a:gd name="connsiteX6" fmla="*/ 619128 w 2507094"/>
              <a:gd name="connsiteY6" fmla="*/ 999542 h 1198906"/>
              <a:gd name="connsiteX7" fmla="*/ 669928 w 2507094"/>
              <a:gd name="connsiteY7" fmla="*/ 983667 h 1198906"/>
              <a:gd name="connsiteX8" fmla="*/ 739778 w 2507094"/>
              <a:gd name="connsiteY8" fmla="*/ 967792 h 1198906"/>
              <a:gd name="connsiteX9" fmla="*/ 787403 w 2507094"/>
              <a:gd name="connsiteY9" fmla="*/ 948742 h 1198906"/>
              <a:gd name="connsiteX10" fmla="*/ 819153 w 2507094"/>
              <a:gd name="connsiteY10" fmla="*/ 913817 h 1198906"/>
              <a:gd name="connsiteX11" fmla="*/ 917578 w 2507094"/>
              <a:gd name="connsiteY11" fmla="*/ 872542 h 1198906"/>
              <a:gd name="connsiteX12" fmla="*/ 987428 w 2507094"/>
              <a:gd name="connsiteY12" fmla="*/ 863017 h 1198906"/>
              <a:gd name="connsiteX13" fmla="*/ 1009653 w 2507094"/>
              <a:gd name="connsiteY13" fmla="*/ 834442 h 1198906"/>
              <a:gd name="connsiteX14" fmla="*/ 1022353 w 2507094"/>
              <a:gd name="connsiteY14" fmla="*/ 793167 h 1198906"/>
              <a:gd name="connsiteX15" fmla="*/ 1041403 w 2507094"/>
              <a:gd name="connsiteY15" fmla="*/ 770942 h 1198906"/>
              <a:gd name="connsiteX16" fmla="*/ 1085853 w 2507094"/>
              <a:gd name="connsiteY16" fmla="*/ 758242 h 1198906"/>
              <a:gd name="connsiteX17" fmla="*/ 1127128 w 2507094"/>
              <a:gd name="connsiteY17" fmla="*/ 688392 h 1198906"/>
              <a:gd name="connsiteX18" fmla="*/ 1184278 w 2507094"/>
              <a:gd name="connsiteY18" fmla="*/ 675692 h 1198906"/>
              <a:gd name="connsiteX19" fmla="*/ 1282703 w 2507094"/>
              <a:gd name="connsiteY19" fmla="*/ 650292 h 1198906"/>
              <a:gd name="connsiteX20" fmla="*/ 1406528 w 2507094"/>
              <a:gd name="connsiteY20" fmla="*/ 624892 h 1198906"/>
              <a:gd name="connsiteX21" fmla="*/ 1479553 w 2507094"/>
              <a:gd name="connsiteY21" fmla="*/ 599492 h 1198906"/>
              <a:gd name="connsiteX22" fmla="*/ 1530353 w 2507094"/>
              <a:gd name="connsiteY22" fmla="*/ 612192 h 1198906"/>
              <a:gd name="connsiteX23" fmla="*/ 1616078 w 2507094"/>
              <a:gd name="connsiteY23" fmla="*/ 612192 h 1198906"/>
              <a:gd name="connsiteX24" fmla="*/ 1663703 w 2507094"/>
              <a:gd name="connsiteY24" fmla="*/ 589967 h 1198906"/>
              <a:gd name="connsiteX25" fmla="*/ 1704978 w 2507094"/>
              <a:gd name="connsiteY25" fmla="*/ 558217 h 1198906"/>
              <a:gd name="connsiteX26" fmla="*/ 1733553 w 2507094"/>
              <a:gd name="connsiteY26" fmla="*/ 523292 h 1198906"/>
              <a:gd name="connsiteX27" fmla="*/ 1743078 w 2507094"/>
              <a:gd name="connsiteY27" fmla="*/ 475667 h 1198906"/>
              <a:gd name="connsiteX28" fmla="*/ 1781178 w 2507094"/>
              <a:gd name="connsiteY28" fmla="*/ 437567 h 1198906"/>
              <a:gd name="connsiteX29" fmla="*/ 1854203 w 2507094"/>
              <a:gd name="connsiteY29" fmla="*/ 383592 h 1198906"/>
              <a:gd name="connsiteX30" fmla="*/ 1911353 w 2507094"/>
              <a:gd name="connsiteY30" fmla="*/ 335967 h 1198906"/>
              <a:gd name="connsiteX31" fmla="*/ 1952628 w 2507094"/>
              <a:gd name="connsiteY31" fmla="*/ 288342 h 1198906"/>
              <a:gd name="connsiteX32" fmla="*/ 2019303 w 2507094"/>
              <a:gd name="connsiteY32" fmla="*/ 221667 h 1198906"/>
              <a:gd name="connsiteX33" fmla="*/ 2060578 w 2507094"/>
              <a:gd name="connsiteY33" fmla="*/ 174042 h 1198906"/>
              <a:gd name="connsiteX34" fmla="*/ 2092328 w 2507094"/>
              <a:gd name="connsiteY34" fmla="*/ 139117 h 1198906"/>
              <a:gd name="connsiteX35" fmla="*/ 2124078 w 2507094"/>
              <a:gd name="connsiteY35" fmla="*/ 104192 h 1198906"/>
              <a:gd name="connsiteX36" fmla="*/ 2193928 w 2507094"/>
              <a:gd name="connsiteY36" fmla="*/ 53392 h 1198906"/>
              <a:gd name="connsiteX37" fmla="*/ 2254253 w 2507094"/>
              <a:gd name="connsiteY37" fmla="*/ 34342 h 1198906"/>
              <a:gd name="connsiteX38" fmla="*/ 2327278 w 2507094"/>
              <a:gd name="connsiteY38" fmla="*/ 24817 h 1198906"/>
              <a:gd name="connsiteX39" fmla="*/ 2397128 w 2507094"/>
              <a:gd name="connsiteY39" fmla="*/ 34342 h 1198906"/>
              <a:gd name="connsiteX40" fmla="*/ 2507094 w 2507094"/>
              <a:gd name="connsiteY40" fmla="*/ 0 h 1198906"/>
              <a:gd name="connsiteX0" fmla="*/ 0 w 2176891"/>
              <a:gd name="connsiteY0" fmla="*/ 1093734 h 1094792"/>
              <a:gd name="connsiteX1" fmla="*/ 22225 w 2176891"/>
              <a:gd name="connsiteY1" fmla="*/ 1094792 h 1094792"/>
              <a:gd name="connsiteX2" fmla="*/ 111125 w 2176891"/>
              <a:gd name="connsiteY2" fmla="*/ 1072567 h 1094792"/>
              <a:gd name="connsiteX3" fmla="*/ 161925 w 2176891"/>
              <a:gd name="connsiteY3" fmla="*/ 1047167 h 1094792"/>
              <a:gd name="connsiteX4" fmla="*/ 247650 w 2176891"/>
              <a:gd name="connsiteY4" fmla="*/ 1012242 h 1094792"/>
              <a:gd name="connsiteX5" fmla="*/ 288925 w 2176891"/>
              <a:gd name="connsiteY5" fmla="*/ 999542 h 1094792"/>
              <a:gd name="connsiteX6" fmla="*/ 339725 w 2176891"/>
              <a:gd name="connsiteY6" fmla="*/ 983667 h 1094792"/>
              <a:gd name="connsiteX7" fmla="*/ 409575 w 2176891"/>
              <a:gd name="connsiteY7" fmla="*/ 967792 h 1094792"/>
              <a:gd name="connsiteX8" fmla="*/ 457200 w 2176891"/>
              <a:gd name="connsiteY8" fmla="*/ 948742 h 1094792"/>
              <a:gd name="connsiteX9" fmla="*/ 488950 w 2176891"/>
              <a:gd name="connsiteY9" fmla="*/ 913817 h 1094792"/>
              <a:gd name="connsiteX10" fmla="*/ 587375 w 2176891"/>
              <a:gd name="connsiteY10" fmla="*/ 872542 h 1094792"/>
              <a:gd name="connsiteX11" fmla="*/ 657225 w 2176891"/>
              <a:gd name="connsiteY11" fmla="*/ 863017 h 1094792"/>
              <a:gd name="connsiteX12" fmla="*/ 679450 w 2176891"/>
              <a:gd name="connsiteY12" fmla="*/ 834442 h 1094792"/>
              <a:gd name="connsiteX13" fmla="*/ 692150 w 2176891"/>
              <a:gd name="connsiteY13" fmla="*/ 793167 h 1094792"/>
              <a:gd name="connsiteX14" fmla="*/ 711200 w 2176891"/>
              <a:gd name="connsiteY14" fmla="*/ 770942 h 1094792"/>
              <a:gd name="connsiteX15" fmla="*/ 755650 w 2176891"/>
              <a:gd name="connsiteY15" fmla="*/ 758242 h 1094792"/>
              <a:gd name="connsiteX16" fmla="*/ 796925 w 2176891"/>
              <a:gd name="connsiteY16" fmla="*/ 688392 h 1094792"/>
              <a:gd name="connsiteX17" fmla="*/ 854075 w 2176891"/>
              <a:gd name="connsiteY17" fmla="*/ 675692 h 1094792"/>
              <a:gd name="connsiteX18" fmla="*/ 952500 w 2176891"/>
              <a:gd name="connsiteY18" fmla="*/ 650292 h 1094792"/>
              <a:gd name="connsiteX19" fmla="*/ 1076325 w 2176891"/>
              <a:gd name="connsiteY19" fmla="*/ 624892 h 1094792"/>
              <a:gd name="connsiteX20" fmla="*/ 1149350 w 2176891"/>
              <a:gd name="connsiteY20" fmla="*/ 599492 h 1094792"/>
              <a:gd name="connsiteX21" fmla="*/ 1200150 w 2176891"/>
              <a:gd name="connsiteY21" fmla="*/ 612192 h 1094792"/>
              <a:gd name="connsiteX22" fmla="*/ 1285875 w 2176891"/>
              <a:gd name="connsiteY22" fmla="*/ 612192 h 1094792"/>
              <a:gd name="connsiteX23" fmla="*/ 1333500 w 2176891"/>
              <a:gd name="connsiteY23" fmla="*/ 589967 h 1094792"/>
              <a:gd name="connsiteX24" fmla="*/ 1374775 w 2176891"/>
              <a:gd name="connsiteY24" fmla="*/ 558217 h 1094792"/>
              <a:gd name="connsiteX25" fmla="*/ 1403350 w 2176891"/>
              <a:gd name="connsiteY25" fmla="*/ 523292 h 1094792"/>
              <a:gd name="connsiteX26" fmla="*/ 1412875 w 2176891"/>
              <a:gd name="connsiteY26" fmla="*/ 475667 h 1094792"/>
              <a:gd name="connsiteX27" fmla="*/ 1450975 w 2176891"/>
              <a:gd name="connsiteY27" fmla="*/ 437567 h 1094792"/>
              <a:gd name="connsiteX28" fmla="*/ 1524000 w 2176891"/>
              <a:gd name="connsiteY28" fmla="*/ 383592 h 1094792"/>
              <a:gd name="connsiteX29" fmla="*/ 1581150 w 2176891"/>
              <a:gd name="connsiteY29" fmla="*/ 335967 h 1094792"/>
              <a:gd name="connsiteX30" fmla="*/ 1622425 w 2176891"/>
              <a:gd name="connsiteY30" fmla="*/ 288342 h 1094792"/>
              <a:gd name="connsiteX31" fmla="*/ 1689100 w 2176891"/>
              <a:gd name="connsiteY31" fmla="*/ 221667 h 1094792"/>
              <a:gd name="connsiteX32" fmla="*/ 1730375 w 2176891"/>
              <a:gd name="connsiteY32" fmla="*/ 174042 h 1094792"/>
              <a:gd name="connsiteX33" fmla="*/ 1762125 w 2176891"/>
              <a:gd name="connsiteY33" fmla="*/ 139117 h 1094792"/>
              <a:gd name="connsiteX34" fmla="*/ 1793875 w 2176891"/>
              <a:gd name="connsiteY34" fmla="*/ 104192 h 1094792"/>
              <a:gd name="connsiteX35" fmla="*/ 1863725 w 2176891"/>
              <a:gd name="connsiteY35" fmla="*/ 53392 h 1094792"/>
              <a:gd name="connsiteX36" fmla="*/ 1924050 w 2176891"/>
              <a:gd name="connsiteY36" fmla="*/ 34342 h 1094792"/>
              <a:gd name="connsiteX37" fmla="*/ 1997075 w 2176891"/>
              <a:gd name="connsiteY37" fmla="*/ 24817 h 1094792"/>
              <a:gd name="connsiteX38" fmla="*/ 2066925 w 2176891"/>
              <a:gd name="connsiteY38" fmla="*/ 34342 h 1094792"/>
              <a:gd name="connsiteX39" fmla="*/ 2176891 w 2176891"/>
              <a:gd name="connsiteY39" fmla="*/ 0 h 1094792"/>
              <a:gd name="connsiteX0" fmla="*/ 859071 w 2195381"/>
              <a:gd name="connsiteY0" fmla="*/ 696860 h 1119157"/>
              <a:gd name="connsiteX1" fmla="*/ 40715 w 2195381"/>
              <a:gd name="connsiteY1" fmla="*/ 1094792 h 1119157"/>
              <a:gd name="connsiteX2" fmla="*/ 129615 w 2195381"/>
              <a:gd name="connsiteY2" fmla="*/ 1072567 h 1119157"/>
              <a:gd name="connsiteX3" fmla="*/ 180415 w 2195381"/>
              <a:gd name="connsiteY3" fmla="*/ 1047167 h 1119157"/>
              <a:gd name="connsiteX4" fmla="*/ 266140 w 2195381"/>
              <a:gd name="connsiteY4" fmla="*/ 1012242 h 1119157"/>
              <a:gd name="connsiteX5" fmla="*/ 307415 w 2195381"/>
              <a:gd name="connsiteY5" fmla="*/ 999542 h 1119157"/>
              <a:gd name="connsiteX6" fmla="*/ 358215 w 2195381"/>
              <a:gd name="connsiteY6" fmla="*/ 983667 h 1119157"/>
              <a:gd name="connsiteX7" fmla="*/ 428065 w 2195381"/>
              <a:gd name="connsiteY7" fmla="*/ 967792 h 1119157"/>
              <a:gd name="connsiteX8" fmla="*/ 475690 w 2195381"/>
              <a:gd name="connsiteY8" fmla="*/ 948742 h 1119157"/>
              <a:gd name="connsiteX9" fmla="*/ 507440 w 2195381"/>
              <a:gd name="connsiteY9" fmla="*/ 913817 h 1119157"/>
              <a:gd name="connsiteX10" fmla="*/ 605865 w 2195381"/>
              <a:gd name="connsiteY10" fmla="*/ 872542 h 1119157"/>
              <a:gd name="connsiteX11" fmla="*/ 675715 w 2195381"/>
              <a:gd name="connsiteY11" fmla="*/ 863017 h 1119157"/>
              <a:gd name="connsiteX12" fmla="*/ 697940 w 2195381"/>
              <a:gd name="connsiteY12" fmla="*/ 834442 h 1119157"/>
              <a:gd name="connsiteX13" fmla="*/ 710640 w 2195381"/>
              <a:gd name="connsiteY13" fmla="*/ 793167 h 1119157"/>
              <a:gd name="connsiteX14" fmla="*/ 729690 w 2195381"/>
              <a:gd name="connsiteY14" fmla="*/ 770942 h 1119157"/>
              <a:gd name="connsiteX15" fmla="*/ 774140 w 2195381"/>
              <a:gd name="connsiteY15" fmla="*/ 758242 h 1119157"/>
              <a:gd name="connsiteX16" fmla="*/ 815415 w 2195381"/>
              <a:gd name="connsiteY16" fmla="*/ 688392 h 1119157"/>
              <a:gd name="connsiteX17" fmla="*/ 872565 w 2195381"/>
              <a:gd name="connsiteY17" fmla="*/ 675692 h 1119157"/>
              <a:gd name="connsiteX18" fmla="*/ 970990 w 2195381"/>
              <a:gd name="connsiteY18" fmla="*/ 650292 h 1119157"/>
              <a:gd name="connsiteX19" fmla="*/ 1094815 w 2195381"/>
              <a:gd name="connsiteY19" fmla="*/ 624892 h 1119157"/>
              <a:gd name="connsiteX20" fmla="*/ 1167840 w 2195381"/>
              <a:gd name="connsiteY20" fmla="*/ 599492 h 1119157"/>
              <a:gd name="connsiteX21" fmla="*/ 1218640 w 2195381"/>
              <a:gd name="connsiteY21" fmla="*/ 612192 h 1119157"/>
              <a:gd name="connsiteX22" fmla="*/ 1304365 w 2195381"/>
              <a:gd name="connsiteY22" fmla="*/ 612192 h 1119157"/>
              <a:gd name="connsiteX23" fmla="*/ 1351990 w 2195381"/>
              <a:gd name="connsiteY23" fmla="*/ 589967 h 1119157"/>
              <a:gd name="connsiteX24" fmla="*/ 1393265 w 2195381"/>
              <a:gd name="connsiteY24" fmla="*/ 558217 h 1119157"/>
              <a:gd name="connsiteX25" fmla="*/ 1421840 w 2195381"/>
              <a:gd name="connsiteY25" fmla="*/ 523292 h 1119157"/>
              <a:gd name="connsiteX26" fmla="*/ 1431365 w 2195381"/>
              <a:gd name="connsiteY26" fmla="*/ 475667 h 1119157"/>
              <a:gd name="connsiteX27" fmla="*/ 1469465 w 2195381"/>
              <a:gd name="connsiteY27" fmla="*/ 437567 h 1119157"/>
              <a:gd name="connsiteX28" fmla="*/ 1542490 w 2195381"/>
              <a:gd name="connsiteY28" fmla="*/ 383592 h 1119157"/>
              <a:gd name="connsiteX29" fmla="*/ 1599640 w 2195381"/>
              <a:gd name="connsiteY29" fmla="*/ 335967 h 1119157"/>
              <a:gd name="connsiteX30" fmla="*/ 1640915 w 2195381"/>
              <a:gd name="connsiteY30" fmla="*/ 288342 h 1119157"/>
              <a:gd name="connsiteX31" fmla="*/ 1707590 w 2195381"/>
              <a:gd name="connsiteY31" fmla="*/ 221667 h 1119157"/>
              <a:gd name="connsiteX32" fmla="*/ 1748865 w 2195381"/>
              <a:gd name="connsiteY32" fmla="*/ 174042 h 1119157"/>
              <a:gd name="connsiteX33" fmla="*/ 1780615 w 2195381"/>
              <a:gd name="connsiteY33" fmla="*/ 139117 h 1119157"/>
              <a:gd name="connsiteX34" fmla="*/ 1812365 w 2195381"/>
              <a:gd name="connsiteY34" fmla="*/ 104192 h 1119157"/>
              <a:gd name="connsiteX35" fmla="*/ 1882215 w 2195381"/>
              <a:gd name="connsiteY35" fmla="*/ 53392 h 1119157"/>
              <a:gd name="connsiteX36" fmla="*/ 1942540 w 2195381"/>
              <a:gd name="connsiteY36" fmla="*/ 34342 h 1119157"/>
              <a:gd name="connsiteX37" fmla="*/ 2015565 w 2195381"/>
              <a:gd name="connsiteY37" fmla="*/ 24817 h 1119157"/>
              <a:gd name="connsiteX38" fmla="*/ 2085415 w 2195381"/>
              <a:gd name="connsiteY38" fmla="*/ 34342 h 1119157"/>
              <a:gd name="connsiteX39" fmla="*/ 2195381 w 2195381"/>
              <a:gd name="connsiteY39" fmla="*/ 0 h 1119157"/>
              <a:gd name="connsiteX0" fmla="*/ 772213 w 2108523"/>
              <a:gd name="connsiteY0" fmla="*/ 696860 h 1095909"/>
              <a:gd name="connsiteX1" fmla="*/ 763482 w 2108523"/>
              <a:gd name="connsiteY1" fmla="*/ 682041 h 1095909"/>
              <a:gd name="connsiteX2" fmla="*/ 42757 w 2108523"/>
              <a:gd name="connsiteY2" fmla="*/ 1072567 h 1095909"/>
              <a:gd name="connsiteX3" fmla="*/ 93557 w 2108523"/>
              <a:gd name="connsiteY3" fmla="*/ 1047167 h 1095909"/>
              <a:gd name="connsiteX4" fmla="*/ 179282 w 2108523"/>
              <a:gd name="connsiteY4" fmla="*/ 1012242 h 1095909"/>
              <a:gd name="connsiteX5" fmla="*/ 220557 w 2108523"/>
              <a:gd name="connsiteY5" fmla="*/ 999542 h 1095909"/>
              <a:gd name="connsiteX6" fmla="*/ 271357 w 2108523"/>
              <a:gd name="connsiteY6" fmla="*/ 983667 h 1095909"/>
              <a:gd name="connsiteX7" fmla="*/ 341207 w 2108523"/>
              <a:gd name="connsiteY7" fmla="*/ 967792 h 1095909"/>
              <a:gd name="connsiteX8" fmla="*/ 388832 w 2108523"/>
              <a:gd name="connsiteY8" fmla="*/ 948742 h 1095909"/>
              <a:gd name="connsiteX9" fmla="*/ 420582 w 2108523"/>
              <a:gd name="connsiteY9" fmla="*/ 913817 h 1095909"/>
              <a:gd name="connsiteX10" fmla="*/ 519007 w 2108523"/>
              <a:gd name="connsiteY10" fmla="*/ 872542 h 1095909"/>
              <a:gd name="connsiteX11" fmla="*/ 588857 w 2108523"/>
              <a:gd name="connsiteY11" fmla="*/ 863017 h 1095909"/>
              <a:gd name="connsiteX12" fmla="*/ 611082 w 2108523"/>
              <a:gd name="connsiteY12" fmla="*/ 834442 h 1095909"/>
              <a:gd name="connsiteX13" fmla="*/ 623782 w 2108523"/>
              <a:gd name="connsiteY13" fmla="*/ 793167 h 1095909"/>
              <a:gd name="connsiteX14" fmla="*/ 642832 w 2108523"/>
              <a:gd name="connsiteY14" fmla="*/ 770942 h 1095909"/>
              <a:gd name="connsiteX15" fmla="*/ 687282 w 2108523"/>
              <a:gd name="connsiteY15" fmla="*/ 758242 h 1095909"/>
              <a:gd name="connsiteX16" fmla="*/ 728557 w 2108523"/>
              <a:gd name="connsiteY16" fmla="*/ 688392 h 1095909"/>
              <a:gd name="connsiteX17" fmla="*/ 785707 w 2108523"/>
              <a:gd name="connsiteY17" fmla="*/ 675692 h 1095909"/>
              <a:gd name="connsiteX18" fmla="*/ 884132 w 2108523"/>
              <a:gd name="connsiteY18" fmla="*/ 650292 h 1095909"/>
              <a:gd name="connsiteX19" fmla="*/ 1007957 w 2108523"/>
              <a:gd name="connsiteY19" fmla="*/ 624892 h 1095909"/>
              <a:gd name="connsiteX20" fmla="*/ 1080982 w 2108523"/>
              <a:gd name="connsiteY20" fmla="*/ 599492 h 1095909"/>
              <a:gd name="connsiteX21" fmla="*/ 1131782 w 2108523"/>
              <a:gd name="connsiteY21" fmla="*/ 612192 h 1095909"/>
              <a:gd name="connsiteX22" fmla="*/ 1217507 w 2108523"/>
              <a:gd name="connsiteY22" fmla="*/ 612192 h 1095909"/>
              <a:gd name="connsiteX23" fmla="*/ 1265132 w 2108523"/>
              <a:gd name="connsiteY23" fmla="*/ 589967 h 1095909"/>
              <a:gd name="connsiteX24" fmla="*/ 1306407 w 2108523"/>
              <a:gd name="connsiteY24" fmla="*/ 558217 h 1095909"/>
              <a:gd name="connsiteX25" fmla="*/ 1334982 w 2108523"/>
              <a:gd name="connsiteY25" fmla="*/ 523292 h 1095909"/>
              <a:gd name="connsiteX26" fmla="*/ 1344507 w 2108523"/>
              <a:gd name="connsiteY26" fmla="*/ 475667 h 1095909"/>
              <a:gd name="connsiteX27" fmla="*/ 1382607 w 2108523"/>
              <a:gd name="connsiteY27" fmla="*/ 437567 h 1095909"/>
              <a:gd name="connsiteX28" fmla="*/ 1455632 w 2108523"/>
              <a:gd name="connsiteY28" fmla="*/ 383592 h 1095909"/>
              <a:gd name="connsiteX29" fmla="*/ 1512782 w 2108523"/>
              <a:gd name="connsiteY29" fmla="*/ 335967 h 1095909"/>
              <a:gd name="connsiteX30" fmla="*/ 1554057 w 2108523"/>
              <a:gd name="connsiteY30" fmla="*/ 288342 h 1095909"/>
              <a:gd name="connsiteX31" fmla="*/ 1620732 w 2108523"/>
              <a:gd name="connsiteY31" fmla="*/ 221667 h 1095909"/>
              <a:gd name="connsiteX32" fmla="*/ 1662007 w 2108523"/>
              <a:gd name="connsiteY32" fmla="*/ 174042 h 1095909"/>
              <a:gd name="connsiteX33" fmla="*/ 1693757 w 2108523"/>
              <a:gd name="connsiteY33" fmla="*/ 139117 h 1095909"/>
              <a:gd name="connsiteX34" fmla="*/ 1725507 w 2108523"/>
              <a:gd name="connsiteY34" fmla="*/ 104192 h 1095909"/>
              <a:gd name="connsiteX35" fmla="*/ 1795357 w 2108523"/>
              <a:gd name="connsiteY35" fmla="*/ 53392 h 1095909"/>
              <a:gd name="connsiteX36" fmla="*/ 1855682 w 2108523"/>
              <a:gd name="connsiteY36" fmla="*/ 34342 h 1095909"/>
              <a:gd name="connsiteX37" fmla="*/ 1928707 w 2108523"/>
              <a:gd name="connsiteY37" fmla="*/ 24817 h 1095909"/>
              <a:gd name="connsiteX38" fmla="*/ 1998557 w 2108523"/>
              <a:gd name="connsiteY38" fmla="*/ 34342 h 1095909"/>
              <a:gd name="connsiteX39" fmla="*/ 2108523 w 2108523"/>
              <a:gd name="connsiteY39" fmla="*/ 0 h 1095909"/>
              <a:gd name="connsiteX0" fmla="*/ 705120 w 2041430"/>
              <a:gd name="connsiteY0" fmla="*/ 696860 h 1063165"/>
              <a:gd name="connsiteX1" fmla="*/ 696389 w 2041430"/>
              <a:gd name="connsiteY1" fmla="*/ 682041 h 1063165"/>
              <a:gd name="connsiteX2" fmla="*/ 630508 w 2041430"/>
              <a:gd name="connsiteY2" fmla="*/ 723317 h 1063165"/>
              <a:gd name="connsiteX3" fmla="*/ 26464 w 2041430"/>
              <a:gd name="connsiteY3" fmla="*/ 1047167 h 1063165"/>
              <a:gd name="connsiteX4" fmla="*/ 112189 w 2041430"/>
              <a:gd name="connsiteY4" fmla="*/ 1012242 h 1063165"/>
              <a:gd name="connsiteX5" fmla="*/ 153464 w 2041430"/>
              <a:gd name="connsiteY5" fmla="*/ 999542 h 1063165"/>
              <a:gd name="connsiteX6" fmla="*/ 204264 w 2041430"/>
              <a:gd name="connsiteY6" fmla="*/ 983667 h 1063165"/>
              <a:gd name="connsiteX7" fmla="*/ 274114 w 2041430"/>
              <a:gd name="connsiteY7" fmla="*/ 967792 h 1063165"/>
              <a:gd name="connsiteX8" fmla="*/ 321739 w 2041430"/>
              <a:gd name="connsiteY8" fmla="*/ 948742 h 1063165"/>
              <a:gd name="connsiteX9" fmla="*/ 353489 w 2041430"/>
              <a:gd name="connsiteY9" fmla="*/ 913817 h 1063165"/>
              <a:gd name="connsiteX10" fmla="*/ 451914 w 2041430"/>
              <a:gd name="connsiteY10" fmla="*/ 872542 h 1063165"/>
              <a:gd name="connsiteX11" fmla="*/ 521764 w 2041430"/>
              <a:gd name="connsiteY11" fmla="*/ 863017 h 1063165"/>
              <a:gd name="connsiteX12" fmla="*/ 543989 w 2041430"/>
              <a:gd name="connsiteY12" fmla="*/ 834442 h 1063165"/>
              <a:gd name="connsiteX13" fmla="*/ 556689 w 2041430"/>
              <a:gd name="connsiteY13" fmla="*/ 793167 h 1063165"/>
              <a:gd name="connsiteX14" fmla="*/ 575739 w 2041430"/>
              <a:gd name="connsiteY14" fmla="*/ 770942 h 1063165"/>
              <a:gd name="connsiteX15" fmla="*/ 620189 w 2041430"/>
              <a:gd name="connsiteY15" fmla="*/ 758242 h 1063165"/>
              <a:gd name="connsiteX16" fmla="*/ 661464 w 2041430"/>
              <a:gd name="connsiteY16" fmla="*/ 688392 h 1063165"/>
              <a:gd name="connsiteX17" fmla="*/ 718614 w 2041430"/>
              <a:gd name="connsiteY17" fmla="*/ 675692 h 1063165"/>
              <a:gd name="connsiteX18" fmla="*/ 817039 w 2041430"/>
              <a:gd name="connsiteY18" fmla="*/ 650292 h 1063165"/>
              <a:gd name="connsiteX19" fmla="*/ 940864 w 2041430"/>
              <a:gd name="connsiteY19" fmla="*/ 624892 h 1063165"/>
              <a:gd name="connsiteX20" fmla="*/ 1013889 w 2041430"/>
              <a:gd name="connsiteY20" fmla="*/ 599492 h 1063165"/>
              <a:gd name="connsiteX21" fmla="*/ 1064689 w 2041430"/>
              <a:gd name="connsiteY21" fmla="*/ 612192 h 1063165"/>
              <a:gd name="connsiteX22" fmla="*/ 1150414 w 2041430"/>
              <a:gd name="connsiteY22" fmla="*/ 612192 h 1063165"/>
              <a:gd name="connsiteX23" fmla="*/ 1198039 w 2041430"/>
              <a:gd name="connsiteY23" fmla="*/ 589967 h 1063165"/>
              <a:gd name="connsiteX24" fmla="*/ 1239314 w 2041430"/>
              <a:gd name="connsiteY24" fmla="*/ 558217 h 1063165"/>
              <a:gd name="connsiteX25" fmla="*/ 1267889 w 2041430"/>
              <a:gd name="connsiteY25" fmla="*/ 523292 h 1063165"/>
              <a:gd name="connsiteX26" fmla="*/ 1277414 w 2041430"/>
              <a:gd name="connsiteY26" fmla="*/ 475667 h 1063165"/>
              <a:gd name="connsiteX27" fmla="*/ 1315514 w 2041430"/>
              <a:gd name="connsiteY27" fmla="*/ 437567 h 1063165"/>
              <a:gd name="connsiteX28" fmla="*/ 1388539 w 2041430"/>
              <a:gd name="connsiteY28" fmla="*/ 383592 h 1063165"/>
              <a:gd name="connsiteX29" fmla="*/ 1445689 w 2041430"/>
              <a:gd name="connsiteY29" fmla="*/ 335967 h 1063165"/>
              <a:gd name="connsiteX30" fmla="*/ 1486964 w 2041430"/>
              <a:gd name="connsiteY30" fmla="*/ 288342 h 1063165"/>
              <a:gd name="connsiteX31" fmla="*/ 1553639 w 2041430"/>
              <a:gd name="connsiteY31" fmla="*/ 221667 h 1063165"/>
              <a:gd name="connsiteX32" fmla="*/ 1594914 w 2041430"/>
              <a:gd name="connsiteY32" fmla="*/ 174042 h 1063165"/>
              <a:gd name="connsiteX33" fmla="*/ 1626664 w 2041430"/>
              <a:gd name="connsiteY33" fmla="*/ 139117 h 1063165"/>
              <a:gd name="connsiteX34" fmla="*/ 1658414 w 2041430"/>
              <a:gd name="connsiteY34" fmla="*/ 104192 h 1063165"/>
              <a:gd name="connsiteX35" fmla="*/ 1728264 w 2041430"/>
              <a:gd name="connsiteY35" fmla="*/ 53392 h 1063165"/>
              <a:gd name="connsiteX36" fmla="*/ 1788589 w 2041430"/>
              <a:gd name="connsiteY36" fmla="*/ 34342 h 1063165"/>
              <a:gd name="connsiteX37" fmla="*/ 1861614 w 2041430"/>
              <a:gd name="connsiteY37" fmla="*/ 24817 h 1063165"/>
              <a:gd name="connsiteX38" fmla="*/ 1931464 w 2041430"/>
              <a:gd name="connsiteY38" fmla="*/ 34342 h 1063165"/>
              <a:gd name="connsiteX39" fmla="*/ 2041430 w 2041430"/>
              <a:gd name="connsiteY39" fmla="*/ 0 h 1063165"/>
              <a:gd name="connsiteX0" fmla="*/ 624950 w 1961260"/>
              <a:gd name="connsiteY0" fmla="*/ 696860 h 1031477"/>
              <a:gd name="connsiteX1" fmla="*/ 616219 w 1961260"/>
              <a:gd name="connsiteY1" fmla="*/ 682041 h 1031477"/>
              <a:gd name="connsiteX2" fmla="*/ 550338 w 1961260"/>
              <a:gd name="connsiteY2" fmla="*/ 723317 h 1031477"/>
              <a:gd name="connsiteX3" fmla="*/ 620188 w 1961260"/>
              <a:gd name="connsiteY3" fmla="*/ 701093 h 1031477"/>
              <a:gd name="connsiteX4" fmla="*/ 32019 w 1961260"/>
              <a:gd name="connsiteY4" fmla="*/ 1012242 h 1031477"/>
              <a:gd name="connsiteX5" fmla="*/ 73294 w 1961260"/>
              <a:gd name="connsiteY5" fmla="*/ 999542 h 1031477"/>
              <a:gd name="connsiteX6" fmla="*/ 124094 w 1961260"/>
              <a:gd name="connsiteY6" fmla="*/ 983667 h 1031477"/>
              <a:gd name="connsiteX7" fmla="*/ 193944 w 1961260"/>
              <a:gd name="connsiteY7" fmla="*/ 967792 h 1031477"/>
              <a:gd name="connsiteX8" fmla="*/ 241569 w 1961260"/>
              <a:gd name="connsiteY8" fmla="*/ 948742 h 1031477"/>
              <a:gd name="connsiteX9" fmla="*/ 273319 w 1961260"/>
              <a:gd name="connsiteY9" fmla="*/ 913817 h 1031477"/>
              <a:gd name="connsiteX10" fmla="*/ 371744 w 1961260"/>
              <a:gd name="connsiteY10" fmla="*/ 872542 h 1031477"/>
              <a:gd name="connsiteX11" fmla="*/ 441594 w 1961260"/>
              <a:gd name="connsiteY11" fmla="*/ 863017 h 1031477"/>
              <a:gd name="connsiteX12" fmla="*/ 463819 w 1961260"/>
              <a:gd name="connsiteY12" fmla="*/ 834442 h 1031477"/>
              <a:gd name="connsiteX13" fmla="*/ 476519 w 1961260"/>
              <a:gd name="connsiteY13" fmla="*/ 793167 h 1031477"/>
              <a:gd name="connsiteX14" fmla="*/ 495569 w 1961260"/>
              <a:gd name="connsiteY14" fmla="*/ 770942 h 1031477"/>
              <a:gd name="connsiteX15" fmla="*/ 540019 w 1961260"/>
              <a:gd name="connsiteY15" fmla="*/ 758242 h 1031477"/>
              <a:gd name="connsiteX16" fmla="*/ 581294 w 1961260"/>
              <a:gd name="connsiteY16" fmla="*/ 688392 h 1031477"/>
              <a:gd name="connsiteX17" fmla="*/ 638444 w 1961260"/>
              <a:gd name="connsiteY17" fmla="*/ 675692 h 1031477"/>
              <a:gd name="connsiteX18" fmla="*/ 736869 w 1961260"/>
              <a:gd name="connsiteY18" fmla="*/ 650292 h 1031477"/>
              <a:gd name="connsiteX19" fmla="*/ 860694 w 1961260"/>
              <a:gd name="connsiteY19" fmla="*/ 624892 h 1031477"/>
              <a:gd name="connsiteX20" fmla="*/ 933719 w 1961260"/>
              <a:gd name="connsiteY20" fmla="*/ 599492 h 1031477"/>
              <a:gd name="connsiteX21" fmla="*/ 984519 w 1961260"/>
              <a:gd name="connsiteY21" fmla="*/ 612192 h 1031477"/>
              <a:gd name="connsiteX22" fmla="*/ 1070244 w 1961260"/>
              <a:gd name="connsiteY22" fmla="*/ 612192 h 1031477"/>
              <a:gd name="connsiteX23" fmla="*/ 1117869 w 1961260"/>
              <a:gd name="connsiteY23" fmla="*/ 589967 h 1031477"/>
              <a:gd name="connsiteX24" fmla="*/ 1159144 w 1961260"/>
              <a:gd name="connsiteY24" fmla="*/ 558217 h 1031477"/>
              <a:gd name="connsiteX25" fmla="*/ 1187719 w 1961260"/>
              <a:gd name="connsiteY25" fmla="*/ 523292 h 1031477"/>
              <a:gd name="connsiteX26" fmla="*/ 1197244 w 1961260"/>
              <a:gd name="connsiteY26" fmla="*/ 475667 h 1031477"/>
              <a:gd name="connsiteX27" fmla="*/ 1235344 w 1961260"/>
              <a:gd name="connsiteY27" fmla="*/ 437567 h 1031477"/>
              <a:gd name="connsiteX28" fmla="*/ 1308369 w 1961260"/>
              <a:gd name="connsiteY28" fmla="*/ 383592 h 1031477"/>
              <a:gd name="connsiteX29" fmla="*/ 1365519 w 1961260"/>
              <a:gd name="connsiteY29" fmla="*/ 335967 h 1031477"/>
              <a:gd name="connsiteX30" fmla="*/ 1406794 w 1961260"/>
              <a:gd name="connsiteY30" fmla="*/ 288342 h 1031477"/>
              <a:gd name="connsiteX31" fmla="*/ 1473469 w 1961260"/>
              <a:gd name="connsiteY31" fmla="*/ 221667 h 1031477"/>
              <a:gd name="connsiteX32" fmla="*/ 1514744 w 1961260"/>
              <a:gd name="connsiteY32" fmla="*/ 174042 h 1031477"/>
              <a:gd name="connsiteX33" fmla="*/ 1546494 w 1961260"/>
              <a:gd name="connsiteY33" fmla="*/ 139117 h 1031477"/>
              <a:gd name="connsiteX34" fmla="*/ 1578244 w 1961260"/>
              <a:gd name="connsiteY34" fmla="*/ 104192 h 1031477"/>
              <a:gd name="connsiteX35" fmla="*/ 1648094 w 1961260"/>
              <a:gd name="connsiteY35" fmla="*/ 53392 h 1031477"/>
              <a:gd name="connsiteX36" fmla="*/ 1708419 w 1961260"/>
              <a:gd name="connsiteY36" fmla="*/ 34342 h 1031477"/>
              <a:gd name="connsiteX37" fmla="*/ 1781444 w 1961260"/>
              <a:gd name="connsiteY37" fmla="*/ 24817 h 1031477"/>
              <a:gd name="connsiteX38" fmla="*/ 1851294 w 1961260"/>
              <a:gd name="connsiteY38" fmla="*/ 34342 h 1031477"/>
              <a:gd name="connsiteX39" fmla="*/ 1961260 w 1961260"/>
              <a:gd name="connsiteY39" fmla="*/ 0 h 1031477"/>
              <a:gd name="connsiteX0" fmla="*/ 578934 w 1915244"/>
              <a:gd name="connsiteY0" fmla="*/ 696860 h 1018380"/>
              <a:gd name="connsiteX1" fmla="*/ 570203 w 1915244"/>
              <a:gd name="connsiteY1" fmla="*/ 682041 h 1018380"/>
              <a:gd name="connsiteX2" fmla="*/ 504322 w 1915244"/>
              <a:gd name="connsiteY2" fmla="*/ 723317 h 1018380"/>
              <a:gd name="connsiteX3" fmla="*/ 574172 w 1915244"/>
              <a:gd name="connsiteY3" fmla="*/ 701093 h 1018380"/>
              <a:gd name="connsiteX4" fmla="*/ 538453 w 1915244"/>
              <a:gd name="connsiteY4" fmla="*/ 694742 h 1018380"/>
              <a:gd name="connsiteX5" fmla="*/ 27278 w 1915244"/>
              <a:gd name="connsiteY5" fmla="*/ 999542 h 1018380"/>
              <a:gd name="connsiteX6" fmla="*/ 78078 w 1915244"/>
              <a:gd name="connsiteY6" fmla="*/ 983667 h 1018380"/>
              <a:gd name="connsiteX7" fmla="*/ 147928 w 1915244"/>
              <a:gd name="connsiteY7" fmla="*/ 967792 h 1018380"/>
              <a:gd name="connsiteX8" fmla="*/ 195553 w 1915244"/>
              <a:gd name="connsiteY8" fmla="*/ 948742 h 1018380"/>
              <a:gd name="connsiteX9" fmla="*/ 227303 w 1915244"/>
              <a:gd name="connsiteY9" fmla="*/ 913817 h 1018380"/>
              <a:gd name="connsiteX10" fmla="*/ 325728 w 1915244"/>
              <a:gd name="connsiteY10" fmla="*/ 872542 h 1018380"/>
              <a:gd name="connsiteX11" fmla="*/ 395578 w 1915244"/>
              <a:gd name="connsiteY11" fmla="*/ 863017 h 1018380"/>
              <a:gd name="connsiteX12" fmla="*/ 417803 w 1915244"/>
              <a:gd name="connsiteY12" fmla="*/ 834442 h 1018380"/>
              <a:gd name="connsiteX13" fmla="*/ 430503 w 1915244"/>
              <a:gd name="connsiteY13" fmla="*/ 793167 h 1018380"/>
              <a:gd name="connsiteX14" fmla="*/ 449553 w 1915244"/>
              <a:gd name="connsiteY14" fmla="*/ 770942 h 1018380"/>
              <a:gd name="connsiteX15" fmla="*/ 494003 w 1915244"/>
              <a:gd name="connsiteY15" fmla="*/ 758242 h 1018380"/>
              <a:gd name="connsiteX16" fmla="*/ 535278 w 1915244"/>
              <a:gd name="connsiteY16" fmla="*/ 688392 h 1018380"/>
              <a:gd name="connsiteX17" fmla="*/ 592428 w 1915244"/>
              <a:gd name="connsiteY17" fmla="*/ 675692 h 1018380"/>
              <a:gd name="connsiteX18" fmla="*/ 690853 w 1915244"/>
              <a:gd name="connsiteY18" fmla="*/ 650292 h 1018380"/>
              <a:gd name="connsiteX19" fmla="*/ 814678 w 1915244"/>
              <a:gd name="connsiteY19" fmla="*/ 624892 h 1018380"/>
              <a:gd name="connsiteX20" fmla="*/ 887703 w 1915244"/>
              <a:gd name="connsiteY20" fmla="*/ 599492 h 1018380"/>
              <a:gd name="connsiteX21" fmla="*/ 938503 w 1915244"/>
              <a:gd name="connsiteY21" fmla="*/ 612192 h 1018380"/>
              <a:gd name="connsiteX22" fmla="*/ 1024228 w 1915244"/>
              <a:gd name="connsiteY22" fmla="*/ 612192 h 1018380"/>
              <a:gd name="connsiteX23" fmla="*/ 1071853 w 1915244"/>
              <a:gd name="connsiteY23" fmla="*/ 589967 h 1018380"/>
              <a:gd name="connsiteX24" fmla="*/ 1113128 w 1915244"/>
              <a:gd name="connsiteY24" fmla="*/ 558217 h 1018380"/>
              <a:gd name="connsiteX25" fmla="*/ 1141703 w 1915244"/>
              <a:gd name="connsiteY25" fmla="*/ 523292 h 1018380"/>
              <a:gd name="connsiteX26" fmla="*/ 1151228 w 1915244"/>
              <a:gd name="connsiteY26" fmla="*/ 475667 h 1018380"/>
              <a:gd name="connsiteX27" fmla="*/ 1189328 w 1915244"/>
              <a:gd name="connsiteY27" fmla="*/ 437567 h 1018380"/>
              <a:gd name="connsiteX28" fmla="*/ 1262353 w 1915244"/>
              <a:gd name="connsiteY28" fmla="*/ 383592 h 1018380"/>
              <a:gd name="connsiteX29" fmla="*/ 1319503 w 1915244"/>
              <a:gd name="connsiteY29" fmla="*/ 335967 h 1018380"/>
              <a:gd name="connsiteX30" fmla="*/ 1360778 w 1915244"/>
              <a:gd name="connsiteY30" fmla="*/ 288342 h 1018380"/>
              <a:gd name="connsiteX31" fmla="*/ 1427453 w 1915244"/>
              <a:gd name="connsiteY31" fmla="*/ 221667 h 1018380"/>
              <a:gd name="connsiteX32" fmla="*/ 1468728 w 1915244"/>
              <a:gd name="connsiteY32" fmla="*/ 174042 h 1018380"/>
              <a:gd name="connsiteX33" fmla="*/ 1500478 w 1915244"/>
              <a:gd name="connsiteY33" fmla="*/ 139117 h 1018380"/>
              <a:gd name="connsiteX34" fmla="*/ 1532228 w 1915244"/>
              <a:gd name="connsiteY34" fmla="*/ 104192 h 1018380"/>
              <a:gd name="connsiteX35" fmla="*/ 1602078 w 1915244"/>
              <a:gd name="connsiteY35" fmla="*/ 53392 h 1018380"/>
              <a:gd name="connsiteX36" fmla="*/ 1662403 w 1915244"/>
              <a:gd name="connsiteY36" fmla="*/ 34342 h 1018380"/>
              <a:gd name="connsiteX37" fmla="*/ 1735428 w 1915244"/>
              <a:gd name="connsiteY37" fmla="*/ 24817 h 1018380"/>
              <a:gd name="connsiteX38" fmla="*/ 1805278 w 1915244"/>
              <a:gd name="connsiteY38" fmla="*/ 34342 h 1018380"/>
              <a:gd name="connsiteX39" fmla="*/ 1915244 w 1915244"/>
              <a:gd name="connsiteY39" fmla="*/ 0 h 1018380"/>
              <a:gd name="connsiteX0" fmla="*/ 551877 w 1888187"/>
              <a:gd name="connsiteY0" fmla="*/ 696860 h 999543"/>
              <a:gd name="connsiteX1" fmla="*/ 543146 w 1888187"/>
              <a:gd name="connsiteY1" fmla="*/ 682041 h 999543"/>
              <a:gd name="connsiteX2" fmla="*/ 477265 w 1888187"/>
              <a:gd name="connsiteY2" fmla="*/ 723317 h 999543"/>
              <a:gd name="connsiteX3" fmla="*/ 547115 w 1888187"/>
              <a:gd name="connsiteY3" fmla="*/ 701093 h 999543"/>
              <a:gd name="connsiteX4" fmla="*/ 511396 w 1888187"/>
              <a:gd name="connsiteY4" fmla="*/ 694742 h 999543"/>
              <a:gd name="connsiteX5" fmla="*/ 221 w 1888187"/>
              <a:gd name="connsiteY5" fmla="*/ 999542 h 999543"/>
              <a:gd name="connsiteX6" fmla="*/ 579658 w 1888187"/>
              <a:gd name="connsiteY6" fmla="*/ 694741 h 999543"/>
              <a:gd name="connsiteX7" fmla="*/ 120871 w 1888187"/>
              <a:gd name="connsiteY7" fmla="*/ 967792 h 999543"/>
              <a:gd name="connsiteX8" fmla="*/ 168496 w 1888187"/>
              <a:gd name="connsiteY8" fmla="*/ 948742 h 999543"/>
              <a:gd name="connsiteX9" fmla="*/ 200246 w 1888187"/>
              <a:gd name="connsiteY9" fmla="*/ 913817 h 999543"/>
              <a:gd name="connsiteX10" fmla="*/ 298671 w 1888187"/>
              <a:gd name="connsiteY10" fmla="*/ 872542 h 999543"/>
              <a:gd name="connsiteX11" fmla="*/ 368521 w 1888187"/>
              <a:gd name="connsiteY11" fmla="*/ 863017 h 999543"/>
              <a:gd name="connsiteX12" fmla="*/ 390746 w 1888187"/>
              <a:gd name="connsiteY12" fmla="*/ 834442 h 999543"/>
              <a:gd name="connsiteX13" fmla="*/ 403446 w 1888187"/>
              <a:gd name="connsiteY13" fmla="*/ 793167 h 999543"/>
              <a:gd name="connsiteX14" fmla="*/ 422496 w 1888187"/>
              <a:gd name="connsiteY14" fmla="*/ 770942 h 999543"/>
              <a:gd name="connsiteX15" fmla="*/ 466946 w 1888187"/>
              <a:gd name="connsiteY15" fmla="*/ 758242 h 999543"/>
              <a:gd name="connsiteX16" fmla="*/ 508221 w 1888187"/>
              <a:gd name="connsiteY16" fmla="*/ 688392 h 999543"/>
              <a:gd name="connsiteX17" fmla="*/ 565371 w 1888187"/>
              <a:gd name="connsiteY17" fmla="*/ 675692 h 999543"/>
              <a:gd name="connsiteX18" fmla="*/ 663796 w 1888187"/>
              <a:gd name="connsiteY18" fmla="*/ 650292 h 999543"/>
              <a:gd name="connsiteX19" fmla="*/ 787621 w 1888187"/>
              <a:gd name="connsiteY19" fmla="*/ 624892 h 999543"/>
              <a:gd name="connsiteX20" fmla="*/ 860646 w 1888187"/>
              <a:gd name="connsiteY20" fmla="*/ 599492 h 999543"/>
              <a:gd name="connsiteX21" fmla="*/ 911446 w 1888187"/>
              <a:gd name="connsiteY21" fmla="*/ 612192 h 999543"/>
              <a:gd name="connsiteX22" fmla="*/ 997171 w 1888187"/>
              <a:gd name="connsiteY22" fmla="*/ 612192 h 999543"/>
              <a:gd name="connsiteX23" fmla="*/ 1044796 w 1888187"/>
              <a:gd name="connsiteY23" fmla="*/ 589967 h 999543"/>
              <a:gd name="connsiteX24" fmla="*/ 1086071 w 1888187"/>
              <a:gd name="connsiteY24" fmla="*/ 558217 h 999543"/>
              <a:gd name="connsiteX25" fmla="*/ 1114646 w 1888187"/>
              <a:gd name="connsiteY25" fmla="*/ 523292 h 999543"/>
              <a:gd name="connsiteX26" fmla="*/ 1124171 w 1888187"/>
              <a:gd name="connsiteY26" fmla="*/ 475667 h 999543"/>
              <a:gd name="connsiteX27" fmla="*/ 1162271 w 1888187"/>
              <a:gd name="connsiteY27" fmla="*/ 437567 h 999543"/>
              <a:gd name="connsiteX28" fmla="*/ 1235296 w 1888187"/>
              <a:gd name="connsiteY28" fmla="*/ 383592 h 999543"/>
              <a:gd name="connsiteX29" fmla="*/ 1292446 w 1888187"/>
              <a:gd name="connsiteY29" fmla="*/ 335967 h 999543"/>
              <a:gd name="connsiteX30" fmla="*/ 1333721 w 1888187"/>
              <a:gd name="connsiteY30" fmla="*/ 288342 h 999543"/>
              <a:gd name="connsiteX31" fmla="*/ 1400396 w 1888187"/>
              <a:gd name="connsiteY31" fmla="*/ 221667 h 999543"/>
              <a:gd name="connsiteX32" fmla="*/ 1441671 w 1888187"/>
              <a:gd name="connsiteY32" fmla="*/ 174042 h 999543"/>
              <a:gd name="connsiteX33" fmla="*/ 1473421 w 1888187"/>
              <a:gd name="connsiteY33" fmla="*/ 139117 h 999543"/>
              <a:gd name="connsiteX34" fmla="*/ 1505171 w 1888187"/>
              <a:gd name="connsiteY34" fmla="*/ 104192 h 999543"/>
              <a:gd name="connsiteX35" fmla="*/ 1575021 w 1888187"/>
              <a:gd name="connsiteY35" fmla="*/ 53392 h 999543"/>
              <a:gd name="connsiteX36" fmla="*/ 1635346 w 1888187"/>
              <a:gd name="connsiteY36" fmla="*/ 34342 h 999543"/>
              <a:gd name="connsiteX37" fmla="*/ 1708371 w 1888187"/>
              <a:gd name="connsiteY37" fmla="*/ 24817 h 999543"/>
              <a:gd name="connsiteX38" fmla="*/ 1778221 w 1888187"/>
              <a:gd name="connsiteY38" fmla="*/ 34342 h 999543"/>
              <a:gd name="connsiteX39" fmla="*/ 1888187 w 1888187"/>
              <a:gd name="connsiteY39" fmla="*/ 0 h 999543"/>
              <a:gd name="connsiteX0" fmla="*/ 454341 w 1790651"/>
              <a:gd name="connsiteY0" fmla="*/ 696860 h 984106"/>
              <a:gd name="connsiteX1" fmla="*/ 445610 w 1790651"/>
              <a:gd name="connsiteY1" fmla="*/ 682041 h 984106"/>
              <a:gd name="connsiteX2" fmla="*/ 379729 w 1790651"/>
              <a:gd name="connsiteY2" fmla="*/ 723317 h 984106"/>
              <a:gd name="connsiteX3" fmla="*/ 449579 w 1790651"/>
              <a:gd name="connsiteY3" fmla="*/ 701093 h 984106"/>
              <a:gd name="connsiteX4" fmla="*/ 413860 w 1790651"/>
              <a:gd name="connsiteY4" fmla="*/ 694742 h 984106"/>
              <a:gd name="connsiteX5" fmla="*/ 457517 w 1790651"/>
              <a:gd name="connsiteY5" fmla="*/ 697917 h 984106"/>
              <a:gd name="connsiteX6" fmla="*/ 482122 w 1790651"/>
              <a:gd name="connsiteY6" fmla="*/ 694741 h 984106"/>
              <a:gd name="connsiteX7" fmla="*/ 23335 w 1790651"/>
              <a:gd name="connsiteY7" fmla="*/ 967792 h 984106"/>
              <a:gd name="connsiteX8" fmla="*/ 70960 w 1790651"/>
              <a:gd name="connsiteY8" fmla="*/ 948742 h 984106"/>
              <a:gd name="connsiteX9" fmla="*/ 102710 w 1790651"/>
              <a:gd name="connsiteY9" fmla="*/ 913817 h 984106"/>
              <a:gd name="connsiteX10" fmla="*/ 201135 w 1790651"/>
              <a:gd name="connsiteY10" fmla="*/ 872542 h 984106"/>
              <a:gd name="connsiteX11" fmla="*/ 270985 w 1790651"/>
              <a:gd name="connsiteY11" fmla="*/ 863017 h 984106"/>
              <a:gd name="connsiteX12" fmla="*/ 293210 w 1790651"/>
              <a:gd name="connsiteY12" fmla="*/ 834442 h 984106"/>
              <a:gd name="connsiteX13" fmla="*/ 305910 w 1790651"/>
              <a:gd name="connsiteY13" fmla="*/ 793167 h 984106"/>
              <a:gd name="connsiteX14" fmla="*/ 324960 w 1790651"/>
              <a:gd name="connsiteY14" fmla="*/ 770942 h 984106"/>
              <a:gd name="connsiteX15" fmla="*/ 369410 w 1790651"/>
              <a:gd name="connsiteY15" fmla="*/ 758242 h 984106"/>
              <a:gd name="connsiteX16" fmla="*/ 410685 w 1790651"/>
              <a:gd name="connsiteY16" fmla="*/ 688392 h 984106"/>
              <a:gd name="connsiteX17" fmla="*/ 467835 w 1790651"/>
              <a:gd name="connsiteY17" fmla="*/ 675692 h 984106"/>
              <a:gd name="connsiteX18" fmla="*/ 566260 w 1790651"/>
              <a:gd name="connsiteY18" fmla="*/ 650292 h 984106"/>
              <a:gd name="connsiteX19" fmla="*/ 690085 w 1790651"/>
              <a:gd name="connsiteY19" fmla="*/ 624892 h 984106"/>
              <a:gd name="connsiteX20" fmla="*/ 763110 w 1790651"/>
              <a:gd name="connsiteY20" fmla="*/ 599492 h 984106"/>
              <a:gd name="connsiteX21" fmla="*/ 813910 w 1790651"/>
              <a:gd name="connsiteY21" fmla="*/ 612192 h 984106"/>
              <a:gd name="connsiteX22" fmla="*/ 899635 w 1790651"/>
              <a:gd name="connsiteY22" fmla="*/ 612192 h 984106"/>
              <a:gd name="connsiteX23" fmla="*/ 947260 w 1790651"/>
              <a:gd name="connsiteY23" fmla="*/ 589967 h 984106"/>
              <a:gd name="connsiteX24" fmla="*/ 988535 w 1790651"/>
              <a:gd name="connsiteY24" fmla="*/ 558217 h 984106"/>
              <a:gd name="connsiteX25" fmla="*/ 1017110 w 1790651"/>
              <a:gd name="connsiteY25" fmla="*/ 523292 h 984106"/>
              <a:gd name="connsiteX26" fmla="*/ 1026635 w 1790651"/>
              <a:gd name="connsiteY26" fmla="*/ 475667 h 984106"/>
              <a:gd name="connsiteX27" fmla="*/ 1064735 w 1790651"/>
              <a:gd name="connsiteY27" fmla="*/ 437567 h 984106"/>
              <a:gd name="connsiteX28" fmla="*/ 1137760 w 1790651"/>
              <a:gd name="connsiteY28" fmla="*/ 383592 h 984106"/>
              <a:gd name="connsiteX29" fmla="*/ 1194910 w 1790651"/>
              <a:gd name="connsiteY29" fmla="*/ 335967 h 984106"/>
              <a:gd name="connsiteX30" fmla="*/ 1236185 w 1790651"/>
              <a:gd name="connsiteY30" fmla="*/ 288342 h 984106"/>
              <a:gd name="connsiteX31" fmla="*/ 1302860 w 1790651"/>
              <a:gd name="connsiteY31" fmla="*/ 221667 h 984106"/>
              <a:gd name="connsiteX32" fmla="*/ 1344135 w 1790651"/>
              <a:gd name="connsiteY32" fmla="*/ 174042 h 984106"/>
              <a:gd name="connsiteX33" fmla="*/ 1375885 w 1790651"/>
              <a:gd name="connsiteY33" fmla="*/ 139117 h 984106"/>
              <a:gd name="connsiteX34" fmla="*/ 1407635 w 1790651"/>
              <a:gd name="connsiteY34" fmla="*/ 104192 h 984106"/>
              <a:gd name="connsiteX35" fmla="*/ 1477485 w 1790651"/>
              <a:gd name="connsiteY35" fmla="*/ 53392 h 984106"/>
              <a:gd name="connsiteX36" fmla="*/ 1537810 w 1790651"/>
              <a:gd name="connsiteY36" fmla="*/ 34342 h 984106"/>
              <a:gd name="connsiteX37" fmla="*/ 1610835 w 1790651"/>
              <a:gd name="connsiteY37" fmla="*/ 24817 h 984106"/>
              <a:gd name="connsiteX38" fmla="*/ 1680685 w 1790651"/>
              <a:gd name="connsiteY38" fmla="*/ 34342 h 984106"/>
              <a:gd name="connsiteX39" fmla="*/ 1790651 w 1790651"/>
              <a:gd name="connsiteY39" fmla="*/ 0 h 984106"/>
              <a:gd name="connsiteX0" fmla="*/ 404084 w 1740394"/>
              <a:gd name="connsiteY0" fmla="*/ 696860 h 960105"/>
              <a:gd name="connsiteX1" fmla="*/ 395353 w 1740394"/>
              <a:gd name="connsiteY1" fmla="*/ 682041 h 960105"/>
              <a:gd name="connsiteX2" fmla="*/ 329472 w 1740394"/>
              <a:gd name="connsiteY2" fmla="*/ 723317 h 960105"/>
              <a:gd name="connsiteX3" fmla="*/ 399322 w 1740394"/>
              <a:gd name="connsiteY3" fmla="*/ 701093 h 960105"/>
              <a:gd name="connsiteX4" fmla="*/ 363603 w 1740394"/>
              <a:gd name="connsiteY4" fmla="*/ 694742 h 960105"/>
              <a:gd name="connsiteX5" fmla="*/ 407260 w 1740394"/>
              <a:gd name="connsiteY5" fmla="*/ 697917 h 960105"/>
              <a:gd name="connsiteX6" fmla="*/ 431865 w 1740394"/>
              <a:gd name="connsiteY6" fmla="*/ 694741 h 960105"/>
              <a:gd name="connsiteX7" fmla="*/ 370746 w 1740394"/>
              <a:gd name="connsiteY7" fmla="*/ 701092 h 960105"/>
              <a:gd name="connsiteX8" fmla="*/ 20703 w 1740394"/>
              <a:gd name="connsiteY8" fmla="*/ 948742 h 960105"/>
              <a:gd name="connsiteX9" fmla="*/ 52453 w 1740394"/>
              <a:gd name="connsiteY9" fmla="*/ 913817 h 960105"/>
              <a:gd name="connsiteX10" fmla="*/ 150878 w 1740394"/>
              <a:gd name="connsiteY10" fmla="*/ 872542 h 960105"/>
              <a:gd name="connsiteX11" fmla="*/ 220728 w 1740394"/>
              <a:gd name="connsiteY11" fmla="*/ 863017 h 960105"/>
              <a:gd name="connsiteX12" fmla="*/ 242953 w 1740394"/>
              <a:gd name="connsiteY12" fmla="*/ 834442 h 960105"/>
              <a:gd name="connsiteX13" fmla="*/ 255653 w 1740394"/>
              <a:gd name="connsiteY13" fmla="*/ 793167 h 960105"/>
              <a:gd name="connsiteX14" fmla="*/ 274703 w 1740394"/>
              <a:gd name="connsiteY14" fmla="*/ 770942 h 960105"/>
              <a:gd name="connsiteX15" fmla="*/ 319153 w 1740394"/>
              <a:gd name="connsiteY15" fmla="*/ 758242 h 960105"/>
              <a:gd name="connsiteX16" fmla="*/ 360428 w 1740394"/>
              <a:gd name="connsiteY16" fmla="*/ 688392 h 960105"/>
              <a:gd name="connsiteX17" fmla="*/ 417578 w 1740394"/>
              <a:gd name="connsiteY17" fmla="*/ 675692 h 960105"/>
              <a:gd name="connsiteX18" fmla="*/ 516003 w 1740394"/>
              <a:gd name="connsiteY18" fmla="*/ 650292 h 960105"/>
              <a:gd name="connsiteX19" fmla="*/ 639828 w 1740394"/>
              <a:gd name="connsiteY19" fmla="*/ 624892 h 960105"/>
              <a:gd name="connsiteX20" fmla="*/ 712853 w 1740394"/>
              <a:gd name="connsiteY20" fmla="*/ 599492 h 960105"/>
              <a:gd name="connsiteX21" fmla="*/ 763653 w 1740394"/>
              <a:gd name="connsiteY21" fmla="*/ 612192 h 960105"/>
              <a:gd name="connsiteX22" fmla="*/ 849378 w 1740394"/>
              <a:gd name="connsiteY22" fmla="*/ 612192 h 960105"/>
              <a:gd name="connsiteX23" fmla="*/ 897003 w 1740394"/>
              <a:gd name="connsiteY23" fmla="*/ 589967 h 960105"/>
              <a:gd name="connsiteX24" fmla="*/ 938278 w 1740394"/>
              <a:gd name="connsiteY24" fmla="*/ 558217 h 960105"/>
              <a:gd name="connsiteX25" fmla="*/ 966853 w 1740394"/>
              <a:gd name="connsiteY25" fmla="*/ 523292 h 960105"/>
              <a:gd name="connsiteX26" fmla="*/ 976378 w 1740394"/>
              <a:gd name="connsiteY26" fmla="*/ 475667 h 960105"/>
              <a:gd name="connsiteX27" fmla="*/ 1014478 w 1740394"/>
              <a:gd name="connsiteY27" fmla="*/ 437567 h 960105"/>
              <a:gd name="connsiteX28" fmla="*/ 1087503 w 1740394"/>
              <a:gd name="connsiteY28" fmla="*/ 383592 h 960105"/>
              <a:gd name="connsiteX29" fmla="*/ 1144653 w 1740394"/>
              <a:gd name="connsiteY29" fmla="*/ 335967 h 960105"/>
              <a:gd name="connsiteX30" fmla="*/ 1185928 w 1740394"/>
              <a:gd name="connsiteY30" fmla="*/ 288342 h 960105"/>
              <a:gd name="connsiteX31" fmla="*/ 1252603 w 1740394"/>
              <a:gd name="connsiteY31" fmla="*/ 221667 h 960105"/>
              <a:gd name="connsiteX32" fmla="*/ 1293878 w 1740394"/>
              <a:gd name="connsiteY32" fmla="*/ 174042 h 960105"/>
              <a:gd name="connsiteX33" fmla="*/ 1325628 w 1740394"/>
              <a:gd name="connsiteY33" fmla="*/ 139117 h 960105"/>
              <a:gd name="connsiteX34" fmla="*/ 1357378 w 1740394"/>
              <a:gd name="connsiteY34" fmla="*/ 104192 h 960105"/>
              <a:gd name="connsiteX35" fmla="*/ 1427228 w 1740394"/>
              <a:gd name="connsiteY35" fmla="*/ 53392 h 960105"/>
              <a:gd name="connsiteX36" fmla="*/ 1487553 w 1740394"/>
              <a:gd name="connsiteY36" fmla="*/ 34342 h 960105"/>
              <a:gd name="connsiteX37" fmla="*/ 1560578 w 1740394"/>
              <a:gd name="connsiteY37" fmla="*/ 24817 h 960105"/>
              <a:gd name="connsiteX38" fmla="*/ 1630428 w 1740394"/>
              <a:gd name="connsiteY38" fmla="*/ 34342 h 960105"/>
              <a:gd name="connsiteX39" fmla="*/ 1740394 w 1740394"/>
              <a:gd name="connsiteY39" fmla="*/ 0 h 960105"/>
              <a:gd name="connsiteX0" fmla="*/ 360208 w 1696518"/>
              <a:gd name="connsiteY0" fmla="*/ 696860 h 920954"/>
              <a:gd name="connsiteX1" fmla="*/ 351477 w 1696518"/>
              <a:gd name="connsiteY1" fmla="*/ 682041 h 920954"/>
              <a:gd name="connsiteX2" fmla="*/ 285596 w 1696518"/>
              <a:gd name="connsiteY2" fmla="*/ 723317 h 920954"/>
              <a:gd name="connsiteX3" fmla="*/ 355446 w 1696518"/>
              <a:gd name="connsiteY3" fmla="*/ 701093 h 920954"/>
              <a:gd name="connsiteX4" fmla="*/ 319727 w 1696518"/>
              <a:gd name="connsiteY4" fmla="*/ 694742 h 920954"/>
              <a:gd name="connsiteX5" fmla="*/ 363384 w 1696518"/>
              <a:gd name="connsiteY5" fmla="*/ 697917 h 920954"/>
              <a:gd name="connsiteX6" fmla="*/ 387989 w 1696518"/>
              <a:gd name="connsiteY6" fmla="*/ 694741 h 920954"/>
              <a:gd name="connsiteX7" fmla="*/ 326870 w 1696518"/>
              <a:gd name="connsiteY7" fmla="*/ 701092 h 920954"/>
              <a:gd name="connsiteX8" fmla="*/ 345920 w 1696518"/>
              <a:gd name="connsiteY8" fmla="*/ 707442 h 920954"/>
              <a:gd name="connsiteX9" fmla="*/ 8577 w 1696518"/>
              <a:gd name="connsiteY9" fmla="*/ 913817 h 920954"/>
              <a:gd name="connsiteX10" fmla="*/ 107002 w 1696518"/>
              <a:gd name="connsiteY10" fmla="*/ 872542 h 920954"/>
              <a:gd name="connsiteX11" fmla="*/ 176852 w 1696518"/>
              <a:gd name="connsiteY11" fmla="*/ 863017 h 920954"/>
              <a:gd name="connsiteX12" fmla="*/ 199077 w 1696518"/>
              <a:gd name="connsiteY12" fmla="*/ 834442 h 920954"/>
              <a:gd name="connsiteX13" fmla="*/ 211777 w 1696518"/>
              <a:gd name="connsiteY13" fmla="*/ 793167 h 920954"/>
              <a:gd name="connsiteX14" fmla="*/ 230827 w 1696518"/>
              <a:gd name="connsiteY14" fmla="*/ 770942 h 920954"/>
              <a:gd name="connsiteX15" fmla="*/ 275277 w 1696518"/>
              <a:gd name="connsiteY15" fmla="*/ 758242 h 920954"/>
              <a:gd name="connsiteX16" fmla="*/ 316552 w 1696518"/>
              <a:gd name="connsiteY16" fmla="*/ 688392 h 920954"/>
              <a:gd name="connsiteX17" fmla="*/ 373702 w 1696518"/>
              <a:gd name="connsiteY17" fmla="*/ 675692 h 920954"/>
              <a:gd name="connsiteX18" fmla="*/ 472127 w 1696518"/>
              <a:gd name="connsiteY18" fmla="*/ 650292 h 920954"/>
              <a:gd name="connsiteX19" fmla="*/ 595952 w 1696518"/>
              <a:gd name="connsiteY19" fmla="*/ 624892 h 920954"/>
              <a:gd name="connsiteX20" fmla="*/ 668977 w 1696518"/>
              <a:gd name="connsiteY20" fmla="*/ 599492 h 920954"/>
              <a:gd name="connsiteX21" fmla="*/ 719777 w 1696518"/>
              <a:gd name="connsiteY21" fmla="*/ 612192 h 920954"/>
              <a:gd name="connsiteX22" fmla="*/ 805502 w 1696518"/>
              <a:gd name="connsiteY22" fmla="*/ 612192 h 920954"/>
              <a:gd name="connsiteX23" fmla="*/ 853127 w 1696518"/>
              <a:gd name="connsiteY23" fmla="*/ 589967 h 920954"/>
              <a:gd name="connsiteX24" fmla="*/ 894402 w 1696518"/>
              <a:gd name="connsiteY24" fmla="*/ 558217 h 920954"/>
              <a:gd name="connsiteX25" fmla="*/ 922977 w 1696518"/>
              <a:gd name="connsiteY25" fmla="*/ 523292 h 920954"/>
              <a:gd name="connsiteX26" fmla="*/ 932502 w 1696518"/>
              <a:gd name="connsiteY26" fmla="*/ 475667 h 920954"/>
              <a:gd name="connsiteX27" fmla="*/ 970602 w 1696518"/>
              <a:gd name="connsiteY27" fmla="*/ 437567 h 920954"/>
              <a:gd name="connsiteX28" fmla="*/ 1043627 w 1696518"/>
              <a:gd name="connsiteY28" fmla="*/ 383592 h 920954"/>
              <a:gd name="connsiteX29" fmla="*/ 1100777 w 1696518"/>
              <a:gd name="connsiteY29" fmla="*/ 335967 h 920954"/>
              <a:gd name="connsiteX30" fmla="*/ 1142052 w 1696518"/>
              <a:gd name="connsiteY30" fmla="*/ 288342 h 920954"/>
              <a:gd name="connsiteX31" fmla="*/ 1208727 w 1696518"/>
              <a:gd name="connsiteY31" fmla="*/ 221667 h 920954"/>
              <a:gd name="connsiteX32" fmla="*/ 1250002 w 1696518"/>
              <a:gd name="connsiteY32" fmla="*/ 174042 h 920954"/>
              <a:gd name="connsiteX33" fmla="*/ 1281752 w 1696518"/>
              <a:gd name="connsiteY33" fmla="*/ 139117 h 920954"/>
              <a:gd name="connsiteX34" fmla="*/ 1313502 w 1696518"/>
              <a:gd name="connsiteY34" fmla="*/ 104192 h 920954"/>
              <a:gd name="connsiteX35" fmla="*/ 1383352 w 1696518"/>
              <a:gd name="connsiteY35" fmla="*/ 53392 h 920954"/>
              <a:gd name="connsiteX36" fmla="*/ 1443677 w 1696518"/>
              <a:gd name="connsiteY36" fmla="*/ 34342 h 920954"/>
              <a:gd name="connsiteX37" fmla="*/ 1516702 w 1696518"/>
              <a:gd name="connsiteY37" fmla="*/ 24817 h 920954"/>
              <a:gd name="connsiteX38" fmla="*/ 1586552 w 1696518"/>
              <a:gd name="connsiteY38" fmla="*/ 34342 h 920954"/>
              <a:gd name="connsiteX39" fmla="*/ 1696518 w 1696518"/>
              <a:gd name="connsiteY39" fmla="*/ 0 h 920954"/>
              <a:gd name="connsiteX0" fmla="*/ 351718 w 1688028"/>
              <a:gd name="connsiteY0" fmla="*/ 696860 h 914221"/>
              <a:gd name="connsiteX1" fmla="*/ 342987 w 1688028"/>
              <a:gd name="connsiteY1" fmla="*/ 682041 h 914221"/>
              <a:gd name="connsiteX2" fmla="*/ 277106 w 1688028"/>
              <a:gd name="connsiteY2" fmla="*/ 723317 h 914221"/>
              <a:gd name="connsiteX3" fmla="*/ 346956 w 1688028"/>
              <a:gd name="connsiteY3" fmla="*/ 701093 h 914221"/>
              <a:gd name="connsiteX4" fmla="*/ 311237 w 1688028"/>
              <a:gd name="connsiteY4" fmla="*/ 694742 h 914221"/>
              <a:gd name="connsiteX5" fmla="*/ 354894 w 1688028"/>
              <a:gd name="connsiteY5" fmla="*/ 697917 h 914221"/>
              <a:gd name="connsiteX6" fmla="*/ 379499 w 1688028"/>
              <a:gd name="connsiteY6" fmla="*/ 694741 h 914221"/>
              <a:gd name="connsiteX7" fmla="*/ 318380 w 1688028"/>
              <a:gd name="connsiteY7" fmla="*/ 701092 h 914221"/>
              <a:gd name="connsiteX8" fmla="*/ 337430 w 1688028"/>
              <a:gd name="connsiteY8" fmla="*/ 707442 h 914221"/>
              <a:gd name="connsiteX9" fmla="*/ 87 w 1688028"/>
              <a:gd name="connsiteY9" fmla="*/ 913817 h 914221"/>
              <a:gd name="connsiteX10" fmla="*/ 372356 w 1688028"/>
              <a:gd name="connsiteY10" fmla="*/ 647116 h 914221"/>
              <a:gd name="connsiteX11" fmla="*/ 168362 w 1688028"/>
              <a:gd name="connsiteY11" fmla="*/ 863017 h 914221"/>
              <a:gd name="connsiteX12" fmla="*/ 190587 w 1688028"/>
              <a:gd name="connsiteY12" fmla="*/ 834442 h 914221"/>
              <a:gd name="connsiteX13" fmla="*/ 203287 w 1688028"/>
              <a:gd name="connsiteY13" fmla="*/ 793167 h 914221"/>
              <a:gd name="connsiteX14" fmla="*/ 222337 w 1688028"/>
              <a:gd name="connsiteY14" fmla="*/ 770942 h 914221"/>
              <a:gd name="connsiteX15" fmla="*/ 266787 w 1688028"/>
              <a:gd name="connsiteY15" fmla="*/ 758242 h 914221"/>
              <a:gd name="connsiteX16" fmla="*/ 308062 w 1688028"/>
              <a:gd name="connsiteY16" fmla="*/ 688392 h 914221"/>
              <a:gd name="connsiteX17" fmla="*/ 365212 w 1688028"/>
              <a:gd name="connsiteY17" fmla="*/ 675692 h 914221"/>
              <a:gd name="connsiteX18" fmla="*/ 463637 w 1688028"/>
              <a:gd name="connsiteY18" fmla="*/ 650292 h 914221"/>
              <a:gd name="connsiteX19" fmla="*/ 587462 w 1688028"/>
              <a:gd name="connsiteY19" fmla="*/ 624892 h 914221"/>
              <a:gd name="connsiteX20" fmla="*/ 660487 w 1688028"/>
              <a:gd name="connsiteY20" fmla="*/ 599492 h 914221"/>
              <a:gd name="connsiteX21" fmla="*/ 711287 w 1688028"/>
              <a:gd name="connsiteY21" fmla="*/ 612192 h 914221"/>
              <a:gd name="connsiteX22" fmla="*/ 797012 w 1688028"/>
              <a:gd name="connsiteY22" fmla="*/ 612192 h 914221"/>
              <a:gd name="connsiteX23" fmla="*/ 844637 w 1688028"/>
              <a:gd name="connsiteY23" fmla="*/ 589967 h 914221"/>
              <a:gd name="connsiteX24" fmla="*/ 885912 w 1688028"/>
              <a:gd name="connsiteY24" fmla="*/ 558217 h 914221"/>
              <a:gd name="connsiteX25" fmla="*/ 914487 w 1688028"/>
              <a:gd name="connsiteY25" fmla="*/ 523292 h 914221"/>
              <a:gd name="connsiteX26" fmla="*/ 924012 w 1688028"/>
              <a:gd name="connsiteY26" fmla="*/ 475667 h 914221"/>
              <a:gd name="connsiteX27" fmla="*/ 962112 w 1688028"/>
              <a:gd name="connsiteY27" fmla="*/ 437567 h 914221"/>
              <a:gd name="connsiteX28" fmla="*/ 1035137 w 1688028"/>
              <a:gd name="connsiteY28" fmla="*/ 383592 h 914221"/>
              <a:gd name="connsiteX29" fmla="*/ 1092287 w 1688028"/>
              <a:gd name="connsiteY29" fmla="*/ 335967 h 914221"/>
              <a:gd name="connsiteX30" fmla="*/ 1133562 w 1688028"/>
              <a:gd name="connsiteY30" fmla="*/ 288342 h 914221"/>
              <a:gd name="connsiteX31" fmla="*/ 1200237 w 1688028"/>
              <a:gd name="connsiteY31" fmla="*/ 221667 h 914221"/>
              <a:gd name="connsiteX32" fmla="*/ 1241512 w 1688028"/>
              <a:gd name="connsiteY32" fmla="*/ 174042 h 914221"/>
              <a:gd name="connsiteX33" fmla="*/ 1273262 w 1688028"/>
              <a:gd name="connsiteY33" fmla="*/ 139117 h 914221"/>
              <a:gd name="connsiteX34" fmla="*/ 1305012 w 1688028"/>
              <a:gd name="connsiteY34" fmla="*/ 104192 h 914221"/>
              <a:gd name="connsiteX35" fmla="*/ 1374862 w 1688028"/>
              <a:gd name="connsiteY35" fmla="*/ 53392 h 914221"/>
              <a:gd name="connsiteX36" fmla="*/ 1435187 w 1688028"/>
              <a:gd name="connsiteY36" fmla="*/ 34342 h 914221"/>
              <a:gd name="connsiteX37" fmla="*/ 1508212 w 1688028"/>
              <a:gd name="connsiteY37" fmla="*/ 24817 h 914221"/>
              <a:gd name="connsiteX38" fmla="*/ 1578062 w 1688028"/>
              <a:gd name="connsiteY38" fmla="*/ 34342 h 914221"/>
              <a:gd name="connsiteX39" fmla="*/ 1688028 w 1688028"/>
              <a:gd name="connsiteY39" fmla="*/ 0 h 914221"/>
              <a:gd name="connsiteX0" fmla="*/ 193494 w 1529804"/>
              <a:gd name="connsiteY0" fmla="*/ 696860 h 873382"/>
              <a:gd name="connsiteX1" fmla="*/ 184763 w 1529804"/>
              <a:gd name="connsiteY1" fmla="*/ 682041 h 873382"/>
              <a:gd name="connsiteX2" fmla="*/ 118882 w 1529804"/>
              <a:gd name="connsiteY2" fmla="*/ 723317 h 873382"/>
              <a:gd name="connsiteX3" fmla="*/ 188732 w 1529804"/>
              <a:gd name="connsiteY3" fmla="*/ 701093 h 873382"/>
              <a:gd name="connsiteX4" fmla="*/ 153013 w 1529804"/>
              <a:gd name="connsiteY4" fmla="*/ 694742 h 873382"/>
              <a:gd name="connsiteX5" fmla="*/ 196670 w 1529804"/>
              <a:gd name="connsiteY5" fmla="*/ 697917 h 873382"/>
              <a:gd name="connsiteX6" fmla="*/ 221275 w 1529804"/>
              <a:gd name="connsiteY6" fmla="*/ 694741 h 873382"/>
              <a:gd name="connsiteX7" fmla="*/ 160156 w 1529804"/>
              <a:gd name="connsiteY7" fmla="*/ 701092 h 873382"/>
              <a:gd name="connsiteX8" fmla="*/ 179206 w 1529804"/>
              <a:gd name="connsiteY8" fmla="*/ 707442 h 873382"/>
              <a:gd name="connsiteX9" fmla="*/ 203813 w 1529804"/>
              <a:gd name="connsiteY9" fmla="*/ 650291 h 873382"/>
              <a:gd name="connsiteX10" fmla="*/ 214132 w 1529804"/>
              <a:gd name="connsiteY10" fmla="*/ 647116 h 873382"/>
              <a:gd name="connsiteX11" fmla="*/ 10138 w 1529804"/>
              <a:gd name="connsiteY11" fmla="*/ 863017 h 873382"/>
              <a:gd name="connsiteX12" fmla="*/ 32363 w 1529804"/>
              <a:gd name="connsiteY12" fmla="*/ 834442 h 873382"/>
              <a:gd name="connsiteX13" fmla="*/ 45063 w 1529804"/>
              <a:gd name="connsiteY13" fmla="*/ 793167 h 873382"/>
              <a:gd name="connsiteX14" fmla="*/ 64113 w 1529804"/>
              <a:gd name="connsiteY14" fmla="*/ 770942 h 873382"/>
              <a:gd name="connsiteX15" fmla="*/ 108563 w 1529804"/>
              <a:gd name="connsiteY15" fmla="*/ 758242 h 873382"/>
              <a:gd name="connsiteX16" fmla="*/ 149838 w 1529804"/>
              <a:gd name="connsiteY16" fmla="*/ 688392 h 873382"/>
              <a:gd name="connsiteX17" fmla="*/ 206988 w 1529804"/>
              <a:gd name="connsiteY17" fmla="*/ 675692 h 873382"/>
              <a:gd name="connsiteX18" fmla="*/ 305413 w 1529804"/>
              <a:gd name="connsiteY18" fmla="*/ 650292 h 873382"/>
              <a:gd name="connsiteX19" fmla="*/ 429238 w 1529804"/>
              <a:gd name="connsiteY19" fmla="*/ 624892 h 873382"/>
              <a:gd name="connsiteX20" fmla="*/ 502263 w 1529804"/>
              <a:gd name="connsiteY20" fmla="*/ 599492 h 873382"/>
              <a:gd name="connsiteX21" fmla="*/ 553063 w 1529804"/>
              <a:gd name="connsiteY21" fmla="*/ 612192 h 873382"/>
              <a:gd name="connsiteX22" fmla="*/ 638788 w 1529804"/>
              <a:gd name="connsiteY22" fmla="*/ 612192 h 873382"/>
              <a:gd name="connsiteX23" fmla="*/ 686413 w 1529804"/>
              <a:gd name="connsiteY23" fmla="*/ 589967 h 873382"/>
              <a:gd name="connsiteX24" fmla="*/ 727688 w 1529804"/>
              <a:gd name="connsiteY24" fmla="*/ 558217 h 873382"/>
              <a:gd name="connsiteX25" fmla="*/ 756263 w 1529804"/>
              <a:gd name="connsiteY25" fmla="*/ 523292 h 873382"/>
              <a:gd name="connsiteX26" fmla="*/ 765788 w 1529804"/>
              <a:gd name="connsiteY26" fmla="*/ 475667 h 873382"/>
              <a:gd name="connsiteX27" fmla="*/ 803888 w 1529804"/>
              <a:gd name="connsiteY27" fmla="*/ 437567 h 873382"/>
              <a:gd name="connsiteX28" fmla="*/ 876913 w 1529804"/>
              <a:gd name="connsiteY28" fmla="*/ 383592 h 873382"/>
              <a:gd name="connsiteX29" fmla="*/ 934063 w 1529804"/>
              <a:gd name="connsiteY29" fmla="*/ 335967 h 873382"/>
              <a:gd name="connsiteX30" fmla="*/ 975338 w 1529804"/>
              <a:gd name="connsiteY30" fmla="*/ 288342 h 873382"/>
              <a:gd name="connsiteX31" fmla="*/ 1042013 w 1529804"/>
              <a:gd name="connsiteY31" fmla="*/ 221667 h 873382"/>
              <a:gd name="connsiteX32" fmla="*/ 1083288 w 1529804"/>
              <a:gd name="connsiteY32" fmla="*/ 174042 h 873382"/>
              <a:gd name="connsiteX33" fmla="*/ 1115038 w 1529804"/>
              <a:gd name="connsiteY33" fmla="*/ 139117 h 873382"/>
              <a:gd name="connsiteX34" fmla="*/ 1146788 w 1529804"/>
              <a:gd name="connsiteY34" fmla="*/ 104192 h 873382"/>
              <a:gd name="connsiteX35" fmla="*/ 1216638 w 1529804"/>
              <a:gd name="connsiteY35" fmla="*/ 53392 h 873382"/>
              <a:gd name="connsiteX36" fmla="*/ 1276963 w 1529804"/>
              <a:gd name="connsiteY36" fmla="*/ 34342 h 873382"/>
              <a:gd name="connsiteX37" fmla="*/ 1349988 w 1529804"/>
              <a:gd name="connsiteY37" fmla="*/ 24817 h 873382"/>
              <a:gd name="connsiteX38" fmla="*/ 1419838 w 1529804"/>
              <a:gd name="connsiteY38" fmla="*/ 34342 h 873382"/>
              <a:gd name="connsiteX39" fmla="*/ 1529804 w 1529804"/>
              <a:gd name="connsiteY39" fmla="*/ 0 h 873382"/>
              <a:gd name="connsiteX0" fmla="*/ 169009 w 1505319"/>
              <a:gd name="connsiteY0" fmla="*/ 696860 h 839653"/>
              <a:gd name="connsiteX1" fmla="*/ 160278 w 1505319"/>
              <a:gd name="connsiteY1" fmla="*/ 682041 h 839653"/>
              <a:gd name="connsiteX2" fmla="*/ 94397 w 1505319"/>
              <a:gd name="connsiteY2" fmla="*/ 723317 h 839653"/>
              <a:gd name="connsiteX3" fmla="*/ 164247 w 1505319"/>
              <a:gd name="connsiteY3" fmla="*/ 701093 h 839653"/>
              <a:gd name="connsiteX4" fmla="*/ 128528 w 1505319"/>
              <a:gd name="connsiteY4" fmla="*/ 694742 h 839653"/>
              <a:gd name="connsiteX5" fmla="*/ 172185 w 1505319"/>
              <a:gd name="connsiteY5" fmla="*/ 697917 h 839653"/>
              <a:gd name="connsiteX6" fmla="*/ 196790 w 1505319"/>
              <a:gd name="connsiteY6" fmla="*/ 694741 h 839653"/>
              <a:gd name="connsiteX7" fmla="*/ 135671 w 1505319"/>
              <a:gd name="connsiteY7" fmla="*/ 701092 h 839653"/>
              <a:gd name="connsiteX8" fmla="*/ 154721 w 1505319"/>
              <a:gd name="connsiteY8" fmla="*/ 707442 h 839653"/>
              <a:gd name="connsiteX9" fmla="*/ 179328 w 1505319"/>
              <a:gd name="connsiteY9" fmla="*/ 650291 h 839653"/>
              <a:gd name="connsiteX10" fmla="*/ 189647 w 1505319"/>
              <a:gd name="connsiteY10" fmla="*/ 647116 h 839653"/>
              <a:gd name="connsiteX11" fmla="*/ 149959 w 1505319"/>
              <a:gd name="connsiteY11" fmla="*/ 662992 h 839653"/>
              <a:gd name="connsiteX12" fmla="*/ 7878 w 1505319"/>
              <a:gd name="connsiteY12" fmla="*/ 834442 h 839653"/>
              <a:gd name="connsiteX13" fmla="*/ 20578 w 1505319"/>
              <a:gd name="connsiteY13" fmla="*/ 793167 h 839653"/>
              <a:gd name="connsiteX14" fmla="*/ 39628 w 1505319"/>
              <a:gd name="connsiteY14" fmla="*/ 770942 h 839653"/>
              <a:gd name="connsiteX15" fmla="*/ 84078 w 1505319"/>
              <a:gd name="connsiteY15" fmla="*/ 758242 h 839653"/>
              <a:gd name="connsiteX16" fmla="*/ 125353 w 1505319"/>
              <a:gd name="connsiteY16" fmla="*/ 688392 h 839653"/>
              <a:gd name="connsiteX17" fmla="*/ 182503 w 1505319"/>
              <a:gd name="connsiteY17" fmla="*/ 675692 h 839653"/>
              <a:gd name="connsiteX18" fmla="*/ 280928 w 1505319"/>
              <a:gd name="connsiteY18" fmla="*/ 650292 h 839653"/>
              <a:gd name="connsiteX19" fmla="*/ 404753 w 1505319"/>
              <a:gd name="connsiteY19" fmla="*/ 624892 h 839653"/>
              <a:gd name="connsiteX20" fmla="*/ 477778 w 1505319"/>
              <a:gd name="connsiteY20" fmla="*/ 599492 h 839653"/>
              <a:gd name="connsiteX21" fmla="*/ 528578 w 1505319"/>
              <a:gd name="connsiteY21" fmla="*/ 612192 h 839653"/>
              <a:gd name="connsiteX22" fmla="*/ 614303 w 1505319"/>
              <a:gd name="connsiteY22" fmla="*/ 612192 h 839653"/>
              <a:gd name="connsiteX23" fmla="*/ 661928 w 1505319"/>
              <a:gd name="connsiteY23" fmla="*/ 589967 h 839653"/>
              <a:gd name="connsiteX24" fmla="*/ 703203 w 1505319"/>
              <a:gd name="connsiteY24" fmla="*/ 558217 h 839653"/>
              <a:gd name="connsiteX25" fmla="*/ 731778 w 1505319"/>
              <a:gd name="connsiteY25" fmla="*/ 523292 h 839653"/>
              <a:gd name="connsiteX26" fmla="*/ 741303 w 1505319"/>
              <a:gd name="connsiteY26" fmla="*/ 475667 h 839653"/>
              <a:gd name="connsiteX27" fmla="*/ 779403 w 1505319"/>
              <a:gd name="connsiteY27" fmla="*/ 437567 h 839653"/>
              <a:gd name="connsiteX28" fmla="*/ 852428 w 1505319"/>
              <a:gd name="connsiteY28" fmla="*/ 383592 h 839653"/>
              <a:gd name="connsiteX29" fmla="*/ 909578 w 1505319"/>
              <a:gd name="connsiteY29" fmla="*/ 335967 h 839653"/>
              <a:gd name="connsiteX30" fmla="*/ 950853 w 1505319"/>
              <a:gd name="connsiteY30" fmla="*/ 288342 h 839653"/>
              <a:gd name="connsiteX31" fmla="*/ 1017528 w 1505319"/>
              <a:gd name="connsiteY31" fmla="*/ 221667 h 839653"/>
              <a:gd name="connsiteX32" fmla="*/ 1058803 w 1505319"/>
              <a:gd name="connsiteY32" fmla="*/ 174042 h 839653"/>
              <a:gd name="connsiteX33" fmla="*/ 1090553 w 1505319"/>
              <a:gd name="connsiteY33" fmla="*/ 139117 h 839653"/>
              <a:gd name="connsiteX34" fmla="*/ 1122303 w 1505319"/>
              <a:gd name="connsiteY34" fmla="*/ 104192 h 839653"/>
              <a:gd name="connsiteX35" fmla="*/ 1192153 w 1505319"/>
              <a:gd name="connsiteY35" fmla="*/ 53392 h 839653"/>
              <a:gd name="connsiteX36" fmla="*/ 1252478 w 1505319"/>
              <a:gd name="connsiteY36" fmla="*/ 34342 h 839653"/>
              <a:gd name="connsiteX37" fmla="*/ 1325503 w 1505319"/>
              <a:gd name="connsiteY37" fmla="*/ 24817 h 839653"/>
              <a:gd name="connsiteX38" fmla="*/ 1395353 w 1505319"/>
              <a:gd name="connsiteY38" fmla="*/ 34342 h 839653"/>
              <a:gd name="connsiteX39" fmla="*/ 1505319 w 1505319"/>
              <a:gd name="connsiteY39" fmla="*/ 0 h 839653"/>
              <a:gd name="connsiteX0" fmla="*/ 156434 w 1492744"/>
              <a:gd name="connsiteY0" fmla="*/ 696860 h 797916"/>
              <a:gd name="connsiteX1" fmla="*/ 147703 w 1492744"/>
              <a:gd name="connsiteY1" fmla="*/ 682041 h 797916"/>
              <a:gd name="connsiteX2" fmla="*/ 81822 w 1492744"/>
              <a:gd name="connsiteY2" fmla="*/ 723317 h 797916"/>
              <a:gd name="connsiteX3" fmla="*/ 151672 w 1492744"/>
              <a:gd name="connsiteY3" fmla="*/ 701093 h 797916"/>
              <a:gd name="connsiteX4" fmla="*/ 115953 w 1492744"/>
              <a:gd name="connsiteY4" fmla="*/ 694742 h 797916"/>
              <a:gd name="connsiteX5" fmla="*/ 159610 w 1492744"/>
              <a:gd name="connsiteY5" fmla="*/ 697917 h 797916"/>
              <a:gd name="connsiteX6" fmla="*/ 184215 w 1492744"/>
              <a:gd name="connsiteY6" fmla="*/ 694741 h 797916"/>
              <a:gd name="connsiteX7" fmla="*/ 123096 w 1492744"/>
              <a:gd name="connsiteY7" fmla="*/ 701092 h 797916"/>
              <a:gd name="connsiteX8" fmla="*/ 142146 w 1492744"/>
              <a:gd name="connsiteY8" fmla="*/ 707442 h 797916"/>
              <a:gd name="connsiteX9" fmla="*/ 166753 w 1492744"/>
              <a:gd name="connsiteY9" fmla="*/ 650291 h 797916"/>
              <a:gd name="connsiteX10" fmla="*/ 177072 w 1492744"/>
              <a:gd name="connsiteY10" fmla="*/ 647116 h 797916"/>
              <a:gd name="connsiteX11" fmla="*/ 137384 w 1492744"/>
              <a:gd name="connsiteY11" fmla="*/ 662992 h 797916"/>
              <a:gd name="connsiteX12" fmla="*/ 161990 w 1492744"/>
              <a:gd name="connsiteY12" fmla="*/ 669342 h 797916"/>
              <a:gd name="connsiteX13" fmla="*/ 8003 w 1492744"/>
              <a:gd name="connsiteY13" fmla="*/ 793167 h 797916"/>
              <a:gd name="connsiteX14" fmla="*/ 27053 w 1492744"/>
              <a:gd name="connsiteY14" fmla="*/ 770942 h 797916"/>
              <a:gd name="connsiteX15" fmla="*/ 71503 w 1492744"/>
              <a:gd name="connsiteY15" fmla="*/ 758242 h 797916"/>
              <a:gd name="connsiteX16" fmla="*/ 112778 w 1492744"/>
              <a:gd name="connsiteY16" fmla="*/ 688392 h 797916"/>
              <a:gd name="connsiteX17" fmla="*/ 169928 w 1492744"/>
              <a:gd name="connsiteY17" fmla="*/ 675692 h 797916"/>
              <a:gd name="connsiteX18" fmla="*/ 268353 w 1492744"/>
              <a:gd name="connsiteY18" fmla="*/ 650292 h 797916"/>
              <a:gd name="connsiteX19" fmla="*/ 392178 w 1492744"/>
              <a:gd name="connsiteY19" fmla="*/ 624892 h 797916"/>
              <a:gd name="connsiteX20" fmla="*/ 465203 w 1492744"/>
              <a:gd name="connsiteY20" fmla="*/ 599492 h 797916"/>
              <a:gd name="connsiteX21" fmla="*/ 516003 w 1492744"/>
              <a:gd name="connsiteY21" fmla="*/ 612192 h 797916"/>
              <a:gd name="connsiteX22" fmla="*/ 601728 w 1492744"/>
              <a:gd name="connsiteY22" fmla="*/ 612192 h 797916"/>
              <a:gd name="connsiteX23" fmla="*/ 649353 w 1492744"/>
              <a:gd name="connsiteY23" fmla="*/ 589967 h 797916"/>
              <a:gd name="connsiteX24" fmla="*/ 690628 w 1492744"/>
              <a:gd name="connsiteY24" fmla="*/ 558217 h 797916"/>
              <a:gd name="connsiteX25" fmla="*/ 719203 w 1492744"/>
              <a:gd name="connsiteY25" fmla="*/ 523292 h 797916"/>
              <a:gd name="connsiteX26" fmla="*/ 728728 w 1492744"/>
              <a:gd name="connsiteY26" fmla="*/ 475667 h 797916"/>
              <a:gd name="connsiteX27" fmla="*/ 766828 w 1492744"/>
              <a:gd name="connsiteY27" fmla="*/ 437567 h 797916"/>
              <a:gd name="connsiteX28" fmla="*/ 839853 w 1492744"/>
              <a:gd name="connsiteY28" fmla="*/ 383592 h 797916"/>
              <a:gd name="connsiteX29" fmla="*/ 897003 w 1492744"/>
              <a:gd name="connsiteY29" fmla="*/ 335967 h 797916"/>
              <a:gd name="connsiteX30" fmla="*/ 938278 w 1492744"/>
              <a:gd name="connsiteY30" fmla="*/ 288342 h 797916"/>
              <a:gd name="connsiteX31" fmla="*/ 1004953 w 1492744"/>
              <a:gd name="connsiteY31" fmla="*/ 221667 h 797916"/>
              <a:gd name="connsiteX32" fmla="*/ 1046228 w 1492744"/>
              <a:gd name="connsiteY32" fmla="*/ 174042 h 797916"/>
              <a:gd name="connsiteX33" fmla="*/ 1077978 w 1492744"/>
              <a:gd name="connsiteY33" fmla="*/ 139117 h 797916"/>
              <a:gd name="connsiteX34" fmla="*/ 1109728 w 1492744"/>
              <a:gd name="connsiteY34" fmla="*/ 104192 h 797916"/>
              <a:gd name="connsiteX35" fmla="*/ 1179578 w 1492744"/>
              <a:gd name="connsiteY35" fmla="*/ 53392 h 797916"/>
              <a:gd name="connsiteX36" fmla="*/ 1239903 w 1492744"/>
              <a:gd name="connsiteY36" fmla="*/ 34342 h 797916"/>
              <a:gd name="connsiteX37" fmla="*/ 1312928 w 1492744"/>
              <a:gd name="connsiteY37" fmla="*/ 24817 h 797916"/>
              <a:gd name="connsiteX38" fmla="*/ 1382778 w 1492744"/>
              <a:gd name="connsiteY38" fmla="*/ 34342 h 797916"/>
              <a:gd name="connsiteX39" fmla="*/ 1492744 w 1492744"/>
              <a:gd name="connsiteY39" fmla="*/ 0 h 797916"/>
              <a:gd name="connsiteX0" fmla="*/ 136722 w 1473032"/>
              <a:gd name="connsiteY0" fmla="*/ 696860 h 778271"/>
              <a:gd name="connsiteX1" fmla="*/ 127991 w 1473032"/>
              <a:gd name="connsiteY1" fmla="*/ 682041 h 778271"/>
              <a:gd name="connsiteX2" fmla="*/ 62110 w 1473032"/>
              <a:gd name="connsiteY2" fmla="*/ 723317 h 778271"/>
              <a:gd name="connsiteX3" fmla="*/ 131960 w 1473032"/>
              <a:gd name="connsiteY3" fmla="*/ 701093 h 778271"/>
              <a:gd name="connsiteX4" fmla="*/ 96241 w 1473032"/>
              <a:gd name="connsiteY4" fmla="*/ 694742 h 778271"/>
              <a:gd name="connsiteX5" fmla="*/ 139898 w 1473032"/>
              <a:gd name="connsiteY5" fmla="*/ 697917 h 778271"/>
              <a:gd name="connsiteX6" fmla="*/ 164503 w 1473032"/>
              <a:gd name="connsiteY6" fmla="*/ 694741 h 778271"/>
              <a:gd name="connsiteX7" fmla="*/ 103384 w 1473032"/>
              <a:gd name="connsiteY7" fmla="*/ 701092 h 778271"/>
              <a:gd name="connsiteX8" fmla="*/ 122434 w 1473032"/>
              <a:gd name="connsiteY8" fmla="*/ 707442 h 778271"/>
              <a:gd name="connsiteX9" fmla="*/ 147041 w 1473032"/>
              <a:gd name="connsiteY9" fmla="*/ 650291 h 778271"/>
              <a:gd name="connsiteX10" fmla="*/ 157360 w 1473032"/>
              <a:gd name="connsiteY10" fmla="*/ 647116 h 778271"/>
              <a:gd name="connsiteX11" fmla="*/ 117672 w 1473032"/>
              <a:gd name="connsiteY11" fmla="*/ 662992 h 778271"/>
              <a:gd name="connsiteX12" fmla="*/ 142278 w 1473032"/>
              <a:gd name="connsiteY12" fmla="*/ 669342 h 778271"/>
              <a:gd name="connsiteX13" fmla="*/ 216891 w 1473032"/>
              <a:gd name="connsiteY13" fmla="*/ 656641 h 778271"/>
              <a:gd name="connsiteX14" fmla="*/ 7341 w 1473032"/>
              <a:gd name="connsiteY14" fmla="*/ 770942 h 778271"/>
              <a:gd name="connsiteX15" fmla="*/ 51791 w 1473032"/>
              <a:gd name="connsiteY15" fmla="*/ 758242 h 778271"/>
              <a:gd name="connsiteX16" fmla="*/ 93066 w 1473032"/>
              <a:gd name="connsiteY16" fmla="*/ 688392 h 778271"/>
              <a:gd name="connsiteX17" fmla="*/ 150216 w 1473032"/>
              <a:gd name="connsiteY17" fmla="*/ 675692 h 778271"/>
              <a:gd name="connsiteX18" fmla="*/ 248641 w 1473032"/>
              <a:gd name="connsiteY18" fmla="*/ 650292 h 778271"/>
              <a:gd name="connsiteX19" fmla="*/ 372466 w 1473032"/>
              <a:gd name="connsiteY19" fmla="*/ 624892 h 778271"/>
              <a:gd name="connsiteX20" fmla="*/ 445491 w 1473032"/>
              <a:gd name="connsiteY20" fmla="*/ 599492 h 778271"/>
              <a:gd name="connsiteX21" fmla="*/ 496291 w 1473032"/>
              <a:gd name="connsiteY21" fmla="*/ 612192 h 778271"/>
              <a:gd name="connsiteX22" fmla="*/ 582016 w 1473032"/>
              <a:gd name="connsiteY22" fmla="*/ 612192 h 778271"/>
              <a:gd name="connsiteX23" fmla="*/ 629641 w 1473032"/>
              <a:gd name="connsiteY23" fmla="*/ 589967 h 778271"/>
              <a:gd name="connsiteX24" fmla="*/ 670916 w 1473032"/>
              <a:gd name="connsiteY24" fmla="*/ 558217 h 778271"/>
              <a:gd name="connsiteX25" fmla="*/ 699491 w 1473032"/>
              <a:gd name="connsiteY25" fmla="*/ 523292 h 778271"/>
              <a:gd name="connsiteX26" fmla="*/ 709016 w 1473032"/>
              <a:gd name="connsiteY26" fmla="*/ 475667 h 778271"/>
              <a:gd name="connsiteX27" fmla="*/ 747116 w 1473032"/>
              <a:gd name="connsiteY27" fmla="*/ 437567 h 778271"/>
              <a:gd name="connsiteX28" fmla="*/ 820141 w 1473032"/>
              <a:gd name="connsiteY28" fmla="*/ 383592 h 778271"/>
              <a:gd name="connsiteX29" fmla="*/ 877291 w 1473032"/>
              <a:gd name="connsiteY29" fmla="*/ 335967 h 778271"/>
              <a:gd name="connsiteX30" fmla="*/ 918566 w 1473032"/>
              <a:gd name="connsiteY30" fmla="*/ 288342 h 778271"/>
              <a:gd name="connsiteX31" fmla="*/ 985241 w 1473032"/>
              <a:gd name="connsiteY31" fmla="*/ 221667 h 778271"/>
              <a:gd name="connsiteX32" fmla="*/ 1026516 w 1473032"/>
              <a:gd name="connsiteY32" fmla="*/ 174042 h 778271"/>
              <a:gd name="connsiteX33" fmla="*/ 1058266 w 1473032"/>
              <a:gd name="connsiteY33" fmla="*/ 139117 h 778271"/>
              <a:gd name="connsiteX34" fmla="*/ 1090016 w 1473032"/>
              <a:gd name="connsiteY34" fmla="*/ 104192 h 778271"/>
              <a:gd name="connsiteX35" fmla="*/ 1159866 w 1473032"/>
              <a:gd name="connsiteY35" fmla="*/ 53392 h 778271"/>
              <a:gd name="connsiteX36" fmla="*/ 1220191 w 1473032"/>
              <a:gd name="connsiteY36" fmla="*/ 34342 h 778271"/>
              <a:gd name="connsiteX37" fmla="*/ 1293216 w 1473032"/>
              <a:gd name="connsiteY37" fmla="*/ 24817 h 778271"/>
              <a:gd name="connsiteX38" fmla="*/ 1363066 w 1473032"/>
              <a:gd name="connsiteY38" fmla="*/ 34342 h 778271"/>
              <a:gd name="connsiteX39" fmla="*/ 1473032 w 1473032"/>
              <a:gd name="connsiteY39" fmla="*/ 0 h 778271"/>
              <a:gd name="connsiteX0" fmla="*/ 85126 w 1421436"/>
              <a:gd name="connsiteY0" fmla="*/ 696860 h 758368"/>
              <a:gd name="connsiteX1" fmla="*/ 76395 w 1421436"/>
              <a:gd name="connsiteY1" fmla="*/ 682041 h 758368"/>
              <a:gd name="connsiteX2" fmla="*/ 10514 w 1421436"/>
              <a:gd name="connsiteY2" fmla="*/ 723317 h 758368"/>
              <a:gd name="connsiteX3" fmla="*/ 80364 w 1421436"/>
              <a:gd name="connsiteY3" fmla="*/ 701093 h 758368"/>
              <a:gd name="connsiteX4" fmla="*/ 44645 w 1421436"/>
              <a:gd name="connsiteY4" fmla="*/ 694742 h 758368"/>
              <a:gd name="connsiteX5" fmla="*/ 88302 w 1421436"/>
              <a:gd name="connsiteY5" fmla="*/ 697917 h 758368"/>
              <a:gd name="connsiteX6" fmla="*/ 112907 w 1421436"/>
              <a:gd name="connsiteY6" fmla="*/ 694741 h 758368"/>
              <a:gd name="connsiteX7" fmla="*/ 51788 w 1421436"/>
              <a:gd name="connsiteY7" fmla="*/ 701092 h 758368"/>
              <a:gd name="connsiteX8" fmla="*/ 70838 w 1421436"/>
              <a:gd name="connsiteY8" fmla="*/ 707442 h 758368"/>
              <a:gd name="connsiteX9" fmla="*/ 95445 w 1421436"/>
              <a:gd name="connsiteY9" fmla="*/ 650291 h 758368"/>
              <a:gd name="connsiteX10" fmla="*/ 105764 w 1421436"/>
              <a:gd name="connsiteY10" fmla="*/ 647116 h 758368"/>
              <a:gd name="connsiteX11" fmla="*/ 66076 w 1421436"/>
              <a:gd name="connsiteY11" fmla="*/ 662992 h 758368"/>
              <a:gd name="connsiteX12" fmla="*/ 90682 w 1421436"/>
              <a:gd name="connsiteY12" fmla="*/ 669342 h 758368"/>
              <a:gd name="connsiteX13" fmla="*/ 165295 w 1421436"/>
              <a:gd name="connsiteY13" fmla="*/ 656641 h 758368"/>
              <a:gd name="connsiteX14" fmla="*/ 58139 w 1421436"/>
              <a:gd name="connsiteY14" fmla="*/ 704267 h 758368"/>
              <a:gd name="connsiteX15" fmla="*/ 195 w 1421436"/>
              <a:gd name="connsiteY15" fmla="*/ 758242 h 758368"/>
              <a:gd name="connsiteX16" fmla="*/ 41470 w 1421436"/>
              <a:gd name="connsiteY16" fmla="*/ 688392 h 758368"/>
              <a:gd name="connsiteX17" fmla="*/ 98620 w 1421436"/>
              <a:gd name="connsiteY17" fmla="*/ 675692 h 758368"/>
              <a:gd name="connsiteX18" fmla="*/ 197045 w 1421436"/>
              <a:gd name="connsiteY18" fmla="*/ 650292 h 758368"/>
              <a:gd name="connsiteX19" fmla="*/ 320870 w 1421436"/>
              <a:gd name="connsiteY19" fmla="*/ 624892 h 758368"/>
              <a:gd name="connsiteX20" fmla="*/ 393895 w 1421436"/>
              <a:gd name="connsiteY20" fmla="*/ 599492 h 758368"/>
              <a:gd name="connsiteX21" fmla="*/ 444695 w 1421436"/>
              <a:gd name="connsiteY21" fmla="*/ 612192 h 758368"/>
              <a:gd name="connsiteX22" fmla="*/ 530420 w 1421436"/>
              <a:gd name="connsiteY22" fmla="*/ 612192 h 758368"/>
              <a:gd name="connsiteX23" fmla="*/ 578045 w 1421436"/>
              <a:gd name="connsiteY23" fmla="*/ 589967 h 758368"/>
              <a:gd name="connsiteX24" fmla="*/ 619320 w 1421436"/>
              <a:gd name="connsiteY24" fmla="*/ 558217 h 758368"/>
              <a:gd name="connsiteX25" fmla="*/ 647895 w 1421436"/>
              <a:gd name="connsiteY25" fmla="*/ 523292 h 758368"/>
              <a:gd name="connsiteX26" fmla="*/ 657420 w 1421436"/>
              <a:gd name="connsiteY26" fmla="*/ 475667 h 758368"/>
              <a:gd name="connsiteX27" fmla="*/ 695520 w 1421436"/>
              <a:gd name="connsiteY27" fmla="*/ 437567 h 758368"/>
              <a:gd name="connsiteX28" fmla="*/ 768545 w 1421436"/>
              <a:gd name="connsiteY28" fmla="*/ 383592 h 758368"/>
              <a:gd name="connsiteX29" fmla="*/ 825695 w 1421436"/>
              <a:gd name="connsiteY29" fmla="*/ 335967 h 758368"/>
              <a:gd name="connsiteX30" fmla="*/ 866970 w 1421436"/>
              <a:gd name="connsiteY30" fmla="*/ 288342 h 758368"/>
              <a:gd name="connsiteX31" fmla="*/ 933645 w 1421436"/>
              <a:gd name="connsiteY31" fmla="*/ 221667 h 758368"/>
              <a:gd name="connsiteX32" fmla="*/ 974920 w 1421436"/>
              <a:gd name="connsiteY32" fmla="*/ 174042 h 758368"/>
              <a:gd name="connsiteX33" fmla="*/ 1006670 w 1421436"/>
              <a:gd name="connsiteY33" fmla="*/ 139117 h 758368"/>
              <a:gd name="connsiteX34" fmla="*/ 1038420 w 1421436"/>
              <a:gd name="connsiteY34" fmla="*/ 104192 h 758368"/>
              <a:gd name="connsiteX35" fmla="*/ 1108270 w 1421436"/>
              <a:gd name="connsiteY35" fmla="*/ 53392 h 758368"/>
              <a:gd name="connsiteX36" fmla="*/ 1168595 w 1421436"/>
              <a:gd name="connsiteY36" fmla="*/ 34342 h 758368"/>
              <a:gd name="connsiteX37" fmla="*/ 1241620 w 1421436"/>
              <a:gd name="connsiteY37" fmla="*/ 24817 h 758368"/>
              <a:gd name="connsiteX38" fmla="*/ 1311470 w 1421436"/>
              <a:gd name="connsiteY38" fmla="*/ 34342 h 758368"/>
              <a:gd name="connsiteX39" fmla="*/ 1421436 w 1421436"/>
              <a:gd name="connsiteY39" fmla="*/ 0 h 758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21436" h="758368">
                <a:moveTo>
                  <a:pt x="85126" y="696860"/>
                </a:moveTo>
                <a:cubicBezTo>
                  <a:pt x="82216" y="691920"/>
                  <a:pt x="88830" y="677632"/>
                  <a:pt x="76395" y="682041"/>
                </a:cubicBezTo>
                <a:cubicBezTo>
                  <a:pt x="63960" y="686450"/>
                  <a:pt x="9853" y="720142"/>
                  <a:pt x="10514" y="723317"/>
                </a:cubicBezTo>
                <a:cubicBezTo>
                  <a:pt x="11175" y="726492"/>
                  <a:pt x="74676" y="705856"/>
                  <a:pt x="80364" y="701093"/>
                </a:cubicBezTo>
                <a:cubicBezTo>
                  <a:pt x="86053" y="696331"/>
                  <a:pt x="43322" y="695271"/>
                  <a:pt x="44645" y="694742"/>
                </a:cubicBezTo>
                <a:cubicBezTo>
                  <a:pt x="45968" y="694213"/>
                  <a:pt x="76925" y="697917"/>
                  <a:pt x="88302" y="697917"/>
                </a:cubicBezTo>
                <a:cubicBezTo>
                  <a:pt x="99679" y="697917"/>
                  <a:pt x="118993" y="694212"/>
                  <a:pt x="112907" y="694741"/>
                </a:cubicBezTo>
                <a:cubicBezTo>
                  <a:pt x="106821" y="695270"/>
                  <a:pt x="58800" y="698975"/>
                  <a:pt x="51788" y="701092"/>
                </a:cubicBezTo>
                <a:cubicBezTo>
                  <a:pt x="44777" y="703209"/>
                  <a:pt x="63562" y="715909"/>
                  <a:pt x="70838" y="707442"/>
                </a:cubicBezTo>
                <a:cubicBezTo>
                  <a:pt x="78114" y="698975"/>
                  <a:pt x="89624" y="660345"/>
                  <a:pt x="95445" y="650291"/>
                </a:cubicBezTo>
                <a:cubicBezTo>
                  <a:pt x="101266" y="640237"/>
                  <a:pt x="110659" y="644999"/>
                  <a:pt x="105764" y="647116"/>
                </a:cubicBezTo>
                <a:cubicBezTo>
                  <a:pt x="100869" y="649233"/>
                  <a:pt x="68590" y="659288"/>
                  <a:pt x="66076" y="662992"/>
                </a:cubicBezTo>
                <a:cubicBezTo>
                  <a:pt x="63562" y="666696"/>
                  <a:pt x="74146" y="670400"/>
                  <a:pt x="90682" y="669342"/>
                </a:cubicBezTo>
                <a:cubicBezTo>
                  <a:pt x="107218" y="668284"/>
                  <a:pt x="170719" y="650820"/>
                  <a:pt x="165295" y="656641"/>
                </a:cubicBezTo>
                <a:cubicBezTo>
                  <a:pt x="159871" y="662462"/>
                  <a:pt x="85656" y="687334"/>
                  <a:pt x="58139" y="704267"/>
                </a:cubicBezTo>
                <a:cubicBezTo>
                  <a:pt x="30622" y="721200"/>
                  <a:pt x="2973" y="760888"/>
                  <a:pt x="195" y="758242"/>
                </a:cubicBezTo>
                <a:cubicBezTo>
                  <a:pt x="-2583" y="755596"/>
                  <a:pt x="25066" y="702150"/>
                  <a:pt x="41470" y="688392"/>
                </a:cubicBezTo>
                <a:cubicBezTo>
                  <a:pt x="57874" y="674634"/>
                  <a:pt x="72691" y="682042"/>
                  <a:pt x="98620" y="675692"/>
                </a:cubicBezTo>
                <a:cubicBezTo>
                  <a:pt x="124549" y="669342"/>
                  <a:pt x="160003" y="658759"/>
                  <a:pt x="197045" y="650292"/>
                </a:cubicBezTo>
                <a:cubicBezTo>
                  <a:pt x="234087" y="641825"/>
                  <a:pt x="288062" y="633359"/>
                  <a:pt x="320870" y="624892"/>
                </a:cubicBezTo>
                <a:cubicBezTo>
                  <a:pt x="353678" y="616425"/>
                  <a:pt x="373258" y="601609"/>
                  <a:pt x="393895" y="599492"/>
                </a:cubicBezTo>
                <a:cubicBezTo>
                  <a:pt x="414532" y="597375"/>
                  <a:pt x="421941" y="610075"/>
                  <a:pt x="444695" y="612192"/>
                </a:cubicBezTo>
                <a:cubicBezTo>
                  <a:pt x="467449" y="614309"/>
                  <a:pt x="508195" y="615896"/>
                  <a:pt x="530420" y="612192"/>
                </a:cubicBezTo>
                <a:cubicBezTo>
                  <a:pt x="552645" y="608488"/>
                  <a:pt x="563228" y="598963"/>
                  <a:pt x="578045" y="589967"/>
                </a:cubicBezTo>
                <a:cubicBezTo>
                  <a:pt x="592862" y="580971"/>
                  <a:pt x="607678" y="569329"/>
                  <a:pt x="619320" y="558217"/>
                </a:cubicBezTo>
                <a:cubicBezTo>
                  <a:pt x="630962" y="547104"/>
                  <a:pt x="641545" y="537050"/>
                  <a:pt x="647895" y="523292"/>
                </a:cubicBezTo>
                <a:cubicBezTo>
                  <a:pt x="654245" y="509534"/>
                  <a:pt x="649483" y="489954"/>
                  <a:pt x="657420" y="475667"/>
                </a:cubicBezTo>
                <a:cubicBezTo>
                  <a:pt x="665357" y="461380"/>
                  <a:pt x="676999" y="452913"/>
                  <a:pt x="695520" y="437567"/>
                </a:cubicBezTo>
                <a:cubicBezTo>
                  <a:pt x="714041" y="422221"/>
                  <a:pt x="746849" y="400525"/>
                  <a:pt x="768545" y="383592"/>
                </a:cubicBezTo>
                <a:cubicBezTo>
                  <a:pt x="790241" y="366659"/>
                  <a:pt x="809291" y="351842"/>
                  <a:pt x="825695" y="335967"/>
                </a:cubicBezTo>
                <a:cubicBezTo>
                  <a:pt x="842099" y="320092"/>
                  <a:pt x="848978" y="307392"/>
                  <a:pt x="866970" y="288342"/>
                </a:cubicBezTo>
                <a:cubicBezTo>
                  <a:pt x="884962" y="269292"/>
                  <a:pt x="915653" y="240717"/>
                  <a:pt x="933645" y="221667"/>
                </a:cubicBezTo>
                <a:cubicBezTo>
                  <a:pt x="951637" y="202617"/>
                  <a:pt x="962749" y="187800"/>
                  <a:pt x="974920" y="174042"/>
                </a:cubicBezTo>
                <a:cubicBezTo>
                  <a:pt x="987091" y="160284"/>
                  <a:pt x="1006670" y="139117"/>
                  <a:pt x="1006670" y="139117"/>
                </a:cubicBezTo>
                <a:cubicBezTo>
                  <a:pt x="1017253" y="127475"/>
                  <a:pt x="1021487" y="118479"/>
                  <a:pt x="1038420" y="104192"/>
                </a:cubicBezTo>
                <a:cubicBezTo>
                  <a:pt x="1055353" y="89905"/>
                  <a:pt x="1086574" y="65034"/>
                  <a:pt x="1108270" y="53392"/>
                </a:cubicBezTo>
                <a:cubicBezTo>
                  <a:pt x="1129966" y="41750"/>
                  <a:pt x="1146370" y="39104"/>
                  <a:pt x="1168595" y="34342"/>
                </a:cubicBezTo>
                <a:cubicBezTo>
                  <a:pt x="1190820" y="29579"/>
                  <a:pt x="1217808" y="24817"/>
                  <a:pt x="1241620" y="24817"/>
                </a:cubicBezTo>
                <a:cubicBezTo>
                  <a:pt x="1265432" y="24817"/>
                  <a:pt x="1281501" y="38478"/>
                  <a:pt x="1311470" y="34342"/>
                </a:cubicBezTo>
                <a:cubicBezTo>
                  <a:pt x="1341439" y="30206"/>
                  <a:pt x="1401857" y="5292"/>
                  <a:pt x="1421436" y="0"/>
                </a:cubicBez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5041902" y="2918222"/>
            <a:ext cx="139471" cy="34289"/>
          </a:xfrm>
          <a:custGeom>
            <a:avLst/>
            <a:gdLst>
              <a:gd name="connsiteX0" fmla="*/ 85725 w 85725"/>
              <a:gd name="connsiteY0" fmla="*/ 0 h 34925"/>
              <a:gd name="connsiteX1" fmla="*/ 0 w 85725"/>
              <a:gd name="connsiteY1" fmla="*/ 34925 h 34925"/>
              <a:gd name="connsiteX2" fmla="*/ 0 w 85725"/>
              <a:gd name="connsiteY2" fmla="*/ 34925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725" h="34925">
                <a:moveTo>
                  <a:pt x="85725" y="0"/>
                </a:moveTo>
                <a:lnTo>
                  <a:pt x="0" y="34925"/>
                </a:lnTo>
                <a:lnTo>
                  <a:pt x="0" y="34925"/>
                </a:lnTo>
              </a:path>
            </a:pathLst>
          </a:custGeom>
          <a:solidFill>
            <a:srgbClr val="00B050"/>
          </a:solidFill>
          <a:ln w="101600" cmpd="sng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олилиния 6"/>
          <p:cNvSpPr/>
          <p:nvPr/>
        </p:nvSpPr>
        <p:spPr>
          <a:xfrm>
            <a:off x="5009249" y="2939005"/>
            <a:ext cx="113418" cy="53489"/>
          </a:xfrm>
          <a:custGeom>
            <a:avLst/>
            <a:gdLst>
              <a:gd name="connsiteX0" fmla="*/ 85725 w 85725"/>
              <a:gd name="connsiteY0" fmla="*/ 0 h 34925"/>
              <a:gd name="connsiteX1" fmla="*/ 0 w 85725"/>
              <a:gd name="connsiteY1" fmla="*/ 34925 h 34925"/>
              <a:gd name="connsiteX2" fmla="*/ 0 w 85725"/>
              <a:gd name="connsiteY2" fmla="*/ 34925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725" h="34925">
                <a:moveTo>
                  <a:pt x="85725" y="0"/>
                </a:moveTo>
                <a:lnTo>
                  <a:pt x="0" y="34925"/>
                </a:lnTo>
                <a:lnTo>
                  <a:pt x="0" y="34925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3826519" y="3149917"/>
            <a:ext cx="152400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7164288" y="203169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V="1">
            <a:off x="7020275" y="2031690"/>
            <a:ext cx="72008" cy="540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utoShape 19"/>
          <p:cNvSpPr>
            <a:spLocks noChangeArrowheads="1"/>
          </p:cNvSpPr>
          <p:nvPr/>
        </p:nvSpPr>
        <p:spPr bwMode="auto">
          <a:xfrm>
            <a:off x="8237497" y="1801125"/>
            <a:ext cx="864000" cy="14779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дыағаш</a:t>
            </a: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AutoShape 19"/>
          <p:cNvSpPr>
            <a:spLocks noChangeArrowheads="1"/>
          </p:cNvSpPr>
          <p:nvPr/>
        </p:nvSpPr>
        <p:spPr bwMode="auto">
          <a:xfrm>
            <a:off x="8282139" y="1061526"/>
            <a:ext cx="540000" cy="147793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төбе</a:t>
            </a: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олилиния 14"/>
          <p:cNvSpPr/>
          <p:nvPr/>
        </p:nvSpPr>
        <p:spPr>
          <a:xfrm>
            <a:off x="1425820" y="3258069"/>
            <a:ext cx="707367" cy="49175"/>
          </a:xfrm>
          <a:custGeom>
            <a:avLst/>
            <a:gdLst>
              <a:gd name="connsiteX0" fmla="*/ 0 w 707367"/>
              <a:gd name="connsiteY0" fmla="*/ 0 h 65567"/>
              <a:gd name="connsiteX1" fmla="*/ 267419 w 707367"/>
              <a:gd name="connsiteY1" fmla="*/ 60385 h 65567"/>
              <a:gd name="connsiteX2" fmla="*/ 483080 w 707367"/>
              <a:gd name="connsiteY2" fmla="*/ 60385 h 65567"/>
              <a:gd name="connsiteX3" fmla="*/ 595223 w 707367"/>
              <a:gd name="connsiteY3" fmla="*/ 43132 h 65567"/>
              <a:gd name="connsiteX4" fmla="*/ 707367 w 707367"/>
              <a:gd name="connsiteY4" fmla="*/ 8627 h 65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7367" h="65567">
                <a:moveTo>
                  <a:pt x="0" y="0"/>
                </a:moveTo>
                <a:cubicBezTo>
                  <a:pt x="93453" y="25160"/>
                  <a:pt x="186906" y="50321"/>
                  <a:pt x="267419" y="60385"/>
                </a:cubicBezTo>
                <a:cubicBezTo>
                  <a:pt x="347932" y="70449"/>
                  <a:pt x="428446" y="63260"/>
                  <a:pt x="483080" y="60385"/>
                </a:cubicBezTo>
                <a:cubicBezTo>
                  <a:pt x="537714" y="57510"/>
                  <a:pt x="557842" y="51758"/>
                  <a:pt x="595223" y="43132"/>
                </a:cubicBezTo>
                <a:cubicBezTo>
                  <a:pt x="632604" y="34506"/>
                  <a:pt x="669986" y="14378"/>
                  <a:pt x="707367" y="8627"/>
                </a:cubicBez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олилиния 15"/>
          <p:cNvSpPr/>
          <p:nvPr/>
        </p:nvSpPr>
        <p:spPr>
          <a:xfrm>
            <a:off x="2139355" y="2935729"/>
            <a:ext cx="1733909" cy="377818"/>
          </a:xfrm>
          <a:custGeom>
            <a:avLst/>
            <a:gdLst>
              <a:gd name="connsiteX0" fmla="*/ 0 w 1733909"/>
              <a:gd name="connsiteY0" fmla="*/ 433193 h 503757"/>
              <a:gd name="connsiteX1" fmla="*/ 189781 w 1733909"/>
              <a:gd name="connsiteY1" fmla="*/ 459072 h 503757"/>
              <a:gd name="connsiteX2" fmla="*/ 388189 w 1733909"/>
              <a:gd name="connsiteY2" fmla="*/ 502204 h 503757"/>
              <a:gd name="connsiteX3" fmla="*/ 612475 w 1733909"/>
              <a:gd name="connsiteY3" fmla="*/ 398687 h 503757"/>
              <a:gd name="connsiteX4" fmla="*/ 802257 w 1733909"/>
              <a:gd name="connsiteY4" fmla="*/ 329676 h 503757"/>
              <a:gd name="connsiteX5" fmla="*/ 992038 w 1733909"/>
              <a:gd name="connsiteY5" fmla="*/ 226159 h 503757"/>
              <a:gd name="connsiteX6" fmla="*/ 1207698 w 1733909"/>
              <a:gd name="connsiteY6" fmla="*/ 148521 h 503757"/>
              <a:gd name="connsiteX7" fmla="*/ 1302589 w 1733909"/>
              <a:gd name="connsiteY7" fmla="*/ 1872 h 503757"/>
              <a:gd name="connsiteX8" fmla="*/ 1440611 w 1733909"/>
              <a:gd name="connsiteY8" fmla="*/ 70883 h 503757"/>
              <a:gd name="connsiteX9" fmla="*/ 1613140 w 1733909"/>
              <a:gd name="connsiteY9" fmla="*/ 148521 h 503757"/>
              <a:gd name="connsiteX10" fmla="*/ 1690777 w 1733909"/>
              <a:gd name="connsiteY10" fmla="*/ 217532 h 503757"/>
              <a:gd name="connsiteX11" fmla="*/ 1733909 w 1733909"/>
              <a:gd name="connsiteY11" fmla="*/ 295170 h 5037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733909" h="503757">
                <a:moveTo>
                  <a:pt x="0" y="433193"/>
                </a:moveTo>
                <a:cubicBezTo>
                  <a:pt x="62541" y="441819"/>
                  <a:pt x="125083" y="447570"/>
                  <a:pt x="189781" y="459072"/>
                </a:cubicBezTo>
                <a:cubicBezTo>
                  <a:pt x="254479" y="470574"/>
                  <a:pt x="317740" y="512268"/>
                  <a:pt x="388189" y="502204"/>
                </a:cubicBezTo>
                <a:cubicBezTo>
                  <a:pt x="458638" y="492140"/>
                  <a:pt x="543464" y="427442"/>
                  <a:pt x="612475" y="398687"/>
                </a:cubicBezTo>
                <a:cubicBezTo>
                  <a:pt x="681486" y="369932"/>
                  <a:pt x="738997" y="358431"/>
                  <a:pt x="802257" y="329676"/>
                </a:cubicBezTo>
                <a:cubicBezTo>
                  <a:pt x="865517" y="300921"/>
                  <a:pt x="924465" y="256351"/>
                  <a:pt x="992038" y="226159"/>
                </a:cubicBezTo>
                <a:cubicBezTo>
                  <a:pt x="1059612" y="195966"/>
                  <a:pt x="1155940" y="185902"/>
                  <a:pt x="1207698" y="148521"/>
                </a:cubicBezTo>
                <a:cubicBezTo>
                  <a:pt x="1259456" y="111140"/>
                  <a:pt x="1263770" y="14812"/>
                  <a:pt x="1302589" y="1872"/>
                </a:cubicBezTo>
                <a:cubicBezTo>
                  <a:pt x="1341408" y="-11068"/>
                  <a:pt x="1388853" y="46442"/>
                  <a:pt x="1440611" y="70883"/>
                </a:cubicBezTo>
                <a:cubicBezTo>
                  <a:pt x="1492369" y="95324"/>
                  <a:pt x="1571446" y="124080"/>
                  <a:pt x="1613140" y="148521"/>
                </a:cubicBezTo>
                <a:cubicBezTo>
                  <a:pt x="1654834" y="172962"/>
                  <a:pt x="1670649" y="193090"/>
                  <a:pt x="1690777" y="217532"/>
                </a:cubicBezTo>
                <a:cubicBezTo>
                  <a:pt x="1710905" y="241974"/>
                  <a:pt x="1733909" y="276479"/>
                  <a:pt x="1733909" y="295170"/>
                </a:cubicBez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8119442" y="1170499"/>
            <a:ext cx="155412" cy="712082"/>
          </a:xfrm>
          <a:custGeom>
            <a:avLst/>
            <a:gdLst>
              <a:gd name="connsiteX0" fmla="*/ 112144 w 155398"/>
              <a:gd name="connsiteY0" fmla="*/ 0 h 621102"/>
              <a:gd name="connsiteX1" fmla="*/ 138023 w 155398"/>
              <a:gd name="connsiteY1" fmla="*/ 94891 h 621102"/>
              <a:gd name="connsiteX2" fmla="*/ 155276 w 155398"/>
              <a:gd name="connsiteY2" fmla="*/ 224287 h 621102"/>
              <a:gd name="connsiteX3" fmla="*/ 129396 w 155398"/>
              <a:gd name="connsiteY3" fmla="*/ 310551 h 621102"/>
              <a:gd name="connsiteX4" fmla="*/ 51759 w 155398"/>
              <a:gd name="connsiteY4" fmla="*/ 414068 h 621102"/>
              <a:gd name="connsiteX5" fmla="*/ 25879 w 155398"/>
              <a:gd name="connsiteY5" fmla="*/ 517585 h 621102"/>
              <a:gd name="connsiteX6" fmla="*/ 0 w 155398"/>
              <a:gd name="connsiteY6" fmla="*/ 621102 h 621102"/>
              <a:gd name="connsiteX0" fmla="*/ 105145 w 155411"/>
              <a:gd name="connsiteY0" fmla="*/ 0 h 704141"/>
              <a:gd name="connsiteX1" fmla="*/ 138023 w 155411"/>
              <a:gd name="connsiteY1" fmla="*/ 177930 h 704141"/>
              <a:gd name="connsiteX2" fmla="*/ 155276 w 155411"/>
              <a:gd name="connsiteY2" fmla="*/ 307326 h 704141"/>
              <a:gd name="connsiteX3" fmla="*/ 129396 w 155411"/>
              <a:gd name="connsiteY3" fmla="*/ 393590 h 704141"/>
              <a:gd name="connsiteX4" fmla="*/ 51759 w 155411"/>
              <a:gd name="connsiteY4" fmla="*/ 497107 h 704141"/>
              <a:gd name="connsiteX5" fmla="*/ 25879 w 155411"/>
              <a:gd name="connsiteY5" fmla="*/ 600624 h 704141"/>
              <a:gd name="connsiteX6" fmla="*/ 0 w 155411"/>
              <a:gd name="connsiteY6" fmla="*/ 704141 h 704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5411" h="704141">
                <a:moveTo>
                  <a:pt x="105145" y="0"/>
                </a:moveTo>
                <a:cubicBezTo>
                  <a:pt x="114490" y="28755"/>
                  <a:pt x="129668" y="126709"/>
                  <a:pt x="138023" y="177930"/>
                </a:cubicBezTo>
                <a:cubicBezTo>
                  <a:pt x="146378" y="229151"/>
                  <a:pt x="156714" y="271383"/>
                  <a:pt x="155276" y="307326"/>
                </a:cubicBezTo>
                <a:cubicBezTo>
                  <a:pt x="153838" y="343269"/>
                  <a:pt x="146649" y="361960"/>
                  <a:pt x="129396" y="393590"/>
                </a:cubicBezTo>
                <a:cubicBezTo>
                  <a:pt x="112143" y="425220"/>
                  <a:pt x="69012" y="462601"/>
                  <a:pt x="51759" y="497107"/>
                </a:cubicBezTo>
                <a:cubicBezTo>
                  <a:pt x="34506" y="531613"/>
                  <a:pt x="25879" y="600624"/>
                  <a:pt x="25879" y="600624"/>
                </a:cubicBezTo>
                <a:lnTo>
                  <a:pt x="0" y="704141"/>
                </a:ln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H="1">
            <a:off x="1403650" y="3175072"/>
            <a:ext cx="19711" cy="145172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олилиния 18"/>
          <p:cNvSpPr/>
          <p:nvPr/>
        </p:nvSpPr>
        <p:spPr>
          <a:xfrm rot="209207">
            <a:off x="7771791" y="1889793"/>
            <a:ext cx="308415" cy="130444"/>
          </a:xfrm>
          <a:custGeom>
            <a:avLst/>
            <a:gdLst>
              <a:gd name="connsiteX0" fmla="*/ 0 w 103517"/>
              <a:gd name="connsiteY0" fmla="*/ 34506 h 34506"/>
              <a:gd name="connsiteX1" fmla="*/ 103517 w 103517"/>
              <a:gd name="connsiteY1" fmla="*/ 0 h 345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3517" h="34506">
                <a:moveTo>
                  <a:pt x="0" y="34506"/>
                </a:moveTo>
                <a:lnTo>
                  <a:pt x="103517" y="0"/>
                </a:ln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AutoShape 19"/>
          <p:cNvSpPr>
            <a:spLocks noChangeArrowheads="1"/>
          </p:cNvSpPr>
          <p:nvPr/>
        </p:nvSpPr>
        <p:spPr bwMode="auto">
          <a:xfrm>
            <a:off x="5894301" y="2330236"/>
            <a:ext cx="459060" cy="13730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0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ғыз</a:t>
            </a:r>
            <a:endParaRPr lang="ru-RU" sz="10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 rot="17237319">
            <a:off x="8163243" y="1532992"/>
            <a:ext cx="388248" cy="1692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5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км</a:t>
            </a:r>
          </a:p>
        </p:txBody>
      </p:sp>
      <p:sp>
        <p:nvSpPr>
          <p:cNvPr id="26" name="AutoShape 19"/>
          <p:cNvSpPr>
            <a:spLocks noChangeArrowheads="1"/>
          </p:cNvSpPr>
          <p:nvPr/>
        </p:nvSpPr>
        <p:spPr bwMode="auto">
          <a:xfrm>
            <a:off x="215502" y="3034432"/>
            <a:ext cx="756098" cy="143994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рахань</a:t>
            </a: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 стрелкой 26"/>
          <p:cNvCxnSpPr/>
          <p:nvPr/>
        </p:nvCxnSpPr>
        <p:spPr>
          <a:xfrm flipH="1" flipV="1">
            <a:off x="971600" y="3092047"/>
            <a:ext cx="432048" cy="129422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олилиния 27"/>
          <p:cNvSpPr/>
          <p:nvPr/>
        </p:nvSpPr>
        <p:spPr>
          <a:xfrm>
            <a:off x="8105343" y="1196396"/>
            <a:ext cx="169284" cy="662765"/>
          </a:xfrm>
          <a:custGeom>
            <a:avLst/>
            <a:gdLst>
              <a:gd name="connsiteX0" fmla="*/ 114300 w 169284"/>
              <a:gd name="connsiteY0" fmla="*/ 0 h 781050"/>
              <a:gd name="connsiteX1" fmla="*/ 135731 w 169284"/>
              <a:gd name="connsiteY1" fmla="*/ 76200 h 781050"/>
              <a:gd name="connsiteX2" fmla="*/ 157162 w 169284"/>
              <a:gd name="connsiteY2" fmla="*/ 183357 h 781050"/>
              <a:gd name="connsiteX3" fmla="*/ 166687 w 169284"/>
              <a:gd name="connsiteY3" fmla="*/ 271463 h 781050"/>
              <a:gd name="connsiteX4" fmla="*/ 164306 w 169284"/>
              <a:gd name="connsiteY4" fmla="*/ 338138 h 781050"/>
              <a:gd name="connsiteX5" fmla="*/ 114300 w 169284"/>
              <a:gd name="connsiteY5" fmla="*/ 419100 h 781050"/>
              <a:gd name="connsiteX6" fmla="*/ 76200 w 169284"/>
              <a:gd name="connsiteY6" fmla="*/ 500063 h 781050"/>
              <a:gd name="connsiteX7" fmla="*/ 42862 w 169284"/>
              <a:gd name="connsiteY7" fmla="*/ 592932 h 781050"/>
              <a:gd name="connsiteX8" fmla="*/ 23812 w 169284"/>
              <a:gd name="connsiteY8" fmla="*/ 685800 h 781050"/>
              <a:gd name="connsiteX9" fmla="*/ 0 w 169284"/>
              <a:gd name="connsiteY9" fmla="*/ 781050 h 781050"/>
              <a:gd name="connsiteX10" fmla="*/ 0 w 169284"/>
              <a:gd name="connsiteY10" fmla="*/ 781050 h 781050"/>
              <a:gd name="connsiteX0" fmla="*/ 114300 w 169284"/>
              <a:gd name="connsiteY0" fmla="*/ 0 h 883687"/>
              <a:gd name="connsiteX1" fmla="*/ 135731 w 169284"/>
              <a:gd name="connsiteY1" fmla="*/ 178837 h 883687"/>
              <a:gd name="connsiteX2" fmla="*/ 157162 w 169284"/>
              <a:gd name="connsiteY2" fmla="*/ 285994 h 883687"/>
              <a:gd name="connsiteX3" fmla="*/ 166687 w 169284"/>
              <a:gd name="connsiteY3" fmla="*/ 374100 h 883687"/>
              <a:gd name="connsiteX4" fmla="*/ 164306 w 169284"/>
              <a:gd name="connsiteY4" fmla="*/ 440775 h 883687"/>
              <a:gd name="connsiteX5" fmla="*/ 114300 w 169284"/>
              <a:gd name="connsiteY5" fmla="*/ 521737 h 883687"/>
              <a:gd name="connsiteX6" fmla="*/ 76200 w 169284"/>
              <a:gd name="connsiteY6" fmla="*/ 602700 h 883687"/>
              <a:gd name="connsiteX7" fmla="*/ 42862 w 169284"/>
              <a:gd name="connsiteY7" fmla="*/ 695569 h 883687"/>
              <a:gd name="connsiteX8" fmla="*/ 23812 w 169284"/>
              <a:gd name="connsiteY8" fmla="*/ 788437 h 883687"/>
              <a:gd name="connsiteX9" fmla="*/ 0 w 169284"/>
              <a:gd name="connsiteY9" fmla="*/ 883687 h 883687"/>
              <a:gd name="connsiteX10" fmla="*/ 0 w 169284"/>
              <a:gd name="connsiteY10" fmla="*/ 883687 h 88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9284" h="883687">
                <a:moveTo>
                  <a:pt x="114300" y="0"/>
                </a:moveTo>
                <a:cubicBezTo>
                  <a:pt x="121443" y="22820"/>
                  <a:pt x="128587" y="131171"/>
                  <a:pt x="135731" y="178837"/>
                </a:cubicBezTo>
                <a:cubicBezTo>
                  <a:pt x="142875" y="226503"/>
                  <a:pt x="152003" y="253450"/>
                  <a:pt x="157162" y="285994"/>
                </a:cubicBezTo>
                <a:cubicBezTo>
                  <a:pt x="162321" y="318538"/>
                  <a:pt x="165496" y="348303"/>
                  <a:pt x="166687" y="374100"/>
                </a:cubicBezTo>
                <a:cubicBezTo>
                  <a:pt x="167878" y="399897"/>
                  <a:pt x="173037" y="416169"/>
                  <a:pt x="164306" y="440775"/>
                </a:cubicBezTo>
                <a:cubicBezTo>
                  <a:pt x="155575" y="465381"/>
                  <a:pt x="128984" y="494750"/>
                  <a:pt x="114300" y="521737"/>
                </a:cubicBezTo>
                <a:cubicBezTo>
                  <a:pt x="99616" y="548724"/>
                  <a:pt x="88106" y="573728"/>
                  <a:pt x="76200" y="602700"/>
                </a:cubicBezTo>
                <a:cubicBezTo>
                  <a:pt x="64294" y="631672"/>
                  <a:pt x="51593" y="664613"/>
                  <a:pt x="42862" y="695569"/>
                </a:cubicBezTo>
                <a:cubicBezTo>
                  <a:pt x="34131" y="726525"/>
                  <a:pt x="30956" y="757084"/>
                  <a:pt x="23812" y="788437"/>
                </a:cubicBezTo>
                <a:cubicBezTo>
                  <a:pt x="16668" y="819790"/>
                  <a:pt x="0" y="883687"/>
                  <a:pt x="0" y="883687"/>
                </a:cubicBezTo>
                <a:lnTo>
                  <a:pt x="0" y="883687"/>
                </a:ln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олилиния 32"/>
          <p:cNvSpPr/>
          <p:nvPr/>
        </p:nvSpPr>
        <p:spPr>
          <a:xfrm>
            <a:off x="1406109" y="2923900"/>
            <a:ext cx="2475781" cy="398891"/>
          </a:xfrm>
          <a:custGeom>
            <a:avLst/>
            <a:gdLst>
              <a:gd name="connsiteX0" fmla="*/ 0 w 2475781"/>
              <a:gd name="connsiteY0" fmla="*/ 414682 h 531855"/>
              <a:gd name="connsiteX1" fmla="*/ 94890 w 2475781"/>
              <a:gd name="connsiteY1" fmla="*/ 431934 h 531855"/>
              <a:gd name="connsiteX2" fmla="*/ 163902 w 2475781"/>
              <a:gd name="connsiteY2" fmla="*/ 466440 h 531855"/>
              <a:gd name="connsiteX3" fmla="*/ 293298 w 2475781"/>
              <a:gd name="connsiteY3" fmla="*/ 483693 h 531855"/>
              <a:gd name="connsiteX4" fmla="*/ 405441 w 2475781"/>
              <a:gd name="connsiteY4" fmla="*/ 483693 h 531855"/>
              <a:gd name="connsiteX5" fmla="*/ 500332 w 2475781"/>
              <a:gd name="connsiteY5" fmla="*/ 466440 h 531855"/>
              <a:gd name="connsiteX6" fmla="*/ 664234 w 2475781"/>
              <a:gd name="connsiteY6" fmla="*/ 457814 h 531855"/>
              <a:gd name="connsiteX7" fmla="*/ 698739 w 2475781"/>
              <a:gd name="connsiteY7" fmla="*/ 423308 h 531855"/>
              <a:gd name="connsiteX8" fmla="*/ 776377 w 2475781"/>
              <a:gd name="connsiteY8" fmla="*/ 457814 h 531855"/>
              <a:gd name="connsiteX9" fmla="*/ 966158 w 2475781"/>
              <a:gd name="connsiteY9" fmla="*/ 483693 h 531855"/>
              <a:gd name="connsiteX10" fmla="*/ 1078302 w 2475781"/>
              <a:gd name="connsiteY10" fmla="*/ 509572 h 531855"/>
              <a:gd name="connsiteX11" fmla="*/ 1147313 w 2475781"/>
              <a:gd name="connsiteY11" fmla="*/ 526825 h 531855"/>
              <a:gd name="connsiteX12" fmla="*/ 1328468 w 2475781"/>
              <a:gd name="connsiteY12" fmla="*/ 414682 h 531855"/>
              <a:gd name="connsiteX13" fmla="*/ 1492369 w 2475781"/>
              <a:gd name="connsiteY13" fmla="*/ 362923 h 531855"/>
              <a:gd name="connsiteX14" fmla="*/ 1587260 w 2475781"/>
              <a:gd name="connsiteY14" fmla="*/ 328417 h 531855"/>
              <a:gd name="connsiteX15" fmla="*/ 1682151 w 2475781"/>
              <a:gd name="connsiteY15" fmla="*/ 268032 h 531855"/>
              <a:gd name="connsiteX16" fmla="*/ 1733909 w 2475781"/>
              <a:gd name="connsiteY16" fmla="*/ 242153 h 531855"/>
              <a:gd name="connsiteX17" fmla="*/ 1846052 w 2475781"/>
              <a:gd name="connsiteY17" fmla="*/ 199021 h 531855"/>
              <a:gd name="connsiteX18" fmla="*/ 1966822 w 2475781"/>
              <a:gd name="connsiteY18" fmla="*/ 130010 h 531855"/>
              <a:gd name="connsiteX19" fmla="*/ 2009954 w 2475781"/>
              <a:gd name="connsiteY19" fmla="*/ 52372 h 531855"/>
              <a:gd name="connsiteX20" fmla="*/ 2053086 w 2475781"/>
              <a:gd name="connsiteY20" fmla="*/ 614 h 531855"/>
              <a:gd name="connsiteX21" fmla="*/ 2173856 w 2475781"/>
              <a:gd name="connsiteY21" fmla="*/ 86878 h 531855"/>
              <a:gd name="connsiteX22" fmla="*/ 2268747 w 2475781"/>
              <a:gd name="connsiteY22" fmla="*/ 121383 h 531855"/>
              <a:gd name="connsiteX23" fmla="*/ 2424022 w 2475781"/>
              <a:gd name="connsiteY23" fmla="*/ 207648 h 531855"/>
              <a:gd name="connsiteX24" fmla="*/ 2475781 w 2475781"/>
              <a:gd name="connsiteY24" fmla="*/ 293912 h 531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475781" h="531855">
                <a:moveTo>
                  <a:pt x="0" y="414682"/>
                </a:moveTo>
                <a:cubicBezTo>
                  <a:pt x="33786" y="418995"/>
                  <a:pt x="67573" y="423308"/>
                  <a:pt x="94890" y="431934"/>
                </a:cubicBezTo>
                <a:cubicBezTo>
                  <a:pt x="122207" y="440560"/>
                  <a:pt x="130834" y="457814"/>
                  <a:pt x="163902" y="466440"/>
                </a:cubicBezTo>
                <a:cubicBezTo>
                  <a:pt x="196970" y="475066"/>
                  <a:pt x="253042" y="480818"/>
                  <a:pt x="293298" y="483693"/>
                </a:cubicBezTo>
                <a:cubicBezTo>
                  <a:pt x="333555" y="486569"/>
                  <a:pt x="370936" y="486568"/>
                  <a:pt x="405441" y="483693"/>
                </a:cubicBezTo>
                <a:cubicBezTo>
                  <a:pt x="439946" y="480818"/>
                  <a:pt x="457200" y="470753"/>
                  <a:pt x="500332" y="466440"/>
                </a:cubicBezTo>
                <a:cubicBezTo>
                  <a:pt x="543464" y="462127"/>
                  <a:pt x="631166" y="465003"/>
                  <a:pt x="664234" y="457814"/>
                </a:cubicBezTo>
                <a:cubicBezTo>
                  <a:pt x="697302" y="450625"/>
                  <a:pt x="680049" y="423308"/>
                  <a:pt x="698739" y="423308"/>
                </a:cubicBezTo>
                <a:cubicBezTo>
                  <a:pt x="717429" y="423308"/>
                  <a:pt x="731807" y="447750"/>
                  <a:pt x="776377" y="457814"/>
                </a:cubicBezTo>
                <a:cubicBezTo>
                  <a:pt x="820947" y="467878"/>
                  <a:pt x="915837" y="475067"/>
                  <a:pt x="966158" y="483693"/>
                </a:cubicBezTo>
                <a:cubicBezTo>
                  <a:pt x="1016479" y="492319"/>
                  <a:pt x="1048110" y="502383"/>
                  <a:pt x="1078302" y="509572"/>
                </a:cubicBezTo>
                <a:cubicBezTo>
                  <a:pt x="1108494" y="516761"/>
                  <a:pt x="1105619" y="542640"/>
                  <a:pt x="1147313" y="526825"/>
                </a:cubicBezTo>
                <a:cubicBezTo>
                  <a:pt x="1189007" y="511010"/>
                  <a:pt x="1270959" y="441999"/>
                  <a:pt x="1328468" y="414682"/>
                </a:cubicBezTo>
                <a:cubicBezTo>
                  <a:pt x="1385977" y="387365"/>
                  <a:pt x="1449237" y="377300"/>
                  <a:pt x="1492369" y="362923"/>
                </a:cubicBezTo>
                <a:cubicBezTo>
                  <a:pt x="1535501" y="348545"/>
                  <a:pt x="1555630" y="344232"/>
                  <a:pt x="1587260" y="328417"/>
                </a:cubicBezTo>
                <a:cubicBezTo>
                  <a:pt x="1618890" y="312602"/>
                  <a:pt x="1657710" y="282409"/>
                  <a:pt x="1682151" y="268032"/>
                </a:cubicBezTo>
                <a:cubicBezTo>
                  <a:pt x="1706593" y="253655"/>
                  <a:pt x="1706592" y="253655"/>
                  <a:pt x="1733909" y="242153"/>
                </a:cubicBezTo>
                <a:cubicBezTo>
                  <a:pt x="1761226" y="230651"/>
                  <a:pt x="1807233" y="217711"/>
                  <a:pt x="1846052" y="199021"/>
                </a:cubicBezTo>
                <a:cubicBezTo>
                  <a:pt x="1884871" y="180331"/>
                  <a:pt x="1939505" y="154451"/>
                  <a:pt x="1966822" y="130010"/>
                </a:cubicBezTo>
                <a:cubicBezTo>
                  <a:pt x="1994139" y="105568"/>
                  <a:pt x="1995577" y="73938"/>
                  <a:pt x="2009954" y="52372"/>
                </a:cubicBezTo>
                <a:cubicBezTo>
                  <a:pt x="2024331" y="30806"/>
                  <a:pt x="2025769" y="-5137"/>
                  <a:pt x="2053086" y="614"/>
                </a:cubicBezTo>
                <a:cubicBezTo>
                  <a:pt x="2080403" y="6365"/>
                  <a:pt x="2137913" y="66750"/>
                  <a:pt x="2173856" y="86878"/>
                </a:cubicBezTo>
                <a:cubicBezTo>
                  <a:pt x="2209799" y="107006"/>
                  <a:pt x="2227053" y="101255"/>
                  <a:pt x="2268747" y="121383"/>
                </a:cubicBezTo>
                <a:cubicBezTo>
                  <a:pt x="2310441" y="141511"/>
                  <a:pt x="2389516" y="178893"/>
                  <a:pt x="2424022" y="207648"/>
                </a:cubicBezTo>
                <a:cubicBezTo>
                  <a:pt x="2458528" y="236403"/>
                  <a:pt x="2467155" y="273784"/>
                  <a:pt x="2475781" y="293912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8129739" y="1106770"/>
            <a:ext cx="152400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AutoShape 19"/>
          <p:cNvSpPr>
            <a:spLocks noChangeArrowheads="1"/>
          </p:cNvSpPr>
          <p:nvPr/>
        </p:nvSpPr>
        <p:spPr bwMode="auto">
          <a:xfrm>
            <a:off x="3190485" y="3159723"/>
            <a:ext cx="594077" cy="13730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ырау</a:t>
            </a:r>
          </a:p>
        </p:txBody>
      </p:sp>
      <p:cxnSp>
        <p:nvCxnSpPr>
          <p:cNvPr id="36" name="Прямая со стрелкой 35"/>
          <p:cNvCxnSpPr>
            <a:cxnSpLocks/>
          </p:cNvCxnSpPr>
          <p:nvPr/>
        </p:nvCxnSpPr>
        <p:spPr>
          <a:xfrm flipV="1">
            <a:off x="1675096" y="3374677"/>
            <a:ext cx="592648" cy="280196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олилиния 37"/>
          <p:cNvSpPr/>
          <p:nvPr/>
        </p:nvSpPr>
        <p:spPr>
          <a:xfrm>
            <a:off x="3981497" y="2961029"/>
            <a:ext cx="992037" cy="258793"/>
          </a:xfrm>
          <a:custGeom>
            <a:avLst/>
            <a:gdLst>
              <a:gd name="connsiteX0" fmla="*/ 0 w 992037"/>
              <a:gd name="connsiteY0" fmla="*/ 345057 h 345057"/>
              <a:gd name="connsiteX1" fmla="*/ 181154 w 992037"/>
              <a:gd name="connsiteY1" fmla="*/ 250166 h 345057"/>
              <a:gd name="connsiteX2" fmla="*/ 370935 w 992037"/>
              <a:gd name="connsiteY2" fmla="*/ 172528 h 345057"/>
              <a:gd name="connsiteX3" fmla="*/ 543464 w 992037"/>
              <a:gd name="connsiteY3" fmla="*/ 112144 h 345057"/>
              <a:gd name="connsiteX4" fmla="*/ 690113 w 992037"/>
              <a:gd name="connsiteY4" fmla="*/ 146649 h 345057"/>
              <a:gd name="connsiteX5" fmla="*/ 810883 w 992037"/>
              <a:gd name="connsiteY5" fmla="*/ 77638 h 345057"/>
              <a:gd name="connsiteX6" fmla="*/ 879894 w 992037"/>
              <a:gd name="connsiteY6" fmla="*/ 25879 h 345057"/>
              <a:gd name="connsiteX7" fmla="*/ 992037 w 992037"/>
              <a:gd name="connsiteY7" fmla="*/ 0 h 345057"/>
              <a:gd name="connsiteX8" fmla="*/ 992037 w 992037"/>
              <a:gd name="connsiteY8" fmla="*/ 0 h 345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2037" h="345057">
                <a:moveTo>
                  <a:pt x="0" y="345057"/>
                </a:moveTo>
                <a:cubicBezTo>
                  <a:pt x="59666" y="311989"/>
                  <a:pt x="119332" y="278921"/>
                  <a:pt x="181154" y="250166"/>
                </a:cubicBezTo>
                <a:cubicBezTo>
                  <a:pt x="242976" y="221411"/>
                  <a:pt x="310550" y="195532"/>
                  <a:pt x="370935" y="172528"/>
                </a:cubicBezTo>
                <a:cubicBezTo>
                  <a:pt x="431320" y="149524"/>
                  <a:pt x="490268" y="116457"/>
                  <a:pt x="543464" y="112144"/>
                </a:cubicBezTo>
                <a:cubicBezTo>
                  <a:pt x="596660" y="107831"/>
                  <a:pt x="645543" y="152400"/>
                  <a:pt x="690113" y="146649"/>
                </a:cubicBezTo>
                <a:cubicBezTo>
                  <a:pt x="734683" y="140898"/>
                  <a:pt x="779253" y="97766"/>
                  <a:pt x="810883" y="77638"/>
                </a:cubicBezTo>
                <a:cubicBezTo>
                  <a:pt x="842513" y="57510"/>
                  <a:pt x="849702" y="38819"/>
                  <a:pt x="879894" y="25879"/>
                </a:cubicBezTo>
                <a:cubicBezTo>
                  <a:pt x="910086" y="12939"/>
                  <a:pt x="992037" y="0"/>
                  <a:pt x="992037" y="0"/>
                </a:cubicBezTo>
                <a:lnTo>
                  <a:pt x="992037" y="0"/>
                </a:ln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4855890" y="3047672"/>
            <a:ext cx="1052513" cy="1868091"/>
          </a:xfrm>
          <a:custGeom>
            <a:avLst/>
            <a:gdLst>
              <a:gd name="connsiteX0" fmla="*/ 0 w 809625"/>
              <a:gd name="connsiteY0" fmla="*/ 0 h 1962150"/>
              <a:gd name="connsiteX1" fmla="*/ 138113 w 809625"/>
              <a:gd name="connsiteY1" fmla="*/ 28575 h 1962150"/>
              <a:gd name="connsiteX2" fmla="*/ 276225 w 809625"/>
              <a:gd name="connsiteY2" fmla="*/ 52388 h 1962150"/>
              <a:gd name="connsiteX3" fmla="*/ 390525 w 809625"/>
              <a:gd name="connsiteY3" fmla="*/ 100013 h 1962150"/>
              <a:gd name="connsiteX4" fmla="*/ 423863 w 809625"/>
              <a:gd name="connsiteY4" fmla="*/ 157163 h 1962150"/>
              <a:gd name="connsiteX5" fmla="*/ 642938 w 809625"/>
              <a:gd name="connsiteY5" fmla="*/ 552450 h 1962150"/>
              <a:gd name="connsiteX6" fmla="*/ 590550 w 809625"/>
              <a:gd name="connsiteY6" fmla="*/ 690563 h 1962150"/>
              <a:gd name="connsiteX7" fmla="*/ 652463 w 809625"/>
              <a:gd name="connsiteY7" fmla="*/ 838200 h 1962150"/>
              <a:gd name="connsiteX8" fmla="*/ 633413 w 809625"/>
              <a:gd name="connsiteY8" fmla="*/ 976313 h 1962150"/>
              <a:gd name="connsiteX9" fmla="*/ 790575 w 809625"/>
              <a:gd name="connsiteY9" fmla="*/ 1681163 h 1962150"/>
              <a:gd name="connsiteX10" fmla="*/ 762000 w 809625"/>
              <a:gd name="connsiteY10" fmla="*/ 1819275 h 1962150"/>
              <a:gd name="connsiteX11" fmla="*/ 809625 w 809625"/>
              <a:gd name="connsiteY11" fmla="*/ 1962150 h 1962150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90575 w 1052513"/>
              <a:gd name="connsiteY9" fmla="*/ 1681163 h 2490788"/>
              <a:gd name="connsiteX10" fmla="*/ 762000 w 1052513"/>
              <a:gd name="connsiteY10" fmla="*/ 1819275 h 2490788"/>
              <a:gd name="connsiteX11" fmla="*/ 1052513 w 1052513"/>
              <a:gd name="connsiteY11" fmla="*/ 2490788 h 2490788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90575 w 1052513"/>
              <a:gd name="connsiteY9" fmla="*/ 1681163 h 2490788"/>
              <a:gd name="connsiteX10" fmla="*/ 762000 w 1052513"/>
              <a:gd name="connsiteY10" fmla="*/ 1819275 h 2490788"/>
              <a:gd name="connsiteX11" fmla="*/ 938213 w 1052513"/>
              <a:gd name="connsiteY11" fmla="*/ 2309813 h 2490788"/>
              <a:gd name="connsiteX12" fmla="*/ 1052513 w 1052513"/>
              <a:gd name="connsiteY12" fmla="*/ 2490788 h 2490788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85813 w 1052513"/>
              <a:gd name="connsiteY9" fmla="*/ 1614488 h 2490788"/>
              <a:gd name="connsiteX10" fmla="*/ 762000 w 1052513"/>
              <a:gd name="connsiteY10" fmla="*/ 1819275 h 2490788"/>
              <a:gd name="connsiteX11" fmla="*/ 938213 w 1052513"/>
              <a:gd name="connsiteY11" fmla="*/ 2309813 h 2490788"/>
              <a:gd name="connsiteX12" fmla="*/ 1052513 w 1052513"/>
              <a:gd name="connsiteY12" fmla="*/ 2490788 h 2490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52513" h="2490788">
                <a:moveTo>
                  <a:pt x="0" y="0"/>
                </a:moveTo>
                <a:lnTo>
                  <a:pt x="138113" y="28575"/>
                </a:lnTo>
                <a:cubicBezTo>
                  <a:pt x="184151" y="37306"/>
                  <a:pt x="234156" y="40482"/>
                  <a:pt x="276225" y="52388"/>
                </a:cubicBezTo>
                <a:cubicBezTo>
                  <a:pt x="318294" y="64294"/>
                  <a:pt x="365919" y="82551"/>
                  <a:pt x="390525" y="100013"/>
                </a:cubicBezTo>
                <a:cubicBezTo>
                  <a:pt x="415131" y="117475"/>
                  <a:pt x="381794" y="81757"/>
                  <a:pt x="423863" y="157163"/>
                </a:cubicBezTo>
                <a:cubicBezTo>
                  <a:pt x="465932" y="232569"/>
                  <a:pt x="615157" y="463550"/>
                  <a:pt x="642938" y="552450"/>
                </a:cubicBezTo>
                <a:cubicBezTo>
                  <a:pt x="670719" y="641350"/>
                  <a:pt x="588963" y="642938"/>
                  <a:pt x="590550" y="690563"/>
                </a:cubicBezTo>
                <a:cubicBezTo>
                  <a:pt x="592137" y="738188"/>
                  <a:pt x="645319" y="790575"/>
                  <a:pt x="652463" y="838200"/>
                </a:cubicBezTo>
                <a:cubicBezTo>
                  <a:pt x="659607" y="885825"/>
                  <a:pt x="611188" y="846932"/>
                  <a:pt x="633413" y="976313"/>
                </a:cubicBezTo>
                <a:cubicBezTo>
                  <a:pt x="655638" y="1105694"/>
                  <a:pt x="764382" y="1473994"/>
                  <a:pt x="785813" y="1614488"/>
                </a:cubicBezTo>
                <a:cubicBezTo>
                  <a:pt x="807244" y="1754982"/>
                  <a:pt x="736600" y="1703388"/>
                  <a:pt x="762000" y="1819275"/>
                </a:cubicBezTo>
                <a:cubicBezTo>
                  <a:pt x="787400" y="1935162"/>
                  <a:pt x="889794" y="2197894"/>
                  <a:pt x="938213" y="2309813"/>
                </a:cubicBezTo>
                <a:cubicBezTo>
                  <a:pt x="986632" y="2421732"/>
                  <a:pt x="1030288" y="2460626"/>
                  <a:pt x="1052513" y="2490788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AutoShape 19"/>
          <p:cNvSpPr>
            <a:spLocks noChangeArrowheads="1"/>
          </p:cNvSpPr>
          <p:nvPr/>
        </p:nvSpPr>
        <p:spPr bwMode="auto">
          <a:xfrm>
            <a:off x="4418975" y="2757195"/>
            <a:ext cx="513067" cy="137309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ат</a:t>
            </a: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843602" y="3043062"/>
            <a:ext cx="1052513" cy="1868091"/>
          </a:xfrm>
          <a:custGeom>
            <a:avLst/>
            <a:gdLst>
              <a:gd name="connsiteX0" fmla="*/ 0 w 809625"/>
              <a:gd name="connsiteY0" fmla="*/ 0 h 1962150"/>
              <a:gd name="connsiteX1" fmla="*/ 138113 w 809625"/>
              <a:gd name="connsiteY1" fmla="*/ 28575 h 1962150"/>
              <a:gd name="connsiteX2" fmla="*/ 276225 w 809625"/>
              <a:gd name="connsiteY2" fmla="*/ 52388 h 1962150"/>
              <a:gd name="connsiteX3" fmla="*/ 390525 w 809625"/>
              <a:gd name="connsiteY3" fmla="*/ 100013 h 1962150"/>
              <a:gd name="connsiteX4" fmla="*/ 423863 w 809625"/>
              <a:gd name="connsiteY4" fmla="*/ 157163 h 1962150"/>
              <a:gd name="connsiteX5" fmla="*/ 642938 w 809625"/>
              <a:gd name="connsiteY5" fmla="*/ 552450 h 1962150"/>
              <a:gd name="connsiteX6" fmla="*/ 590550 w 809625"/>
              <a:gd name="connsiteY6" fmla="*/ 690563 h 1962150"/>
              <a:gd name="connsiteX7" fmla="*/ 652463 w 809625"/>
              <a:gd name="connsiteY7" fmla="*/ 838200 h 1962150"/>
              <a:gd name="connsiteX8" fmla="*/ 633413 w 809625"/>
              <a:gd name="connsiteY8" fmla="*/ 976313 h 1962150"/>
              <a:gd name="connsiteX9" fmla="*/ 790575 w 809625"/>
              <a:gd name="connsiteY9" fmla="*/ 1681163 h 1962150"/>
              <a:gd name="connsiteX10" fmla="*/ 762000 w 809625"/>
              <a:gd name="connsiteY10" fmla="*/ 1819275 h 1962150"/>
              <a:gd name="connsiteX11" fmla="*/ 809625 w 809625"/>
              <a:gd name="connsiteY11" fmla="*/ 1962150 h 1962150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90575 w 1052513"/>
              <a:gd name="connsiteY9" fmla="*/ 1681163 h 2490788"/>
              <a:gd name="connsiteX10" fmla="*/ 762000 w 1052513"/>
              <a:gd name="connsiteY10" fmla="*/ 1819275 h 2490788"/>
              <a:gd name="connsiteX11" fmla="*/ 1052513 w 1052513"/>
              <a:gd name="connsiteY11" fmla="*/ 2490788 h 2490788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90575 w 1052513"/>
              <a:gd name="connsiteY9" fmla="*/ 1681163 h 2490788"/>
              <a:gd name="connsiteX10" fmla="*/ 762000 w 1052513"/>
              <a:gd name="connsiteY10" fmla="*/ 1819275 h 2490788"/>
              <a:gd name="connsiteX11" fmla="*/ 938213 w 1052513"/>
              <a:gd name="connsiteY11" fmla="*/ 2309813 h 2490788"/>
              <a:gd name="connsiteX12" fmla="*/ 1052513 w 1052513"/>
              <a:gd name="connsiteY12" fmla="*/ 2490788 h 2490788"/>
              <a:gd name="connsiteX0" fmla="*/ 0 w 1052513"/>
              <a:gd name="connsiteY0" fmla="*/ 0 h 2490788"/>
              <a:gd name="connsiteX1" fmla="*/ 138113 w 1052513"/>
              <a:gd name="connsiteY1" fmla="*/ 28575 h 2490788"/>
              <a:gd name="connsiteX2" fmla="*/ 276225 w 1052513"/>
              <a:gd name="connsiteY2" fmla="*/ 52388 h 2490788"/>
              <a:gd name="connsiteX3" fmla="*/ 390525 w 1052513"/>
              <a:gd name="connsiteY3" fmla="*/ 100013 h 2490788"/>
              <a:gd name="connsiteX4" fmla="*/ 423863 w 1052513"/>
              <a:gd name="connsiteY4" fmla="*/ 157163 h 2490788"/>
              <a:gd name="connsiteX5" fmla="*/ 642938 w 1052513"/>
              <a:gd name="connsiteY5" fmla="*/ 552450 h 2490788"/>
              <a:gd name="connsiteX6" fmla="*/ 590550 w 1052513"/>
              <a:gd name="connsiteY6" fmla="*/ 690563 h 2490788"/>
              <a:gd name="connsiteX7" fmla="*/ 652463 w 1052513"/>
              <a:gd name="connsiteY7" fmla="*/ 838200 h 2490788"/>
              <a:gd name="connsiteX8" fmla="*/ 633413 w 1052513"/>
              <a:gd name="connsiteY8" fmla="*/ 976313 h 2490788"/>
              <a:gd name="connsiteX9" fmla="*/ 785813 w 1052513"/>
              <a:gd name="connsiteY9" fmla="*/ 1614488 h 2490788"/>
              <a:gd name="connsiteX10" fmla="*/ 762000 w 1052513"/>
              <a:gd name="connsiteY10" fmla="*/ 1819275 h 2490788"/>
              <a:gd name="connsiteX11" fmla="*/ 938213 w 1052513"/>
              <a:gd name="connsiteY11" fmla="*/ 2309813 h 2490788"/>
              <a:gd name="connsiteX12" fmla="*/ 1052513 w 1052513"/>
              <a:gd name="connsiteY12" fmla="*/ 2490788 h 2490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052513" h="2490788">
                <a:moveTo>
                  <a:pt x="0" y="0"/>
                </a:moveTo>
                <a:lnTo>
                  <a:pt x="138113" y="28575"/>
                </a:lnTo>
                <a:cubicBezTo>
                  <a:pt x="184151" y="37306"/>
                  <a:pt x="234156" y="40482"/>
                  <a:pt x="276225" y="52388"/>
                </a:cubicBezTo>
                <a:cubicBezTo>
                  <a:pt x="318294" y="64294"/>
                  <a:pt x="365919" y="82551"/>
                  <a:pt x="390525" y="100013"/>
                </a:cubicBezTo>
                <a:cubicBezTo>
                  <a:pt x="415131" y="117475"/>
                  <a:pt x="381794" y="81757"/>
                  <a:pt x="423863" y="157163"/>
                </a:cubicBezTo>
                <a:cubicBezTo>
                  <a:pt x="465932" y="232569"/>
                  <a:pt x="615157" y="463550"/>
                  <a:pt x="642938" y="552450"/>
                </a:cubicBezTo>
                <a:cubicBezTo>
                  <a:pt x="670719" y="641350"/>
                  <a:pt x="588963" y="642938"/>
                  <a:pt x="590550" y="690563"/>
                </a:cubicBezTo>
                <a:cubicBezTo>
                  <a:pt x="592137" y="738188"/>
                  <a:pt x="645319" y="790575"/>
                  <a:pt x="652463" y="838200"/>
                </a:cubicBezTo>
                <a:cubicBezTo>
                  <a:pt x="659607" y="885825"/>
                  <a:pt x="611188" y="846932"/>
                  <a:pt x="633413" y="976313"/>
                </a:cubicBezTo>
                <a:cubicBezTo>
                  <a:pt x="655638" y="1105694"/>
                  <a:pt x="764382" y="1473994"/>
                  <a:pt x="785813" y="1614488"/>
                </a:cubicBezTo>
                <a:cubicBezTo>
                  <a:pt x="807244" y="1754982"/>
                  <a:pt x="736600" y="1703388"/>
                  <a:pt x="762000" y="1819275"/>
                </a:cubicBezTo>
                <a:cubicBezTo>
                  <a:pt x="787400" y="1935162"/>
                  <a:pt x="889794" y="2197894"/>
                  <a:pt x="938213" y="2309813"/>
                </a:cubicBezTo>
                <a:cubicBezTo>
                  <a:pt x="986632" y="2421732"/>
                  <a:pt x="1030288" y="2460626"/>
                  <a:pt x="1052513" y="2490788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9" name="Прямая со стрелкой 48"/>
          <p:cNvCxnSpPr/>
          <p:nvPr/>
        </p:nvCxnSpPr>
        <p:spPr>
          <a:xfrm flipH="1">
            <a:off x="1384223" y="4281373"/>
            <a:ext cx="448961" cy="152383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>
            <a:endCxn id="28" idx="6"/>
          </p:cNvCxnSpPr>
          <p:nvPr/>
        </p:nvCxnSpPr>
        <p:spPr>
          <a:xfrm>
            <a:off x="7208779" y="1340121"/>
            <a:ext cx="972765" cy="30830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олилиния 53"/>
          <p:cNvSpPr/>
          <p:nvPr/>
        </p:nvSpPr>
        <p:spPr>
          <a:xfrm flipV="1">
            <a:off x="4865032" y="3029724"/>
            <a:ext cx="138112" cy="40181"/>
          </a:xfrm>
          <a:custGeom>
            <a:avLst/>
            <a:gdLst>
              <a:gd name="connsiteX0" fmla="*/ 0 w 201816"/>
              <a:gd name="connsiteY0" fmla="*/ 164267 h 164267"/>
              <a:gd name="connsiteX1" fmla="*/ 180975 w 201816"/>
              <a:gd name="connsiteY1" fmla="*/ 11867 h 164267"/>
              <a:gd name="connsiteX2" fmla="*/ 190500 w 201816"/>
              <a:gd name="connsiteY2" fmla="*/ 21392 h 164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1816" h="164267">
                <a:moveTo>
                  <a:pt x="0" y="164267"/>
                </a:moveTo>
                <a:cubicBezTo>
                  <a:pt x="74612" y="99973"/>
                  <a:pt x="149225" y="35679"/>
                  <a:pt x="180975" y="11867"/>
                </a:cubicBezTo>
                <a:cubicBezTo>
                  <a:pt x="212725" y="-11945"/>
                  <a:pt x="201612" y="4723"/>
                  <a:pt x="190500" y="21392"/>
                </a:cubicBezTo>
              </a:path>
            </a:pathLst>
          </a:custGeom>
          <a:ln>
            <a:solidFill>
              <a:schemeClr val="bg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/>
              </a:solidFill>
            </a:endParaRPr>
          </a:p>
        </p:txBody>
      </p:sp>
      <p:sp>
        <p:nvSpPr>
          <p:cNvPr id="55" name="Полилиния 54"/>
          <p:cNvSpPr/>
          <p:nvPr/>
        </p:nvSpPr>
        <p:spPr>
          <a:xfrm>
            <a:off x="5197247" y="2889610"/>
            <a:ext cx="220243" cy="34290"/>
          </a:xfrm>
          <a:custGeom>
            <a:avLst/>
            <a:gdLst>
              <a:gd name="connsiteX0" fmla="*/ 0 w 201816"/>
              <a:gd name="connsiteY0" fmla="*/ 164267 h 164267"/>
              <a:gd name="connsiteX1" fmla="*/ 180975 w 201816"/>
              <a:gd name="connsiteY1" fmla="*/ 11867 h 164267"/>
              <a:gd name="connsiteX2" fmla="*/ 190500 w 201816"/>
              <a:gd name="connsiteY2" fmla="*/ 21392 h 1642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1816" h="164267">
                <a:moveTo>
                  <a:pt x="0" y="164267"/>
                </a:moveTo>
                <a:cubicBezTo>
                  <a:pt x="74612" y="99973"/>
                  <a:pt x="149225" y="35679"/>
                  <a:pt x="180975" y="11867"/>
                </a:cubicBezTo>
                <a:cubicBezTo>
                  <a:pt x="212725" y="-11945"/>
                  <a:pt x="201612" y="4723"/>
                  <a:pt x="190500" y="21392"/>
                </a:cubicBezTo>
              </a:path>
            </a:pathLst>
          </a:custGeom>
          <a:ln>
            <a:solidFill>
              <a:schemeClr val="bg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7" name="Скругленный прямоугольник 56"/>
          <p:cNvSpPr/>
          <p:nvPr/>
        </p:nvSpPr>
        <p:spPr bwMode="auto">
          <a:xfrm>
            <a:off x="2643999" y="3655625"/>
            <a:ext cx="2674319" cy="124181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  <a:prstDash val="sysDot"/>
            <a:headEnd/>
            <a:tailEnd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18000" tIns="10800" rIns="18000" bIns="10800" anchor="ctr"/>
          <a:lstStyle/>
          <a:p>
            <a:pPr>
              <a:lnSpc>
                <a:spcPts val="1100"/>
              </a:lnSpc>
            </a:pPr>
            <a:r>
              <a:rPr lang="ru-RU" altLang="ru-RU" sz="1050" b="1" dirty="0">
                <a:solidFill>
                  <a:srgbClr val="C00000"/>
                </a:solidFill>
                <a:cs typeface="Arial" pitchFamily="34" charset="0"/>
              </a:rPr>
              <a:t>«Атырау </a:t>
            </a:r>
            <a:r>
              <a:rPr lang="ru-RU" altLang="ru-RU" sz="1050" b="1" dirty="0" err="1">
                <a:solidFill>
                  <a:srgbClr val="C00000"/>
                </a:solidFill>
                <a:cs typeface="Arial" pitchFamily="34" charset="0"/>
              </a:rPr>
              <a:t>қаласының</a:t>
            </a:r>
            <a:r>
              <a:rPr lang="ru-RU" altLang="ru-RU" sz="1050" b="1" dirty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altLang="ru-RU" sz="1050" b="1" dirty="0" err="1">
                <a:solidFill>
                  <a:srgbClr val="C00000"/>
                </a:solidFill>
                <a:cs typeface="Arial" pitchFamily="34" charset="0"/>
              </a:rPr>
              <a:t>айналма</a:t>
            </a:r>
            <a:r>
              <a:rPr lang="ru-RU" altLang="ru-RU" sz="1050" b="1" dirty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altLang="ru-RU" sz="1050" b="1" dirty="0" err="1">
                <a:solidFill>
                  <a:srgbClr val="C00000"/>
                </a:solidFill>
                <a:cs typeface="Arial" pitchFamily="34" charset="0"/>
              </a:rPr>
              <a:t>жолы</a:t>
            </a:r>
            <a:r>
              <a:rPr lang="ru-RU" altLang="ru-RU" sz="1050" b="1" dirty="0">
                <a:solidFill>
                  <a:srgbClr val="C00000"/>
                </a:solidFill>
                <a:cs typeface="Arial" pitchFamily="34" charset="0"/>
              </a:rPr>
              <a:t>»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 – 26км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1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– </a:t>
            </a:r>
            <a:r>
              <a:rPr lang="ru-RU" altLang="ru-RU" sz="105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Азвирт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/«</a:t>
            </a:r>
            <a:r>
              <a:rPr lang="ru-RU" altLang="ru-RU" sz="105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АкЖолКурылыс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»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– 28 млрд. </a:t>
            </a:r>
            <a:r>
              <a:rPr lang="ru-RU" altLang="ru-RU" sz="1050" b="1" i="1" dirty="0" err="1">
                <a:solidFill>
                  <a:schemeClr val="tx1"/>
                </a:solidFill>
                <a:cs typeface="Arial" panose="020B0604020202020204" pitchFamily="34" charset="0"/>
              </a:rPr>
              <a:t>тг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. 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ЕБРР</a:t>
            </a:r>
          </a:p>
          <a:p>
            <a:pPr>
              <a:lnSpc>
                <a:spcPts val="1100"/>
              </a:lnSpc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solidFill>
                  <a:schemeClr val="tx1"/>
                </a:solidFill>
                <a:cs typeface="Arial" panose="020B0604020202020204" pitchFamily="34" charset="0"/>
              </a:rPr>
              <a:t>– 2022 – 2025ж.</a:t>
            </a:r>
          </a:p>
        </p:txBody>
      </p:sp>
      <p:cxnSp>
        <p:nvCxnSpPr>
          <p:cNvPr id="58" name="Прямая со стрелкой 57"/>
          <p:cNvCxnSpPr>
            <a:cxnSpLocks/>
            <a:stCxn id="57" idx="0"/>
            <a:endCxn id="8" idx="5"/>
          </p:cNvCxnSpPr>
          <p:nvPr/>
        </p:nvCxnSpPr>
        <p:spPr>
          <a:xfrm flipH="1" flipV="1">
            <a:off x="3956601" y="3237081"/>
            <a:ext cx="24558" cy="418544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Скругленный прямоугольник 58"/>
          <p:cNvSpPr/>
          <p:nvPr/>
        </p:nvSpPr>
        <p:spPr bwMode="auto">
          <a:xfrm>
            <a:off x="69469" y="3654873"/>
            <a:ext cx="2426084" cy="1260890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«Атырау-Астрахань»</a:t>
            </a:r>
            <a:r>
              <a:rPr lang="ru-RU" altLang="ru-RU" sz="1050" b="1" dirty="0">
                <a:solidFill>
                  <a:srgbClr val="C00000"/>
                </a:solidFill>
                <a:cs typeface="Arial" panose="020B0604020202020204" pitchFamily="34" charset="0"/>
              </a:rPr>
              <a:t> км 616-833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16 км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4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Лянкяран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Йол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Тикинти</a:t>
            </a:r>
            <a:r>
              <a:rPr lang="ru-RU" altLang="ru-RU" sz="1050" b="1" i="1" dirty="0">
                <a:cs typeface="Times New Roman" panose="02020603050405020304" pitchFamily="18" charset="0"/>
              </a:rPr>
              <a:t>,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i="1" dirty="0">
                <a:cs typeface="Times New Roman" panose="02020603050405020304" pitchFamily="18" charset="0"/>
              </a:rPr>
              <a:t>«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Тодини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» , «</a:t>
            </a:r>
            <a:r>
              <a:rPr lang="en-US" altLang="ru-RU" sz="1050" b="1" i="1" dirty="0">
                <a:cs typeface="Times New Roman" panose="02020603050405020304" pitchFamily="18" charset="0"/>
              </a:rPr>
              <a:t>Ant </a:t>
            </a:r>
            <a:r>
              <a:rPr lang="en-US" altLang="ru-RU" sz="1050" b="1" i="1" dirty="0" err="1">
                <a:cs typeface="Times New Roman" panose="02020603050405020304" pitchFamily="18" charset="0"/>
              </a:rPr>
              <a:t>Insaat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», СП «СМС»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52,8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ЕБРР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20-2023 ж</a:t>
            </a:r>
          </a:p>
        </p:txBody>
      </p:sp>
      <p:sp>
        <p:nvSpPr>
          <p:cNvPr id="62" name="Полилиния 61"/>
          <p:cNvSpPr/>
          <p:nvPr/>
        </p:nvSpPr>
        <p:spPr>
          <a:xfrm>
            <a:off x="5114057" y="2860086"/>
            <a:ext cx="422275" cy="83344"/>
          </a:xfrm>
          <a:custGeom>
            <a:avLst/>
            <a:gdLst>
              <a:gd name="connsiteX0" fmla="*/ 0 w 3011360"/>
              <a:gd name="connsiteY0" fmla="*/ 1417778 h 1417778"/>
              <a:gd name="connsiteX1" fmla="*/ 57150 w 3011360"/>
              <a:gd name="connsiteY1" fmla="*/ 1392378 h 1417778"/>
              <a:gd name="connsiteX2" fmla="*/ 120650 w 3011360"/>
              <a:gd name="connsiteY2" fmla="*/ 1392378 h 1417778"/>
              <a:gd name="connsiteX3" fmla="*/ 161925 w 3011360"/>
              <a:gd name="connsiteY3" fmla="*/ 1386028 h 1417778"/>
              <a:gd name="connsiteX4" fmla="*/ 244475 w 3011360"/>
              <a:gd name="connsiteY4" fmla="*/ 1360628 h 1417778"/>
              <a:gd name="connsiteX5" fmla="*/ 349250 w 3011360"/>
              <a:gd name="connsiteY5" fmla="*/ 1341578 h 1417778"/>
              <a:gd name="connsiteX6" fmla="*/ 422275 w 3011360"/>
              <a:gd name="connsiteY6" fmla="*/ 1306653 h 1417778"/>
              <a:gd name="connsiteX7" fmla="*/ 511175 w 3011360"/>
              <a:gd name="connsiteY7" fmla="*/ 1274903 h 1417778"/>
              <a:gd name="connsiteX8" fmla="*/ 600075 w 3011360"/>
              <a:gd name="connsiteY8" fmla="*/ 1252678 h 1417778"/>
              <a:gd name="connsiteX9" fmla="*/ 650875 w 3011360"/>
              <a:gd name="connsiteY9" fmla="*/ 1227278 h 1417778"/>
              <a:gd name="connsiteX10" fmla="*/ 736600 w 3011360"/>
              <a:gd name="connsiteY10" fmla="*/ 1192353 h 1417778"/>
              <a:gd name="connsiteX11" fmla="*/ 777875 w 3011360"/>
              <a:gd name="connsiteY11" fmla="*/ 1179653 h 1417778"/>
              <a:gd name="connsiteX12" fmla="*/ 828675 w 3011360"/>
              <a:gd name="connsiteY12" fmla="*/ 1163778 h 1417778"/>
              <a:gd name="connsiteX13" fmla="*/ 898525 w 3011360"/>
              <a:gd name="connsiteY13" fmla="*/ 1147903 h 1417778"/>
              <a:gd name="connsiteX14" fmla="*/ 946150 w 3011360"/>
              <a:gd name="connsiteY14" fmla="*/ 1128853 h 1417778"/>
              <a:gd name="connsiteX15" fmla="*/ 977900 w 3011360"/>
              <a:gd name="connsiteY15" fmla="*/ 1093928 h 1417778"/>
              <a:gd name="connsiteX16" fmla="*/ 1012825 w 3011360"/>
              <a:gd name="connsiteY16" fmla="*/ 1055828 h 1417778"/>
              <a:gd name="connsiteX17" fmla="*/ 1076325 w 3011360"/>
              <a:gd name="connsiteY17" fmla="*/ 1052653 h 1417778"/>
              <a:gd name="connsiteX18" fmla="*/ 1146175 w 3011360"/>
              <a:gd name="connsiteY18" fmla="*/ 1043128 h 1417778"/>
              <a:gd name="connsiteX19" fmla="*/ 1168400 w 3011360"/>
              <a:gd name="connsiteY19" fmla="*/ 1014553 h 1417778"/>
              <a:gd name="connsiteX20" fmla="*/ 1181100 w 3011360"/>
              <a:gd name="connsiteY20" fmla="*/ 973278 h 1417778"/>
              <a:gd name="connsiteX21" fmla="*/ 1200150 w 3011360"/>
              <a:gd name="connsiteY21" fmla="*/ 951053 h 1417778"/>
              <a:gd name="connsiteX22" fmla="*/ 1244600 w 3011360"/>
              <a:gd name="connsiteY22" fmla="*/ 938353 h 1417778"/>
              <a:gd name="connsiteX23" fmla="*/ 1285875 w 3011360"/>
              <a:gd name="connsiteY23" fmla="*/ 868503 h 1417778"/>
              <a:gd name="connsiteX24" fmla="*/ 1343025 w 3011360"/>
              <a:gd name="connsiteY24" fmla="*/ 855803 h 1417778"/>
              <a:gd name="connsiteX25" fmla="*/ 1441450 w 3011360"/>
              <a:gd name="connsiteY25" fmla="*/ 830403 h 1417778"/>
              <a:gd name="connsiteX26" fmla="*/ 1565275 w 3011360"/>
              <a:gd name="connsiteY26" fmla="*/ 805003 h 1417778"/>
              <a:gd name="connsiteX27" fmla="*/ 1638300 w 3011360"/>
              <a:gd name="connsiteY27" fmla="*/ 779603 h 1417778"/>
              <a:gd name="connsiteX28" fmla="*/ 1689100 w 3011360"/>
              <a:gd name="connsiteY28" fmla="*/ 792303 h 1417778"/>
              <a:gd name="connsiteX29" fmla="*/ 1774825 w 3011360"/>
              <a:gd name="connsiteY29" fmla="*/ 792303 h 1417778"/>
              <a:gd name="connsiteX30" fmla="*/ 1822450 w 3011360"/>
              <a:gd name="connsiteY30" fmla="*/ 770078 h 1417778"/>
              <a:gd name="connsiteX31" fmla="*/ 1863725 w 3011360"/>
              <a:gd name="connsiteY31" fmla="*/ 738328 h 1417778"/>
              <a:gd name="connsiteX32" fmla="*/ 1892300 w 3011360"/>
              <a:gd name="connsiteY32" fmla="*/ 703403 h 1417778"/>
              <a:gd name="connsiteX33" fmla="*/ 1901825 w 3011360"/>
              <a:gd name="connsiteY33" fmla="*/ 655778 h 1417778"/>
              <a:gd name="connsiteX34" fmla="*/ 1939925 w 3011360"/>
              <a:gd name="connsiteY34" fmla="*/ 617678 h 1417778"/>
              <a:gd name="connsiteX35" fmla="*/ 2012950 w 3011360"/>
              <a:gd name="connsiteY35" fmla="*/ 563703 h 1417778"/>
              <a:gd name="connsiteX36" fmla="*/ 2070100 w 3011360"/>
              <a:gd name="connsiteY36" fmla="*/ 516078 h 1417778"/>
              <a:gd name="connsiteX37" fmla="*/ 2111375 w 3011360"/>
              <a:gd name="connsiteY37" fmla="*/ 468453 h 1417778"/>
              <a:gd name="connsiteX38" fmla="*/ 2178050 w 3011360"/>
              <a:gd name="connsiteY38" fmla="*/ 401778 h 1417778"/>
              <a:gd name="connsiteX39" fmla="*/ 2219325 w 3011360"/>
              <a:gd name="connsiteY39" fmla="*/ 354153 h 1417778"/>
              <a:gd name="connsiteX40" fmla="*/ 2251075 w 3011360"/>
              <a:gd name="connsiteY40" fmla="*/ 319228 h 1417778"/>
              <a:gd name="connsiteX41" fmla="*/ 2282825 w 3011360"/>
              <a:gd name="connsiteY41" fmla="*/ 284303 h 1417778"/>
              <a:gd name="connsiteX42" fmla="*/ 2352675 w 3011360"/>
              <a:gd name="connsiteY42" fmla="*/ 233503 h 1417778"/>
              <a:gd name="connsiteX43" fmla="*/ 2413000 w 3011360"/>
              <a:gd name="connsiteY43" fmla="*/ 214453 h 1417778"/>
              <a:gd name="connsiteX44" fmla="*/ 2486025 w 3011360"/>
              <a:gd name="connsiteY44" fmla="*/ 204928 h 1417778"/>
              <a:gd name="connsiteX45" fmla="*/ 2555875 w 3011360"/>
              <a:gd name="connsiteY45" fmla="*/ 214453 h 1417778"/>
              <a:gd name="connsiteX46" fmla="*/ 2609850 w 3011360"/>
              <a:gd name="connsiteY46" fmla="*/ 208103 h 1417778"/>
              <a:gd name="connsiteX47" fmla="*/ 2673350 w 3011360"/>
              <a:gd name="connsiteY47" fmla="*/ 182703 h 1417778"/>
              <a:gd name="connsiteX48" fmla="*/ 2727325 w 3011360"/>
              <a:gd name="connsiteY48" fmla="*/ 141428 h 1417778"/>
              <a:gd name="connsiteX49" fmla="*/ 2771775 w 3011360"/>
              <a:gd name="connsiteY49" fmla="*/ 109678 h 1417778"/>
              <a:gd name="connsiteX50" fmla="*/ 2813050 w 3011360"/>
              <a:gd name="connsiteY50" fmla="*/ 87453 h 1417778"/>
              <a:gd name="connsiteX51" fmla="*/ 2901950 w 3011360"/>
              <a:gd name="connsiteY51" fmla="*/ 77928 h 1417778"/>
              <a:gd name="connsiteX52" fmla="*/ 2949575 w 3011360"/>
              <a:gd name="connsiteY52" fmla="*/ 65228 h 1417778"/>
              <a:gd name="connsiteX53" fmla="*/ 3003550 w 3011360"/>
              <a:gd name="connsiteY53" fmla="*/ 8078 h 1417778"/>
              <a:gd name="connsiteX54" fmla="*/ 3009900 w 3011360"/>
              <a:gd name="connsiteY54" fmla="*/ 1728 h 1417778"/>
              <a:gd name="connsiteX0" fmla="*/ 0 w 3003550"/>
              <a:gd name="connsiteY0" fmla="*/ 1409700 h 1409700"/>
              <a:gd name="connsiteX1" fmla="*/ 57150 w 3003550"/>
              <a:gd name="connsiteY1" fmla="*/ 1384300 h 1409700"/>
              <a:gd name="connsiteX2" fmla="*/ 120650 w 3003550"/>
              <a:gd name="connsiteY2" fmla="*/ 1384300 h 1409700"/>
              <a:gd name="connsiteX3" fmla="*/ 161925 w 3003550"/>
              <a:gd name="connsiteY3" fmla="*/ 1377950 h 1409700"/>
              <a:gd name="connsiteX4" fmla="*/ 244475 w 3003550"/>
              <a:gd name="connsiteY4" fmla="*/ 1352550 h 1409700"/>
              <a:gd name="connsiteX5" fmla="*/ 349250 w 3003550"/>
              <a:gd name="connsiteY5" fmla="*/ 1333500 h 1409700"/>
              <a:gd name="connsiteX6" fmla="*/ 422275 w 3003550"/>
              <a:gd name="connsiteY6" fmla="*/ 1298575 h 1409700"/>
              <a:gd name="connsiteX7" fmla="*/ 511175 w 3003550"/>
              <a:gd name="connsiteY7" fmla="*/ 1266825 h 1409700"/>
              <a:gd name="connsiteX8" fmla="*/ 600075 w 3003550"/>
              <a:gd name="connsiteY8" fmla="*/ 1244600 h 1409700"/>
              <a:gd name="connsiteX9" fmla="*/ 650875 w 3003550"/>
              <a:gd name="connsiteY9" fmla="*/ 1219200 h 1409700"/>
              <a:gd name="connsiteX10" fmla="*/ 736600 w 3003550"/>
              <a:gd name="connsiteY10" fmla="*/ 1184275 h 1409700"/>
              <a:gd name="connsiteX11" fmla="*/ 777875 w 3003550"/>
              <a:gd name="connsiteY11" fmla="*/ 1171575 h 1409700"/>
              <a:gd name="connsiteX12" fmla="*/ 828675 w 3003550"/>
              <a:gd name="connsiteY12" fmla="*/ 1155700 h 1409700"/>
              <a:gd name="connsiteX13" fmla="*/ 898525 w 3003550"/>
              <a:gd name="connsiteY13" fmla="*/ 1139825 h 1409700"/>
              <a:gd name="connsiteX14" fmla="*/ 946150 w 3003550"/>
              <a:gd name="connsiteY14" fmla="*/ 1120775 h 1409700"/>
              <a:gd name="connsiteX15" fmla="*/ 977900 w 3003550"/>
              <a:gd name="connsiteY15" fmla="*/ 1085850 h 1409700"/>
              <a:gd name="connsiteX16" fmla="*/ 1012825 w 3003550"/>
              <a:gd name="connsiteY16" fmla="*/ 1047750 h 1409700"/>
              <a:gd name="connsiteX17" fmla="*/ 1076325 w 3003550"/>
              <a:gd name="connsiteY17" fmla="*/ 1044575 h 1409700"/>
              <a:gd name="connsiteX18" fmla="*/ 1146175 w 3003550"/>
              <a:gd name="connsiteY18" fmla="*/ 1035050 h 1409700"/>
              <a:gd name="connsiteX19" fmla="*/ 1168400 w 3003550"/>
              <a:gd name="connsiteY19" fmla="*/ 1006475 h 1409700"/>
              <a:gd name="connsiteX20" fmla="*/ 1181100 w 3003550"/>
              <a:gd name="connsiteY20" fmla="*/ 965200 h 1409700"/>
              <a:gd name="connsiteX21" fmla="*/ 1200150 w 3003550"/>
              <a:gd name="connsiteY21" fmla="*/ 942975 h 1409700"/>
              <a:gd name="connsiteX22" fmla="*/ 1244600 w 3003550"/>
              <a:gd name="connsiteY22" fmla="*/ 930275 h 1409700"/>
              <a:gd name="connsiteX23" fmla="*/ 1285875 w 3003550"/>
              <a:gd name="connsiteY23" fmla="*/ 860425 h 1409700"/>
              <a:gd name="connsiteX24" fmla="*/ 1343025 w 3003550"/>
              <a:gd name="connsiteY24" fmla="*/ 847725 h 1409700"/>
              <a:gd name="connsiteX25" fmla="*/ 1441450 w 3003550"/>
              <a:gd name="connsiteY25" fmla="*/ 822325 h 1409700"/>
              <a:gd name="connsiteX26" fmla="*/ 1565275 w 3003550"/>
              <a:gd name="connsiteY26" fmla="*/ 796925 h 1409700"/>
              <a:gd name="connsiteX27" fmla="*/ 1638300 w 3003550"/>
              <a:gd name="connsiteY27" fmla="*/ 771525 h 1409700"/>
              <a:gd name="connsiteX28" fmla="*/ 1689100 w 3003550"/>
              <a:gd name="connsiteY28" fmla="*/ 784225 h 1409700"/>
              <a:gd name="connsiteX29" fmla="*/ 1774825 w 3003550"/>
              <a:gd name="connsiteY29" fmla="*/ 784225 h 1409700"/>
              <a:gd name="connsiteX30" fmla="*/ 1822450 w 3003550"/>
              <a:gd name="connsiteY30" fmla="*/ 762000 h 1409700"/>
              <a:gd name="connsiteX31" fmla="*/ 1863725 w 3003550"/>
              <a:gd name="connsiteY31" fmla="*/ 730250 h 1409700"/>
              <a:gd name="connsiteX32" fmla="*/ 1892300 w 3003550"/>
              <a:gd name="connsiteY32" fmla="*/ 695325 h 1409700"/>
              <a:gd name="connsiteX33" fmla="*/ 1901825 w 3003550"/>
              <a:gd name="connsiteY33" fmla="*/ 647700 h 1409700"/>
              <a:gd name="connsiteX34" fmla="*/ 1939925 w 3003550"/>
              <a:gd name="connsiteY34" fmla="*/ 609600 h 1409700"/>
              <a:gd name="connsiteX35" fmla="*/ 2012950 w 3003550"/>
              <a:gd name="connsiteY35" fmla="*/ 555625 h 1409700"/>
              <a:gd name="connsiteX36" fmla="*/ 2070100 w 3003550"/>
              <a:gd name="connsiteY36" fmla="*/ 508000 h 1409700"/>
              <a:gd name="connsiteX37" fmla="*/ 2111375 w 3003550"/>
              <a:gd name="connsiteY37" fmla="*/ 460375 h 1409700"/>
              <a:gd name="connsiteX38" fmla="*/ 2178050 w 3003550"/>
              <a:gd name="connsiteY38" fmla="*/ 393700 h 1409700"/>
              <a:gd name="connsiteX39" fmla="*/ 2219325 w 3003550"/>
              <a:gd name="connsiteY39" fmla="*/ 346075 h 1409700"/>
              <a:gd name="connsiteX40" fmla="*/ 2251075 w 3003550"/>
              <a:gd name="connsiteY40" fmla="*/ 311150 h 1409700"/>
              <a:gd name="connsiteX41" fmla="*/ 2282825 w 3003550"/>
              <a:gd name="connsiteY41" fmla="*/ 276225 h 1409700"/>
              <a:gd name="connsiteX42" fmla="*/ 2352675 w 3003550"/>
              <a:gd name="connsiteY42" fmla="*/ 225425 h 1409700"/>
              <a:gd name="connsiteX43" fmla="*/ 2413000 w 3003550"/>
              <a:gd name="connsiteY43" fmla="*/ 206375 h 1409700"/>
              <a:gd name="connsiteX44" fmla="*/ 2486025 w 3003550"/>
              <a:gd name="connsiteY44" fmla="*/ 196850 h 1409700"/>
              <a:gd name="connsiteX45" fmla="*/ 2555875 w 3003550"/>
              <a:gd name="connsiteY45" fmla="*/ 206375 h 1409700"/>
              <a:gd name="connsiteX46" fmla="*/ 2609850 w 3003550"/>
              <a:gd name="connsiteY46" fmla="*/ 200025 h 1409700"/>
              <a:gd name="connsiteX47" fmla="*/ 2673350 w 3003550"/>
              <a:gd name="connsiteY47" fmla="*/ 174625 h 1409700"/>
              <a:gd name="connsiteX48" fmla="*/ 2727325 w 3003550"/>
              <a:gd name="connsiteY48" fmla="*/ 133350 h 1409700"/>
              <a:gd name="connsiteX49" fmla="*/ 2771775 w 3003550"/>
              <a:gd name="connsiteY49" fmla="*/ 101600 h 1409700"/>
              <a:gd name="connsiteX50" fmla="*/ 2813050 w 3003550"/>
              <a:gd name="connsiteY50" fmla="*/ 79375 h 1409700"/>
              <a:gd name="connsiteX51" fmla="*/ 2901950 w 3003550"/>
              <a:gd name="connsiteY51" fmla="*/ 69850 h 1409700"/>
              <a:gd name="connsiteX52" fmla="*/ 2949575 w 3003550"/>
              <a:gd name="connsiteY52" fmla="*/ 57150 h 1409700"/>
              <a:gd name="connsiteX53" fmla="*/ 3003550 w 3003550"/>
              <a:gd name="connsiteY53" fmla="*/ 0 h 1409700"/>
              <a:gd name="connsiteX0" fmla="*/ 0 w 3003550"/>
              <a:gd name="connsiteY0" fmla="*/ 1409700 h 1409700"/>
              <a:gd name="connsiteX1" fmla="*/ 57150 w 3003550"/>
              <a:gd name="connsiteY1" fmla="*/ 1384300 h 1409700"/>
              <a:gd name="connsiteX2" fmla="*/ 120650 w 3003550"/>
              <a:gd name="connsiteY2" fmla="*/ 1384300 h 1409700"/>
              <a:gd name="connsiteX3" fmla="*/ 161925 w 3003550"/>
              <a:gd name="connsiteY3" fmla="*/ 1377950 h 1409700"/>
              <a:gd name="connsiteX4" fmla="*/ 244475 w 3003550"/>
              <a:gd name="connsiteY4" fmla="*/ 1352550 h 1409700"/>
              <a:gd name="connsiteX5" fmla="*/ 349250 w 3003550"/>
              <a:gd name="connsiteY5" fmla="*/ 1333500 h 1409700"/>
              <a:gd name="connsiteX6" fmla="*/ 422275 w 3003550"/>
              <a:gd name="connsiteY6" fmla="*/ 1298575 h 1409700"/>
              <a:gd name="connsiteX7" fmla="*/ 511175 w 3003550"/>
              <a:gd name="connsiteY7" fmla="*/ 1266825 h 1409700"/>
              <a:gd name="connsiteX8" fmla="*/ 600075 w 3003550"/>
              <a:gd name="connsiteY8" fmla="*/ 1244600 h 1409700"/>
              <a:gd name="connsiteX9" fmla="*/ 650875 w 3003550"/>
              <a:gd name="connsiteY9" fmla="*/ 1219200 h 1409700"/>
              <a:gd name="connsiteX10" fmla="*/ 736600 w 3003550"/>
              <a:gd name="connsiteY10" fmla="*/ 1184275 h 1409700"/>
              <a:gd name="connsiteX11" fmla="*/ 777875 w 3003550"/>
              <a:gd name="connsiteY11" fmla="*/ 1171575 h 1409700"/>
              <a:gd name="connsiteX12" fmla="*/ 828675 w 3003550"/>
              <a:gd name="connsiteY12" fmla="*/ 1155700 h 1409700"/>
              <a:gd name="connsiteX13" fmla="*/ 898525 w 3003550"/>
              <a:gd name="connsiteY13" fmla="*/ 1139825 h 1409700"/>
              <a:gd name="connsiteX14" fmla="*/ 946150 w 3003550"/>
              <a:gd name="connsiteY14" fmla="*/ 1120775 h 1409700"/>
              <a:gd name="connsiteX15" fmla="*/ 977900 w 3003550"/>
              <a:gd name="connsiteY15" fmla="*/ 1085850 h 1409700"/>
              <a:gd name="connsiteX16" fmla="*/ 1012825 w 3003550"/>
              <a:gd name="connsiteY16" fmla="*/ 1047750 h 1409700"/>
              <a:gd name="connsiteX17" fmla="*/ 1076325 w 3003550"/>
              <a:gd name="connsiteY17" fmla="*/ 1044575 h 1409700"/>
              <a:gd name="connsiteX18" fmla="*/ 1146175 w 3003550"/>
              <a:gd name="connsiteY18" fmla="*/ 1035050 h 1409700"/>
              <a:gd name="connsiteX19" fmla="*/ 1168400 w 3003550"/>
              <a:gd name="connsiteY19" fmla="*/ 1006475 h 1409700"/>
              <a:gd name="connsiteX20" fmla="*/ 1181100 w 3003550"/>
              <a:gd name="connsiteY20" fmla="*/ 965200 h 1409700"/>
              <a:gd name="connsiteX21" fmla="*/ 1200150 w 3003550"/>
              <a:gd name="connsiteY21" fmla="*/ 942975 h 1409700"/>
              <a:gd name="connsiteX22" fmla="*/ 1244600 w 3003550"/>
              <a:gd name="connsiteY22" fmla="*/ 930275 h 1409700"/>
              <a:gd name="connsiteX23" fmla="*/ 1285875 w 3003550"/>
              <a:gd name="connsiteY23" fmla="*/ 860425 h 1409700"/>
              <a:gd name="connsiteX24" fmla="*/ 1343025 w 3003550"/>
              <a:gd name="connsiteY24" fmla="*/ 847725 h 1409700"/>
              <a:gd name="connsiteX25" fmla="*/ 1441450 w 3003550"/>
              <a:gd name="connsiteY25" fmla="*/ 822325 h 1409700"/>
              <a:gd name="connsiteX26" fmla="*/ 1565275 w 3003550"/>
              <a:gd name="connsiteY26" fmla="*/ 796925 h 1409700"/>
              <a:gd name="connsiteX27" fmla="*/ 1638300 w 3003550"/>
              <a:gd name="connsiteY27" fmla="*/ 771525 h 1409700"/>
              <a:gd name="connsiteX28" fmla="*/ 1689100 w 3003550"/>
              <a:gd name="connsiteY28" fmla="*/ 784225 h 1409700"/>
              <a:gd name="connsiteX29" fmla="*/ 1774825 w 3003550"/>
              <a:gd name="connsiteY29" fmla="*/ 784225 h 1409700"/>
              <a:gd name="connsiteX30" fmla="*/ 1822450 w 3003550"/>
              <a:gd name="connsiteY30" fmla="*/ 762000 h 1409700"/>
              <a:gd name="connsiteX31" fmla="*/ 1863725 w 3003550"/>
              <a:gd name="connsiteY31" fmla="*/ 730250 h 1409700"/>
              <a:gd name="connsiteX32" fmla="*/ 1892300 w 3003550"/>
              <a:gd name="connsiteY32" fmla="*/ 695325 h 1409700"/>
              <a:gd name="connsiteX33" fmla="*/ 1901825 w 3003550"/>
              <a:gd name="connsiteY33" fmla="*/ 647700 h 1409700"/>
              <a:gd name="connsiteX34" fmla="*/ 1939925 w 3003550"/>
              <a:gd name="connsiteY34" fmla="*/ 609600 h 1409700"/>
              <a:gd name="connsiteX35" fmla="*/ 2012950 w 3003550"/>
              <a:gd name="connsiteY35" fmla="*/ 555625 h 1409700"/>
              <a:gd name="connsiteX36" fmla="*/ 2070100 w 3003550"/>
              <a:gd name="connsiteY36" fmla="*/ 508000 h 1409700"/>
              <a:gd name="connsiteX37" fmla="*/ 2111375 w 3003550"/>
              <a:gd name="connsiteY37" fmla="*/ 460375 h 1409700"/>
              <a:gd name="connsiteX38" fmla="*/ 2178050 w 3003550"/>
              <a:gd name="connsiteY38" fmla="*/ 393700 h 1409700"/>
              <a:gd name="connsiteX39" fmla="*/ 2219325 w 3003550"/>
              <a:gd name="connsiteY39" fmla="*/ 346075 h 1409700"/>
              <a:gd name="connsiteX40" fmla="*/ 2251075 w 3003550"/>
              <a:gd name="connsiteY40" fmla="*/ 311150 h 1409700"/>
              <a:gd name="connsiteX41" fmla="*/ 2282825 w 3003550"/>
              <a:gd name="connsiteY41" fmla="*/ 276225 h 1409700"/>
              <a:gd name="connsiteX42" fmla="*/ 2352675 w 3003550"/>
              <a:gd name="connsiteY42" fmla="*/ 225425 h 1409700"/>
              <a:gd name="connsiteX43" fmla="*/ 2413000 w 3003550"/>
              <a:gd name="connsiteY43" fmla="*/ 206375 h 1409700"/>
              <a:gd name="connsiteX44" fmla="*/ 2486025 w 3003550"/>
              <a:gd name="connsiteY44" fmla="*/ 196850 h 1409700"/>
              <a:gd name="connsiteX45" fmla="*/ 2555875 w 3003550"/>
              <a:gd name="connsiteY45" fmla="*/ 206375 h 1409700"/>
              <a:gd name="connsiteX46" fmla="*/ 2609850 w 3003550"/>
              <a:gd name="connsiteY46" fmla="*/ 200025 h 1409700"/>
              <a:gd name="connsiteX47" fmla="*/ 2673350 w 3003550"/>
              <a:gd name="connsiteY47" fmla="*/ 174625 h 1409700"/>
              <a:gd name="connsiteX48" fmla="*/ 2727325 w 3003550"/>
              <a:gd name="connsiteY48" fmla="*/ 133350 h 1409700"/>
              <a:gd name="connsiteX49" fmla="*/ 2771775 w 3003550"/>
              <a:gd name="connsiteY49" fmla="*/ 101600 h 1409700"/>
              <a:gd name="connsiteX50" fmla="*/ 2813050 w 3003550"/>
              <a:gd name="connsiteY50" fmla="*/ 79375 h 1409700"/>
              <a:gd name="connsiteX51" fmla="*/ 2901950 w 3003550"/>
              <a:gd name="connsiteY51" fmla="*/ 69850 h 1409700"/>
              <a:gd name="connsiteX52" fmla="*/ 3003550 w 3003550"/>
              <a:gd name="connsiteY52" fmla="*/ 0 h 1409700"/>
              <a:gd name="connsiteX0" fmla="*/ 0 w 2901950"/>
              <a:gd name="connsiteY0" fmla="*/ 1339850 h 1339850"/>
              <a:gd name="connsiteX1" fmla="*/ 57150 w 2901950"/>
              <a:gd name="connsiteY1" fmla="*/ 1314450 h 1339850"/>
              <a:gd name="connsiteX2" fmla="*/ 120650 w 2901950"/>
              <a:gd name="connsiteY2" fmla="*/ 1314450 h 1339850"/>
              <a:gd name="connsiteX3" fmla="*/ 161925 w 2901950"/>
              <a:gd name="connsiteY3" fmla="*/ 1308100 h 1339850"/>
              <a:gd name="connsiteX4" fmla="*/ 244475 w 2901950"/>
              <a:gd name="connsiteY4" fmla="*/ 1282700 h 1339850"/>
              <a:gd name="connsiteX5" fmla="*/ 349250 w 2901950"/>
              <a:gd name="connsiteY5" fmla="*/ 1263650 h 1339850"/>
              <a:gd name="connsiteX6" fmla="*/ 422275 w 2901950"/>
              <a:gd name="connsiteY6" fmla="*/ 1228725 h 1339850"/>
              <a:gd name="connsiteX7" fmla="*/ 511175 w 2901950"/>
              <a:gd name="connsiteY7" fmla="*/ 1196975 h 1339850"/>
              <a:gd name="connsiteX8" fmla="*/ 600075 w 2901950"/>
              <a:gd name="connsiteY8" fmla="*/ 1174750 h 1339850"/>
              <a:gd name="connsiteX9" fmla="*/ 650875 w 2901950"/>
              <a:gd name="connsiteY9" fmla="*/ 1149350 h 1339850"/>
              <a:gd name="connsiteX10" fmla="*/ 736600 w 2901950"/>
              <a:gd name="connsiteY10" fmla="*/ 1114425 h 1339850"/>
              <a:gd name="connsiteX11" fmla="*/ 777875 w 2901950"/>
              <a:gd name="connsiteY11" fmla="*/ 1101725 h 1339850"/>
              <a:gd name="connsiteX12" fmla="*/ 828675 w 2901950"/>
              <a:gd name="connsiteY12" fmla="*/ 1085850 h 1339850"/>
              <a:gd name="connsiteX13" fmla="*/ 898525 w 2901950"/>
              <a:gd name="connsiteY13" fmla="*/ 1069975 h 1339850"/>
              <a:gd name="connsiteX14" fmla="*/ 946150 w 2901950"/>
              <a:gd name="connsiteY14" fmla="*/ 1050925 h 1339850"/>
              <a:gd name="connsiteX15" fmla="*/ 977900 w 2901950"/>
              <a:gd name="connsiteY15" fmla="*/ 1016000 h 1339850"/>
              <a:gd name="connsiteX16" fmla="*/ 1012825 w 2901950"/>
              <a:gd name="connsiteY16" fmla="*/ 977900 h 1339850"/>
              <a:gd name="connsiteX17" fmla="*/ 1076325 w 2901950"/>
              <a:gd name="connsiteY17" fmla="*/ 974725 h 1339850"/>
              <a:gd name="connsiteX18" fmla="*/ 1146175 w 2901950"/>
              <a:gd name="connsiteY18" fmla="*/ 965200 h 1339850"/>
              <a:gd name="connsiteX19" fmla="*/ 1168400 w 2901950"/>
              <a:gd name="connsiteY19" fmla="*/ 936625 h 1339850"/>
              <a:gd name="connsiteX20" fmla="*/ 1181100 w 2901950"/>
              <a:gd name="connsiteY20" fmla="*/ 895350 h 1339850"/>
              <a:gd name="connsiteX21" fmla="*/ 1200150 w 2901950"/>
              <a:gd name="connsiteY21" fmla="*/ 873125 h 1339850"/>
              <a:gd name="connsiteX22" fmla="*/ 1244600 w 2901950"/>
              <a:gd name="connsiteY22" fmla="*/ 860425 h 1339850"/>
              <a:gd name="connsiteX23" fmla="*/ 1285875 w 2901950"/>
              <a:gd name="connsiteY23" fmla="*/ 790575 h 1339850"/>
              <a:gd name="connsiteX24" fmla="*/ 1343025 w 2901950"/>
              <a:gd name="connsiteY24" fmla="*/ 777875 h 1339850"/>
              <a:gd name="connsiteX25" fmla="*/ 1441450 w 2901950"/>
              <a:gd name="connsiteY25" fmla="*/ 752475 h 1339850"/>
              <a:gd name="connsiteX26" fmla="*/ 1565275 w 2901950"/>
              <a:gd name="connsiteY26" fmla="*/ 727075 h 1339850"/>
              <a:gd name="connsiteX27" fmla="*/ 1638300 w 2901950"/>
              <a:gd name="connsiteY27" fmla="*/ 701675 h 1339850"/>
              <a:gd name="connsiteX28" fmla="*/ 1689100 w 2901950"/>
              <a:gd name="connsiteY28" fmla="*/ 714375 h 1339850"/>
              <a:gd name="connsiteX29" fmla="*/ 1774825 w 2901950"/>
              <a:gd name="connsiteY29" fmla="*/ 714375 h 1339850"/>
              <a:gd name="connsiteX30" fmla="*/ 1822450 w 2901950"/>
              <a:gd name="connsiteY30" fmla="*/ 692150 h 1339850"/>
              <a:gd name="connsiteX31" fmla="*/ 1863725 w 2901950"/>
              <a:gd name="connsiteY31" fmla="*/ 660400 h 1339850"/>
              <a:gd name="connsiteX32" fmla="*/ 1892300 w 2901950"/>
              <a:gd name="connsiteY32" fmla="*/ 625475 h 1339850"/>
              <a:gd name="connsiteX33" fmla="*/ 1901825 w 2901950"/>
              <a:gd name="connsiteY33" fmla="*/ 577850 h 1339850"/>
              <a:gd name="connsiteX34" fmla="*/ 1939925 w 2901950"/>
              <a:gd name="connsiteY34" fmla="*/ 539750 h 1339850"/>
              <a:gd name="connsiteX35" fmla="*/ 2012950 w 2901950"/>
              <a:gd name="connsiteY35" fmla="*/ 485775 h 1339850"/>
              <a:gd name="connsiteX36" fmla="*/ 2070100 w 2901950"/>
              <a:gd name="connsiteY36" fmla="*/ 438150 h 1339850"/>
              <a:gd name="connsiteX37" fmla="*/ 2111375 w 2901950"/>
              <a:gd name="connsiteY37" fmla="*/ 390525 h 1339850"/>
              <a:gd name="connsiteX38" fmla="*/ 2178050 w 2901950"/>
              <a:gd name="connsiteY38" fmla="*/ 323850 h 1339850"/>
              <a:gd name="connsiteX39" fmla="*/ 2219325 w 2901950"/>
              <a:gd name="connsiteY39" fmla="*/ 276225 h 1339850"/>
              <a:gd name="connsiteX40" fmla="*/ 2251075 w 2901950"/>
              <a:gd name="connsiteY40" fmla="*/ 241300 h 1339850"/>
              <a:gd name="connsiteX41" fmla="*/ 2282825 w 2901950"/>
              <a:gd name="connsiteY41" fmla="*/ 206375 h 1339850"/>
              <a:gd name="connsiteX42" fmla="*/ 2352675 w 2901950"/>
              <a:gd name="connsiteY42" fmla="*/ 155575 h 1339850"/>
              <a:gd name="connsiteX43" fmla="*/ 2413000 w 2901950"/>
              <a:gd name="connsiteY43" fmla="*/ 136525 h 1339850"/>
              <a:gd name="connsiteX44" fmla="*/ 2486025 w 2901950"/>
              <a:gd name="connsiteY44" fmla="*/ 127000 h 1339850"/>
              <a:gd name="connsiteX45" fmla="*/ 2555875 w 2901950"/>
              <a:gd name="connsiteY45" fmla="*/ 136525 h 1339850"/>
              <a:gd name="connsiteX46" fmla="*/ 2609850 w 2901950"/>
              <a:gd name="connsiteY46" fmla="*/ 130175 h 1339850"/>
              <a:gd name="connsiteX47" fmla="*/ 2673350 w 2901950"/>
              <a:gd name="connsiteY47" fmla="*/ 104775 h 1339850"/>
              <a:gd name="connsiteX48" fmla="*/ 2727325 w 2901950"/>
              <a:gd name="connsiteY48" fmla="*/ 63500 h 1339850"/>
              <a:gd name="connsiteX49" fmla="*/ 2771775 w 2901950"/>
              <a:gd name="connsiteY49" fmla="*/ 31750 h 1339850"/>
              <a:gd name="connsiteX50" fmla="*/ 2813050 w 2901950"/>
              <a:gd name="connsiteY50" fmla="*/ 9525 h 1339850"/>
              <a:gd name="connsiteX51" fmla="*/ 2901950 w 2901950"/>
              <a:gd name="connsiteY51" fmla="*/ 0 h 1339850"/>
              <a:gd name="connsiteX0" fmla="*/ 0 w 2901950"/>
              <a:gd name="connsiteY0" fmla="*/ 1339850 h 1339850"/>
              <a:gd name="connsiteX1" fmla="*/ 57150 w 2901950"/>
              <a:gd name="connsiteY1" fmla="*/ 1314450 h 1339850"/>
              <a:gd name="connsiteX2" fmla="*/ 120650 w 2901950"/>
              <a:gd name="connsiteY2" fmla="*/ 1314450 h 1339850"/>
              <a:gd name="connsiteX3" fmla="*/ 161925 w 2901950"/>
              <a:gd name="connsiteY3" fmla="*/ 1308100 h 1339850"/>
              <a:gd name="connsiteX4" fmla="*/ 244475 w 2901950"/>
              <a:gd name="connsiteY4" fmla="*/ 1282700 h 1339850"/>
              <a:gd name="connsiteX5" fmla="*/ 349250 w 2901950"/>
              <a:gd name="connsiteY5" fmla="*/ 1263650 h 1339850"/>
              <a:gd name="connsiteX6" fmla="*/ 422275 w 2901950"/>
              <a:gd name="connsiteY6" fmla="*/ 1228725 h 1339850"/>
              <a:gd name="connsiteX7" fmla="*/ 511175 w 2901950"/>
              <a:gd name="connsiteY7" fmla="*/ 1196975 h 1339850"/>
              <a:gd name="connsiteX8" fmla="*/ 600075 w 2901950"/>
              <a:gd name="connsiteY8" fmla="*/ 1174750 h 1339850"/>
              <a:gd name="connsiteX9" fmla="*/ 650875 w 2901950"/>
              <a:gd name="connsiteY9" fmla="*/ 1149350 h 1339850"/>
              <a:gd name="connsiteX10" fmla="*/ 736600 w 2901950"/>
              <a:gd name="connsiteY10" fmla="*/ 1114425 h 1339850"/>
              <a:gd name="connsiteX11" fmla="*/ 777875 w 2901950"/>
              <a:gd name="connsiteY11" fmla="*/ 1101725 h 1339850"/>
              <a:gd name="connsiteX12" fmla="*/ 828675 w 2901950"/>
              <a:gd name="connsiteY12" fmla="*/ 1085850 h 1339850"/>
              <a:gd name="connsiteX13" fmla="*/ 898525 w 2901950"/>
              <a:gd name="connsiteY13" fmla="*/ 1069975 h 1339850"/>
              <a:gd name="connsiteX14" fmla="*/ 946150 w 2901950"/>
              <a:gd name="connsiteY14" fmla="*/ 1050925 h 1339850"/>
              <a:gd name="connsiteX15" fmla="*/ 977900 w 2901950"/>
              <a:gd name="connsiteY15" fmla="*/ 1016000 h 1339850"/>
              <a:gd name="connsiteX16" fmla="*/ 1012825 w 2901950"/>
              <a:gd name="connsiteY16" fmla="*/ 977900 h 1339850"/>
              <a:gd name="connsiteX17" fmla="*/ 1076325 w 2901950"/>
              <a:gd name="connsiteY17" fmla="*/ 974725 h 1339850"/>
              <a:gd name="connsiteX18" fmla="*/ 1146175 w 2901950"/>
              <a:gd name="connsiteY18" fmla="*/ 965200 h 1339850"/>
              <a:gd name="connsiteX19" fmla="*/ 1168400 w 2901950"/>
              <a:gd name="connsiteY19" fmla="*/ 936625 h 1339850"/>
              <a:gd name="connsiteX20" fmla="*/ 1181100 w 2901950"/>
              <a:gd name="connsiteY20" fmla="*/ 895350 h 1339850"/>
              <a:gd name="connsiteX21" fmla="*/ 1200150 w 2901950"/>
              <a:gd name="connsiteY21" fmla="*/ 873125 h 1339850"/>
              <a:gd name="connsiteX22" fmla="*/ 1244600 w 2901950"/>
              <a:gd name="connsiteY22" fmla="*/ 860425 h 1339850"/>
              <a:gd name="connsiteX23" fmla="*/ 1285875 w 2901950"/>
              <a:gd name="connsiteY23" fmla="*/ 790575 h 1339850"/>
              <a:gd name="connsiteX24" fmla="*/ 1343025 w 2901950"/>
              <a:gd name="connsiteY24" fmla="*/ 777875 h 1339850"/>
              <a:gd name="connsiteX25" fmla="*/ 1441450 w 2901950"/>
              <a:gd name="connsiteY25" fmla="*/ 752475 h 1339850"/>
              <a:gd name="connsiteX26" fmla="*/ 1565275 w 2901950"/>
              <a:gd name="connsiteY26" fmla="*/ 727075 h 1339850"/>
              <a:gd name="connsiteX27" fmla="*/ 1638300 w 2901950"/>
              <a:gd name="connsiteY27" fmla="*/ 701675 h 1339850"/>
              <a:gd name="connsiteX28" fmla="*/ 1689100 w 2901950"/>
              <a:gd name="connsiteY28" fmla="*/ 714375 h 1339850"/>
              <a:gd name="connsiteX29" fmla="*/ 1774825 w 2901950"/>
              <a:gd name="connsiteY29" fmla="*/ 714375 h 1339850"/>
              <a:gd name="connsiteX30" fmla="*/ 1822450 w 2901950"/>
              <a:gd name="connsiteY30" fmla="*/ 692150 h 1339850"/>
              <a:gd name="connsiteX31" fmla="*/ 1863725 w 2901950"/>
              <a:gd name="connsiteY31" fmla="*/ 660400 h 1339850"/>
              <a:gd name="connsiteX32" fmla="*/ 1892300 w 2901950"/>
              <a:gd name="connsiteY32" fmla="*/ 625475 h 1339850"/>
              <a:gd name="connsiteX33" fmla="*/ 1901825 w 2901950"/>
              <a:gd name="connsiteY33" fmla="*/ 577850 h 1339850"/>
              <a:gd name="connsiteX34" fmla="*/ 1939925 w 2901950"/>
              <a:gd name="connsiteY34" fmla="*/ 539750 h 1339850"/>
              <a:gd name="connsiteX35" fmla="*/ 2012950 w 2901950"/>
              <a:gd name="connsiteY35" fmla="*/ 485775 h 1339850"/>
              <a:gd name="connsiteX36" fmla="*/ 2070100 w 2901950"/>
              <a:gd name="connsiteY36" fmla="*/ 438150 h 1339850"/>
              <a:gd name="connsiteX37" fmla="*/ 2111375 w 2901950"/>
              <a:gd name="connsiteY37" fmla="*/ 390525 h 1339850"/>
              <a:gd name="connsiteX38" fmla="*/ 2178050 w 2901950"/>
              <a:gd name="connsiteY38" fmla="*/ 323850 h 1339850"/>
              <a:gd name="connsiteX39" fmla="*/ 2219325 w 2901950"/>
              <a:gd name="connsiteY39" fmla="*/ 276225 h 1339850"/>
              <a:gd name="connsiteX40" fmla="*/ 2251075 w 2901950"/>
              <a:gd name="connsiteY40" fmla="*/ 241300 h 1339850"/>
              <a:gd name="connsiteX41" fmla="*/ 2282825 w 2901950"/>
              <a:gd name="connsiteY41" fmla="*/ 206375 h 1339850"/>
              <a:gd name="connsiteX42" fmla="*/ 2352675 w 2901950"/>
              <a:gd name="connsiteY42" fmla="*/ 155575 h 1339850"/>
              <a:gd name="connsiteX43" fmla="*/ 2413000 w 2901950"/>
              <a:gd name="connsiteY43" fmla="*/ 136525 h 1339850"/>
              <a:gd name="connsiteX44" fmla="*/ 2486025 w 2901950"/>
              <a:gd name="connsiteY44" fmla="*/ 127000 h 1339850"/>
              <a:gd name="connsiteX45" fmla="*/ 2555875 w 2901950"/>
              <a:gd name="connsiteY45" fmla="*/ 136525 h 1339850"/>
              <a:gd name="connsiteX46" fmla="*/ 2609850 w 2901950"/>
              <a:gd name="connsiteY46" fmla="*/ 130175 h 1339850"/>
              <a:gd name="connsiteX47" fmla="*/ 2673350 w 2901950"/>
              <a:gd name="connsiteY47" fmla="*/ 104775 h 1339850"/>
              <a:gd name="connsiteX48" fmla="*/ 2727325 w 2901950"/>
              <a:gd name="connsiteY48" fmla="*/ 63500 h 1339850"/>
              <a:gd name="connsiteX49" fmla="*/ 2771775 w 2901950"/>
              <a:gd name="connsiteY49" fmla="*/ 31750 h 1339850"/>
              <a:gd name="connsiteX50" fmla="*/ 2901950 w 2901950"/>
              <a:gd name="connsiteY50" fmla="*/ 0 h 1339850"/>
              <a:gd name="connsiteX0" fmla="*/ 0 w 2771775"/>
              <a:gd name="connsiteY0" fmla="*/ 1308100 h 1308100"/>
              <a:gd name="connsiteX1" fmla="*/ 57150 w 2771775"/>
              <a:gd name="connsiteY1" fmla="*/ 1282700 h 1308100"/>
              <a:gd name="connsiteX2" fmla="*/ 120650 w 2771775"/>
              <a:gd name="connsiteY2" fmla="*/ 1282700 h 1308100"/>
              <a:gd name="connsiteX3" fmla="*/ 161925 w 2771775"/>
              <a:gd name="connsiteY3" fmla="*/ 1276350 h 1308100"/>
              <a:gd name="connsiteX4" fmla="*/ 244475 w 2771775"/>
              <a:gd name="connsiteY4" fmla="*/ 1250950 h 1308100"/>
              <a:gd name="connsiteX5" fmla="*/ 349250 w 2771775"/>
              <a:gd name="connsiteY5" fmla="*/ 1231900 h 1308100"/>
              <a:gd name="connsiteX6" fmla="*/ 422275 w 2771775"/>
              <a:gd name="connsiteY6" fmla="*/ 1196975 h 1308100"/>
              <a:gd name="connsiteX7" fmla="*/ 511175 w 2771775"/>
              <a:gd name="connsiteY7" fmla="*/ 1165225 h 1308100"/>
              <a:gd name="connsiteX8" fmla="*/ 600075 w 2771775"/>
              <a:gd name="connsiteY8" fmla="*/ 1143000 h 1308100"/>
              <a:gd name="connsiteX9" fmla="*/ 650875 w 2771775"/>
              <a:gd name="connsiteY9" fmla="*/ 1117600 h 1308100"/>
              <a:gd name="connsiteX10" fmla="*/ 736600 w 2771775"/>
              <a:gd name="connsiteY10" fmla="*/ 1082675 h 1308100"/>
              <a:gd name="connsiteX11" fmla="*/ 777875 w 2771775"/>
              <a:gd name="connsiteY11" fmla="*/ 1069975 h 1308100"/>
              <a:gd name="connsiteX12" fmla="*/ 828675 w 2771775"/>
              <a:gd name="connsiteY12" fmla="*/ 1054100 h 1308100"/>
              <a:gd name="connsiteX13" fmla="*/ 898525 w 2771775"/>
              <a:gd name="connsiteY13" fmla="*/ 1038225 h 1308100"/>
              <a:gd name="connsiteX14" fmla="*/ 946150 w 2771775"/>
              <a:gd name="connsiteY14" fmla="*/ 1019175 h 1308100"/>
              <a:gd name="connsiteX15" fmla="*/ 977900 w 2771775"/>
              <a:gd name="connsiteY15" fmla="*/ 984250 h 1308100"/>
              <a:gd name="connsiteX16" fmla="*/ 1012825 w 2771775"/>
              <a:gd name="connsiteY16" fmla="*/ 946150 h 1308100"/>
              <a:gd name="connsiteX17" fmla="*/ 1076325 w 2771775"/>
              <a:gd name="connsiteY17" fmla="*/ 942975 h 1308100"/>
              <a:gd name="connsiteX18" fmla="*/ 1146175 w 2771775"/>
              <a:gd name="connsiteY18" fmla="*/ 933450 h 1308100"/>
              <a:gd name="connsiteX19" fmla="*/ 1168400 w 2771775"/>
              <a:gd name="connsiteY19" fmla="*/ 904875 h 1308100"/>
              <a:gd name="connsiteX20" fmla="*/ 1181100 w 2771775"/>
              <a:gd name="connsiteY20" fmla="*/ 863600 h 1308100"/>
              <a:gd name="connsiteX21" fmla="*/ 1200150 w 2771775"/>
              <a:gd name="connsiteY21" fmla="*/ 841375 h 1308100"/>
              <a:gd name="connsiteX22" fmla="*/ 1244600 w 2771775"/>
              <a:gd name="connsiteY22" fmla="*/ 828675 h 1308100"/>
              <a:gd name="connsiteX23" fmla="*/ 1285875 w 2771775"/>
              <a:gd name="connsiteY23" fmla="*/ 758825 h 1308100"/>
              <a:gd name="connsiteX24" fmla="*/ 1343025 w 2771775"/>
              <a:gd name="connsiteY24" fmla="*/ 746125 h 1308100"/>
              <a:gd name="connsiteX25" fmla="*/ 1441450 w 2771775"/>
              <a:gd name="connsiteY25" fmla="*/ 720725 h 1308100"/>
              <a:gd name="connsiteX26" fmla="*/ 1565275 w 2771775"/>
              <a:gd name="connsiteY26" fmla="*/ 695325 h 1308100"/>
              <a:gd name="connsiteX27" fmla="*/ 1638300 w 2771775"/>
              <a:gd name="connsiteY27" fmla="*/ 669925 h 1308100"/>
              <a:gd name="connsiteX28" fmla="*/ 1689100 w 2771775"/>
              <a:gd name="connsiteY28" fmla="*/ 682625 h 1308100"/>
              <a:gd name="connsiteX29" fmla="*/ 1774825 w 2771775"/>
              <a:gd name="connsiteY29" fmla="*/ 682625 h 1308100"/>
              <a:gd name="connsiteX30" fmla="*/ 1822450 w 2771775"/>
              <a:gd name="connsiteY30" fmla="*/ 660400 h 1308100"/>
              <a:gd name="connsiteX31" fmla="*/ 1863725 w 2771775"/>
              <a:gd name="connsiteY31" fmla="*/ 628650 h 1308100"/>
              <a:gd name="connsiteX32" fmla="*/ 1892300 w 2771775"/>
              <a:gd name="connsiteY32" fmla="*/ 593725 h 1308100"/>
              <a:gd name="connsiteX33" fmla="*/ 1901825 w 2771775"/>
              <a:gd name="connsiteY33" fmla="*/ 546100 h 1308100"/>
              <a:gd name="connsiteX34" fmla="*/ 1939925 w 2771775"/>
              <a:gd name="connsiteY34" fmla="*/ 508000 h 1308100"/>
              <a:gd name="connsiteX35" fmla="*/ 2012950 w 2771775"/>
              <a:gd name="connsiteY35" fmla="*/ 454025 h 1308100"/>
              <a:gd name="connsiteX36" fmla="*/ 2070100 w 2771775"/>
              <a:gd name="connsiteY36" fmla="*/ 406400 h 1308100"/>
              <a:gd name="connsiteX37" fmla="*/ 2111375 w 2771775"/>
              <a:gd name="connsiteY37" fmla="*/ 358775 h 1308100"/>
              <a:gd name="connsiteX38" fmla="*/ 2178050 w 2771775"/>
              <a:gd name="connsiteY38" fmla="*/ 292100 h 1308100"/>
              <a:gd name="connsiteX39" fmla="*/ 2219325 w 2771775"/>
              <a:gd name="connsiteY39" fmla="*/ 244475 h 1308100"/>
              <a:gd name="connsiteX40" fmla="*/ 2251075 w 2771775"/>
              <a:gd name="connsiteY40" fmla="*/ 209550 h 1308100"/>
              <a:gd name="connsiteX41" fmla="*/ 2282825 w 2771775"/>
              <a:gd name="connsiteY41" fmla="*/ 174625 h 1308100"/>
              <a:gd name="connsiteX42" fmla="*/ 2352675 w 2771775"/>
              <a:gd name="connsiteY42" fmla="*/ 123825 h 1308100"/>
              <a:gd name="connsiteX43" fmla="*/ 2413000 w 2771775"/>
              <a:gd name="connsiteY43" fmla="*/ 104775 h 1308100"/>
              <a:gd name="connsiteX44" fmla="*/ 2486025 w 2771775"/>
              <a:gd name="connsiteY44" fmla="*/ 95250 h 1308100"/>
              <a:gd name="connsiteX45" fmla="*/ 2555875 w 2771775"/>
              <a:gd name="connsiteY45" fmla="*/ 104775 h 1308100"/>
              <a:gd name="connsiteX46" fmla="*/ 2609850 w 2771775"/>
              <a:gd name="connsiteY46" fmla="*/ 98425 h 1308100"/>
              <a:gd name="connsiteX47" fmla="*/ 2673350 w 2771775"/>
              <a:gd name="connsiteY47" fmla="*/ 73025 h 1308100"/>
              <a:gd name="connsiteX48" fmla="*/ 2727325 w 2771775"/>
              <a:gd name="connsiteY48" fmla="*/ 31750 h 1308100"/>
              <a:gd name="connsiteX49" fmla="*/ 2771775 w 2771775"/>
              <a:gd name="connsiteY49" fmla="*/ 0 h 1308100"/>
              <a:gd name="connsiteX0" fmla="*/ 0 w 2727325"/>
              <a:gd name="connsiteY0" fmla="*/ 1276350 h 1276350"/>
              <a:gd name="connsiteX1" fmla="*/ 57150 w 2727325"/>
              <a:gd name="connsiteY1" fmla="*/ 1250950 h 1276350"/>
              <a:gd name="connsiteX2" fmla="*/ 120650 w 2727325"/>
              <a:gd name="connsiteY2" fmla="*/ 1250950 h 1276350"/>
              <a:gd name="connsiteX3" fmla="*/ 161925 w 2727325"/>
              <a:gd name="connsiteY3" fmla="*/ 1244600 h 1276350"/>
              <a:gd name="connsiteX4" fmla="*/ 244475 w 2727325"/>
              <a:gd name="connsiteY4" fmla="*/ 1219200 h 1276350"/>
              <a:gd name="connsiteX5" fmla="*/ 349250 w 2727325"/>
              <a:gd name="connsiteY5" fmla="*/ 1200150 h 1276350"/>
              <a:gd name="connsiteX6" fmla="*/ 422275 w 2727325"/>
              <a:gd name="connsiteY6" fmla="*/ 1165225 h 1276350"/>
              <a:gd name="connsiteX7" fmla="*/ 511175 w 2727325"/>
              <a:gd name="connsiteY7" fmla="*/ 1133475 h 1276350"/>
              <a:gd name="connsiteX8" fmla="*/ 600075 w 2727325"/>
              <a:gd name="connsiteY8" fmla="*/ 1111250 h 1276350"/>
              <a:gd name="connsiteX9" fmla="*/ 650875 w 2727325"/>
              <a:gd name="connsiteY9" fmla="*/ 1085850 h 1276350"/>
              <a:gd name="connsiteX10" fmla="*/ 736600 w 2727325"/>
              <a:gd name="connsiteY10" fmla="*/ 1050925 h 1276350"/>
              <a:gd name="connsiteX11" fmla="*/ 777875 w 2727325"/>
              <a:gd name="connsiteY11" fmla="*/ 1038225 h 1276350"/>
              <a:gd name="connsiteX12" fmla="*/ 828675 w 2727325"/>
              <a:gd name="connsiteY12" fmla="*/ 1022350 h 1276350"/>
              <a:gd name="connsiteX13" fmla="*/ 898525 w 2727325"/>
              <a:gd name="connsiteY13" fmla="*/ 1006475 h 1276350"/>
              <a:gd name="connsiteX14" fmla="*/ 946150 w 2727325"/>
              <a:gd name="connsiteY14" fmla="*/ 987425 h 1276350"/>
              <a:gd name="connsiteX15" fmla="*/ 977900 w 2727325"/>
              <a:gd name="connsiteY15" fmla="*/ 952500 h 1276350"/>
              <a:gd name="connsiteX16" fmla="*/ 1012825 w 2727325"/>
              <a:gd name="connsiteY16" fmla="*/ 914400 h 1276350"/>
              <a:gd name="connsiteX17" fmla="*/ 1076325 w 2727325"/>
              <a:gd name="connsiteY17" fmla="*/ 911225 h 1276350"/>
              <a:gd name="connsiteX18" fmla="*/ 1146175 w 2727325"/>
              <a:gd name="connsiteY18" fmla="*/ 901700 h 1276350"/>
              <a:gd name="connsiteX19" fmla="*/ 1168400 w 2727325"/>
              <a:gd name="connsiteY19" fmla="*/ 873125 h 1276350"/>
              <a:gd name="connsiteX20" fmla="*/ 1181100 w 2727325"/>
              <a:gd name="connsiteY20" fmla="*/ 831850 h 1276350"/>
              <a:gd name="connsiteX21" fmla="*/ 1200150 w 2727325"/>
              <a:gd name="connsiteY21" fmla="*/ 809625 h 1276350"/>
              <a:gd name="connsiteX22" fmla="*/ 1244600 w 2727325"/>
              <a:gd name="connsiteY22" fmla="*/ 796925 h 1276350"/>
              <a:gd name="connsiteX23" fmla="*/ 1285875 w 2727325"/>
              <a:gd name="connsiteY23" fmla="*/ 727075 h 1276350"/>
              <a:gd name="connsiteX24" fmla="*/ 1343025 w 2727325"/>
              <a:gd name="connsiteY24" fmla="*/ 714375 h 1276350"/>
              <a:gd name="connsiteX25" fmla="*/ 1441450 w 2727325"/>
              <a:gd name="connsiteY25" fmla="*/ 688975 h 1276350"/>
              <a:gd name="connsiteX26" fmla="*/ 1565275 w 2727325"/>
              <a:gd name="connsiteY26" fmla="*/ 663575 h 1276350"/>
              <a:gd name="connsiteX27" fmla="*/ 1638300 w 2727325"/>
              <a:gd name="connsiteY27" fmla="*/ 638175 h 1276350"/>
              <a:gd name="connsiteX28" fmla="*/ 1689100 w 2727325"/>
              <a:gd name="connsiteY28" fmla="*/ 650875 h 1276350"/>
              <a:gd name="connsiteX29" fmla="*/ 1774825 w 2727325"/>
              <a:gd name="connsiteY29" fmla="*/ 650875 h 1276350"/>
              <a:gd name="connsiteX30" fmla="*/ 1822450 w 2727325"/>
              <a:gd name="connsiteY30" fmla="*/ 628650 h 1276350"/>
              <a:gd name="connsiteX31" fmla="*/ 1863725 w 2727325"/>
              <a:gd name="connsiteY31" fmla="*/ 596900 h 1276350"/>
              <a:gd name="connsiteX32" fmla="*/ 1892300 w 2727325"/>
              <a:gd name="connsiteY32" fmla="*/ 561975 h 1276350"/>
              <a:gd name="connsiteX33" fmla="*/ 1901825 w 2727325"/>
              <a:gd name="connsiteY33" fmla="*/ 514350 h 1276350"/>
              <a:gd name="connsiteX34" fmla="*/ 1939925 w 2727325"/>
              <a:gd name="connsiteY34" fmla="*/ 476250 h 1276350"/>
              <a:gd name="connsiteX35" fmla="*/ 2012950 w 2727325"/>
              <a:gd name="connsiteY35" fmla="*/ 422275 h 1276350"/>
              <a:gd name="connsiteX36" fmla="*/ 2070100 w 2727325"/>
              <a:gd name="connsiteY36" fmla="*/ 374650 h 1276350"/>
              <a:gd name="connsiteX37" fmla="*/ 2111375 w 2727325"/>
              <a:gd name="connsiteY37" fmla="*/ 327025 h 1276350"/>
              <a:gd name="connsiteX38" fmla="*/ 2178050 w 2727325"/>
              <a:gd name="connsiteY38" fmla="*/ 260350 h 1276350"/>
              <a:gd name="connsiteX39" fmla="*/ 2219325 w 2727325"/>
              <a:gd name="connsiteY39" fmla="*/ 212725 h 1276350"/>
              <a:gd name="connsiteX40" fmla="*/ 2251075 w 2727325"/>
              <a:gd name="connsiteY40" fmla="*/ 177800 h 1276350"/>
              <a:gd name="connsiteX41" fmla="*/ 2282825 w 2727325"/>
              <a:gd name="connsiteY41" fmla="*/ 142875 h 1276350"/>
              <a:gd name="connsiteX42" fmla="*/ 2352675 w 2727325"/>
              <a:gd name="connsiteY42" fmla="*/ 92075 h 1276350"/>
              <a:gd name="connsiteX43" fmla="*/ 2413000 w 2727325"/>
              <a:gd name="connsiteY43" fmla="*/ 73025 h 1276350"/>
              <a:gd name="connsiteX44" fmla="*/ 2486025 w 2727325"/>
              <a:gd name="connsiteY44" fmla="*/ 63500 h 1276350"/>
              <a:gd name="connsiteX45" fmla="*/ 2555875 w 2727325"/>
              <a:gd name="connsiteY45" fmla="*/ 73025 h 1276350"/>
              <a:gd name="connsiteX46" fmla="*/ 2609850 w 2727325"/>
              <a:gd name="connsiteY46" fmla="*/ 66675 h 1276350"/>
              <a:gd name="connsiteX47" fmla="*/ 2673350 w 2727325"/>
              <a:gd name="connsiteY47" fmla="*/ 41275 h 1276350"/>
              <a:gd name="connsiteX48" fmla="*/ 2727325 w 2727325"/>
              <a:gd name="connsiteY48" fmla="*/ 0 h 1276350"/>
              <a:gd name="connsiteX0" fmla="*/ 0 w 2673350"/>
              <a:gd name="connsiteY0" fmla="*/ 1235075 h 1235075"/>
              <a:gd name="connsiteX1" fmla="*/ 57150 w 2673350"/>
              <a:gd name="connsiteY1" fmla="*/ 1209675 h 1235075"/>
              <a:gd name="connsiteX2" fmla="*/ 120650 w 2673350"/>
              <a:gd name="connsiteY2" fmla="*/ 1209675 h 1235075"/>
              <a:gd name="connsiteX3" fmla="*/ 161925 w 2673350"/>
              <a:gd name="connsiteY3" fmla="*/ 1203325 h 1235075"/>
              <a:gd name="connsiteX4" fmla="*/ 244475 w 2673350"/>
              <a:gd name="connsiteY4" fmla="*/ 1177925 h 1235075"/>
              <a:gd name="connsiteX5" fmla="*/ 349250 w 2673350"/>
              <a:gd name="connsiteY5" fmla="*/ 1158875 h 1235075"/>
              <a:gd name="connsiteX6" fmla="*/ 422275 w 2673350"/>
              <a:gd name="connsiteY6" fmla="*/ 1123950 h 1235075"/>
              <a:gd name="connsiteX7" fmla="*/ 511175 w 2673350"/>
              <a:gd name="connsiteY7" fmla="*/ 1092200 h 1235075"/>
              <a:gd name="connsiteX8" fmla="*/ 600075 w 2673350"/>
              <a:gd name="connsiteY8" fmla="*/ 1069975 h 1235075"/>
              <a:gd name="connsiteX9" fmla="*/ 650875 w 2673350"/>
              <a:gd name="connsiteY9" fmla="*/ 1044575 h 1235075"/>
              <a:gd name="connsiteX10" fmla="*/ 736600 w 2673350"/>
              <a:gd name="connsiteY10" fmla="*/ 1009650 h 1235075"/>
              <a:gd name="connsiteX11" fmla="*/ 777875 w 2673350"/>
              <a:gd name="connsiteY11" fmla="*/ 996950 h 1235075"/>
              <a:gd name="connsiteX12" fmla="*/ 828675 w 2673350"/>
              <a:gd name="connsiteY12" fmla="*/ 981075 h 1235075"/>
              <a:gd name="connsiteX13" fmla="*/ 898525 w 2673350"/>
              <a:gd name="connsiteY13" fmla="*/ 965200 h 1235075"/>
              <a:gd name="connsiteX14" fmla="*/ 946150 w 2673350"/>
              <a:gd name="connsiteY14" fmla="*/ 946150 h 1235075"/>
              <a:gd name="connsiteX15" fmla="*/ 977900 w 2673350"/>
              <a:gd name="connsiteY15" fmla="*/ 911225 h 1235075"/>
              <a:gd name="connsiteX16" fmla="*/ 1012825 w 2673350"/>
              <a:gd name="connsiteY16" fmla="*/ 873125 h 1235075"/>
              <a:gd name="connsiteX17" fmla="*/ 1076325 w 2673350"/>
              <a:gd name="connsiteY17" fmla="*/ 869950 h 1235075"/>
              <a:gd name="connsiteX18" fmla="*/ 1146175 w 2673350"/>
              <a:gd name="connsiteY18" fmla="*/ 860425 h 1235075"/>
              <a:gd name="connsiteX19" fmla="*/ 1168400 w 2673350"/>
              <a:gd name="connsiteY19" fmla="*/ 831850 h 1235075"/>
              <a:gd name="connsiteX20" fmla="*/ 1181100 w 2673350"/>
              <a:gd name="connsiteY20" fmla="*/ 790575 h 1235075"/>
              <a:gd name="connsiteX21" fmla="*/ 1200150 w 2673350"/>
              <a:gd name="connsiteY21" fmla="*/ 768350 h 1235075"/>
              <a:gd name="connsiteX22" fmla="*/ 1244600 w 2673350"/>
              <a:gd name="connsiteY22" fmla="*/ 755650 h 1235075"/>
              <a:gd name="connsiteX23" fmla="*/ 1285875 w 2673350"/>
              <a:gd name="connsiteY23" fmla="*/ 685800 h 1235075"/>
              <a:gd name="connsiteX24" fmla="*/ 1343025 w 2673350"/>
              <a:gd name="connsiteY24" fmla="*/ 673100 h 1235075"/>
              <a:gd name="connsiteX25" fmla="*/ 1441450 w 2673350"/>
              <a:gd name="connsiteY25" fmla="*/ 647700 h 1235075"/>
              <a:gd name="connsiteX26" fmla="*/ 1565275 w 2673350"/>
              <a:gd name="connsiteY26" fmla="*/ 622300 h 1235075"/>
              <a:gd name="connsiteX27" fmla="*/ 1638300 w 2673350"/>
              <a:gd name="connsiteY27" fmla="*/ 596900 h 1235075"/>
              <a:gd name="connsiteX28" fmla="*/ 1689100 w 2673350"/>
              <a:gd name="connsiteY28" fmla="*/ 609600 h 1235075"/>
              <a:gd name="connsiteX29" fmla="*/ 1774825 w 2673350"/>
              <a:gd name="connsiteY29" fmla="*/ 609600 h 1235075"/>
              <a:gd name="connsiteX30" fmla="*/ 1822450 w 2673350"/>
              <a:gd name="connsiteY30" fmla="*/ 587375 h 1235075"/>
              <a:gd name="connsiteX31" fmla="*/ 1863725 w 2673350"/>
              <a:gd name="connsiteY31" fmla="*/ 555625 h 1235075"/>
              <a:gd name="connsiteX32" fmla="*/ 1892300 w 2673350"/>
              <a:gd name="connsiteY32" fmla="*/ 520700 h 1235075"/>
              <a:gd name="connsiteX33" fmla="*/ 1901825 w 2673350"/>
              <a:gd name="connsiteY33" fmla="*/ 473075 h 1235075"/>
              <a:gd name="connsiteX34" fmla="*/ 1939925 w 2673350"/>
              <a:gd name="connsiteY34" fmla="*/ 434975 h 1235075"/>
              <a:gd name="connsiteX35" fmla="*/ 2012950 w 2673350"/>
              <a:gd name="connsiteY35" fmla="*/ 381000 h 1235075"/>
              <a:gd name="connsiteX36" fmla="*/ 2070100 w 2673350"/>
              <a:gd name="connsiteY36" fmla="*/ 333375 h 1235075"/>
              <a:gd name="connsiteX37" fmla="*/ 2111375 w 2673350"/>
              <a:gd name="connsiteY37" fmla="*/ 285750 h 1235075"/>
              <a:gd name="connsiteX38" fmla="*/ 2178050 w 2673350"/>
              <a:gd name="connsiteY38" fmla="*/ 219075 h 1235075"/>
              <a:gd name="connsiteX39" fmla="*/ 2219325 w 2673350"/>
              <a:gd name="connsiteY39" fmla="*/ 171450 h 1235075"/>
              <a:gd name="connsiteX40" fmla="*/ 2251075 w 2673350"/>
              <a:gd name="connsiteY40" fmla="*/ 136525 h 1235075"/>
              <a:gd name="connsiteX41" fmla="*/ 2282825 w 2673350"/>
              <a:gd name="connsiteY41" fmla="*/ 101600 h 1235075"/>
              <a:gd name="connsiteX42" fmla="*/ 2352675 w 2673350"/>
              <a:gd name="connsiteY42" fmla="*/ 50800 h 1235075"/>
              <a:gd name="connsiteX43" fmla="*/ 2413000 w 2673350"/>
              <a:gd name="connsiteY43" fmla="*/ 31750 h 1235075"/>
              <a:gd name="connsiteX44" fmla="*/ 2486025 w 2673350"/>
              <a:gd name="connsiteY44" fmla="*/ 22225 h 1235075"/>
              <a:gd name="connsiteX45" fmla="*/ 2555875 w 2673350"/>
              <a:gd name="connsiteY45" fmla="*/ 31750 h 1235075"/>
              <a:gd name="connsiteX46" fmla="*/ 2609850 w 2673350"/>
              <a:gd name="connsiteY46" fmla="*/ 25400 h 1235075"/>
              <a:gd name="connsiteX47" fmla="*/ 2673350 w 2673350"/>
              <a:gd name="connsiteY47" fmla="*/ 0 h 1235075"/>
              <a:gd name="connsiteX0" fmla="*/ 0 w 2609850"/>
              <a:gd name="connsiteY0" fmla="*/ 1212850 h 1212850"/>
              <a:gd name="connsiteX1" fmla="*/ 57150 w 2609850"/>
              <a:gd name="connsiteY1" fmla="*/ 1187450 h 1212850"/>
              <a:gd name="connsiteX2" fmla="*/ 120650 w 2609850"/>
              <a:gd name="connsiteY2" fmla="*/ 1187450 h 1212850"/>
              <a:gd name="connsiteX3" fmla="*/ 161925 w 2609850"/>
              <a:gd name="connsiteY3" fmla="*/ 1181100 h 1212850"/>
              <a:gd name="connsiteX4" fmla="*/ 244475 w 2609850"/>
              <a:gd name="connsiteY4" fmla="*/ 1155700 h 1212850"/>
              <a:gd name="connsiteX5" fmla="*/ 349250 w 2609850"/>
              <a:gd name="connsiteY5" fmla="*/ 1136650 h 1212850"/>
              <a:gd name="connsiteX6" fmla="*/ 422275 w 2609850"/>
              <a:gd name="connsiteY6" fmla="*/ 1101725 h 1212850"/>
              <a:gd name="connsiteX7" fmla="*/ 511175 w 2609850"/>
              <a:gd name="connsiteY7" fmla="*/ 1069975 h 1212850"/>
              <a:gd name="connsiteX8" fmla="*/ 600075 w 2609850"/>
              <a:gd name="connsiteY8" fmla="*/ 1047750 h 1212850"/>
              <a:gd name="connsiteX9" fmla="*/ 650875 w 2609850"/>
              <a:gd name="connsiteY9" fmla="*/ 1022350 h 1212850"/>
              <a:gd name="connsiteX10" fmla="*/ 736600 w 2609850"/>
              <a:gd name="connsiteY10" fmla="*/ 987425 h 1212850"/>
              <a:gd name="connsiteX11" fmla="*/ 777875 w 2609850"/>
              <a:gd name="connsiteY11" fmla="*/ 974725 h 1212850"/>
              <a:gd name="connsiteX12" fmla="*/ 828675 w 2609850"/>
              <a:gd name="connsiteY12" fmla="*/ 958850 h 1212850"/>
              <a:gd name="connsiteX13" fmla="*/ 898525 w 2609850"/>
              <a:gd name="connsiteY13" fmla="*/ 942975 h 1212850"/>
              <a:gd name="connsiteX14" fmla="*/ 946150 w 2609850"/>
              <a:gd name="connsiteY14" fmla="*/ 923925 h 1212850"/>
              <a:gd name="connsiteX15" fmla="*/ 977900 w 2609850"/>
              <a:gd name="connsiteY15" fmla="*/ 889000 h 1212850"/>
              <a:gd name="connsiteX16" fmla="*/ 1012825 w 2609850"/>
              <a:gd name="connsiteY16" fmla="*/ 850900 h 1212850"/>
              <a:gd name="connsiteX17" fmla="*/ 1076325 w 2609850"/>
              <a:gd name="connsiteY17" fmla="*/ 847725 h 1212850"/>
              <a:gd name="connsiteX18" fmla="*/ 1146175 w 2609850"/>
              <a:gd name="connsiteY18" fmla="*/ 838200 h 1212850"/>
              <a:gd name="connsiteX19" fmla="*/ 1168400 w 2609850"/>
              <a:gd name="connsiteY19" fmla="*/ 809625 h 1212850"/>
              <a:gd name="connsiteX20" fmla="*/ 1181100 w 2609850"/>
              <a:gd name="connsiteY20" fmla="*/ 768350 h 1212850"/>
              <a:gd name="connsiteX21" fmla="*/ 1200150 w 2609850"/>
              <a:gd name="connsiteY21" fmla="*/ 746125 h 1212850"/>
              <a:gd name="connsiteX22" fmla="*/ 1244600 w 2609850"/>
              <a:gd name="connsiteY22" fmla="*/ 733425 h 1212850"/>
              <a:gd name="connsiteX23" fmla="*/ 1285875 w 2609850"/>
              <a:gd name="connsiteY23" fmla="*/ 663575 h 1212850"/>
              <a:gd name="connsiteX24" fmla="*/ 1343025 w 2609850"/>
              <a:gd name="connsiteY24" fmla="*/ 650875 h 1212850"/>
              <a:gd name="connsiteX25" fmla="*/ 1441450 w 2609850"/>
              <a:gd name="connsiteY25" fmla="*/ 625475 h 1212850"/>
              <a:gd name="connsiteX26" fmla="*/ 1565275 w 2609850"/>
              <a:gd name="connsiteY26" fmla="*/ 600075 h 1212850"/>
              <a:gd name="connsiteX27" fmla="*/ 1638300 w 2609850"/>
              <a:gd name="connsiteY27" fmla="*/ 574675 h 1212850"/>
              <a:gd name="connsiteX28" fmla="*/ 1689100 w 2609850"/>
              <a:gd name="connsiteY28" fmla="*/ 587375 h 1212850"/>
              <a:gd name="connsiteX29" fmla="*/ 1774825 w 2609850"/>
              <a:gd name="connsiteY29" fmla="*/ 587375 h 1212850"/>
              <a:gd name="connsiteX30" fmla="*/ 1822450 w 2609850"/>
              <a:gd name="connsiteY30" fmla="*/ 565150 h 1212850"/>
              <a:gd name="connsiteX31" fmla="*/ 1863725 w 2609850"/>
              <a:gd name="connsiteY31" fmla="*/ 533400 h 1212850"/>
              <a:gd name="connsiteX32" fmla="*/ 1892300 w 2609850"/>
              <a:gd name="connsiteY32" fmla="*/ 498475 h 1212850"/>
              <a:gd name="connsiteX33" fmla="*/ 1901825 w 2609850"/>
              <a:gd name="connsiteY33" fmla="*/ 450850 h 1212850"/>
              <a:gd name="connsiteX34" fmla="*/ 1939925 w 2609850"/>
              <a:gd name="connsiteY34" fmla="*/ 412750 h 1212850"/>
              <a:gd name="connsiteX35" fmla="*/ 2012950 w 2609850"/>
              <a:gd name="connsiteY35" fmla="*/ 358775 h 1212850"/>
              <a:gd name="connsiteX36" fmla="*/ 2070100 w 2609850"/>
              <a:gd name="connsiteY36" fmla="*/ 311150 h 1212850"/>
              <a:gd name="connsiteX37" fmla="*/ 2111375 w 2609850"/>
              <a:gd name="connsiteY37" fmla="*/ 263525 h 1212850"/>
              <a:gd name="connsiteX38" fmla="*/ 2178050 w 2609850"/>
              <a:gd name="connsiteY38" fmla="*/ 196850 h 1212850"/>
              <a:gd name="connsiteX39" fmla="*/ 2219325 w 2609850"/>
              <a:gd name="connsiteY39" fmla="*/ 149225 h 1212850"/>
              <a:gd name="connsiteX40" fmla="*/ 2251075 w 2609850"/>
              <a:gd name="connsiteY40" fmla="*/ 114300 h 1212850"/>
              <a:gd name="connsiteX41" fmla="*/ 2282825 w 2609850"/>
              <a:gd name="connsiteY41" fmla="*/ 79375 h 1212850"/>
              <a:gd name="connsiteX42" fmla="*/ 2352675 w 2609850"/>
              <a:gd name="connsiteY42" fmla="*/ 28575 h 1212850"/>
              <a:gd name="connsiteX43" fmla="*/ 2413000 w 2609850"/>
              <a:gd name="connsiteY43" fmla="*/ 9525 h 1212850"/>
              <a:gd name="connsiteX44" fmla="*/ 2486025 w 2609850"/>
              <a:gd name="connsiteY44" fmla="*/ 0 h 1212850"/>
              <a:gd name="connsiteX45" fmla="*/ 2555875 w 2609850"/>
              <a:gd name="connsiteY45" fmla="*/ 9525 h 1212850"/>
              <a:gd name="connsiteX46" fmla="*/ 2609850 w 2609850"/>
              <a:gd name="connsiteY46" fmla="*/ 3175 h 1212850"/>
              <a:gd name="connsiteX0" fmla="*/ 0 w 2665841"/>
              <a:gd name="connsiteY0" fmla="*/ 1237667 h 1237667"/>
              <a:gd name="connsiteX1" fmla="*/ 57150 w 2665841"/>
              <a:gd name="connsiteY1" fmla="*/ 1212267 h 1237667"/>
              <a:gd name="connsiteX2" fmla="*/ 120650 w 2665841"/>
              <a:gd name="connsiteY2" fmla="*/ 1212267 h 1237667"/>
              <a:gd name="connsiteX3" fmla="*/ 161925 w 2665841"/>
              <a:gd name="connsiteY3" fmla="*/ 1205917 h 1237667"/>
              <a:gd name="connsiteX4" fmla="*/ 244475 w 2665841"/>
              <a:gd name="connsiteY4" fmla="*/ 1180517 h 1237667"/>
              <a:gd name="connsiteX5" fmla="*/ 349250 w 2665841"/>
              <a:gd name="connsiteY5" fmla="*/ 1161467 h 1237667"/>
              <a:gd name="connsiteX6" fmla="*/ 422275 w 2665841"/>
              <a:gd name="connsiteY6" fmla="*/ 1126542 h 1237667"/>
              <a:gd name="connsiteX7" fmla="*/ 511175 w 2665841"/>
              <a:gd name="connsiteY7" fmla="*/ 1094792 h 1237667"/>
              <a:gd name="connsiteX8" fmla="*/ 600075 w 2665841"/>
              <a:gd name="connsiteY8" fmla="*/ 1072567 h 1237667"/>
              <a:gd name="connsiteX9" fmla="*/ 650875 w 2665841"/>
              <a:gd name="connsiteY9" fmla="*/ 1047167 h 1237667"/>
              <a:gd name="connsiteX10" fmla="*/ 736600 w 2665841"/>
              <a:gd name="connsiteY10" fmla="*/ 1012242 h 1237667"/>
              <a:gd name="connsiteX11" fmla="*/ 777875 w 2665841"/>
              <a:gd name="connsiteY11" fmla="*/ 999542 h 1237667"/>
              <a:gd name="connsiteX12" fmla="*/ 828675 w 2665841"/>
              <a:gd name="connsiteY12" fmla="*/ 983667 h 1237667"/>
              <a:gd name="connsiteX13" fmla="*/ 898525 w 2665841"/>
              <a:gd name="connsiteY13" fmla="*/ 967792 h 1237667"/>
              <a:gd name="connsiteX14" fmla="*/ 946150 w 2665841"/>
              <a:gd name="connsiteY14" fmla="*/ 948742 h 1237667"/>
              <a:gd name="connsiteX15" fmla="*/ 977900 w 2665841"/>
              <a:gd name="connsiteY15" fmla="*/ 913817 h 1237667"/>
              <a:gd name="connsiteX16" fmla="*/ 1012825 w 2665841"/>
              <a:gd name="connsiteY16" fmla="*/ 875717 h 1237667"/>
              <a:gd name="connsiteX17" fmla="*/ 1076325 w 2665841"/>
              <a:gd name="connsiteY17" fmla="*/ 872542 h 1237667"/>
              <a:gd name="connsiteX18" fmla="*/ 1146175 w 2665841"/>
              <a:gd name="connsiteY18" fmla="*/ 863017 h 1237667"/>
              <a:gd name="connsiteX19" fmla="*/ 1168400 w 2665841"/>
              <a:gd name="connsiteY19" fmla="*/ 834442 h 1237667"/>
              <a:gd name="connsiteX20" fmla="*/ 1181100 w 2665841"/>
              <a:gd name="connsiteY20" fmla="*/ 793167 h 1237667"/>
              <a:gd name="connsiteX21" fmla="*/ 1200150 w 2665841"/>
              <a:gd name="connsiteY21" fmla="*/ 770942 h 1237667"/>
              <a:gd name="connsiteX22" fmla="*/ 1244600 w 2665841"/>
              <a:gd name="connsiteY22" fmla="*/ 758242 h 1237667"/>
              <a:gd name="connsiteX23" fmla="*/ 1285875 w 2665841"/>
              <a:gd name="connsiteY23" fmla="*/ 688392 h 1237667"/>
              <a:gd name="connsiteX24" fmla="*/ 1343025 w 2665841"/>
              <a:gd name="connsiteY24" fmla="*/ 675692 h 1237667"/>
              <a:gd name="connsiteX25" fmla="*/ 1441450 w 2665841"/>
              <a:gd name="connsiteY25" fmla="*/ 650292 h 1237667"/>
              <a:gd name="connsiteX26" fmla="*/ 1565275 w 2665841"/>
              <a:gd name="connsiteY26" fmla="*/ 624892 h 1237667"/>
              <a:gd name="connsiteX27" fmla="*/ 1638300 w 2665841"/>
              <a:gd name="connsiteY27" fmla="*/ 599492 h 1237667"/>
              <a:gd name="connsiteX28" fmla="*/ 1689100 w 2665841"/>
              <a:gd name="connsiteY28" fmla="*/ 612192 h 1237667"/>
              <a:gd name="connsiteX29" fmla="*/ 1774825 w 2665841"/>
              <a:gd name="connsiteY29" fmla="*/ 612192 h 1237667"/>
              <a:gd name="connsiteX30" fmla="*/ 1822450 w 2665841"/>
              <a:gd name="connsiteY30" fmla="*/ 589967 h 1237667"/>
              <a:gd name="connsiteX31" fmla="*/ 1863725 w 2665841"/>
              <a:gd name="connsiteY31" fmla="*/ 558217 h 1237667"/>
              <a:gd name="connsiteX32" fmla="*/ 1892300 w 2665841"/>
              <a:gd name="connsiteY32" fmla="*/ 523292 h 1237667"/>
              <a:gd name="connsiteX33" fmla="*/ 1901825 w 2665841"/>
              <a:gd name="connsiteY33" fmla="*/ 475667 h 1237667"/>
              <a:gd name="connsiteX34" fmla="*/ 1939925 w 2665841"/>
              <a:gd name="connsiteY34" fmla="*/ 437567 h 1237667"/>
              <a:gd name="connsiteX35" fmla="*/ 2012950 w 2665841"/>
              <a:gd name="connsiteY35" fmla="*/ 383592 h 1237667"/>
              <a:gd name="connsiteX36" fmla="*/ 2070100 w 2665841"/>
              <a:gd name="connsiteY36" fmla="*/ 335967 h 1237667"/>
              <a:gd name="connsiteX37" fmla="*/ 2111375 w 2665841"/>
              <a:gd name="connsiteY37" fmla="*/ 288342 h 1237667"/>
              <a:gd name="connsiteX38" fmla="*/ 2178050 w 2665841"/>
              <a:gd name="connsiteY38" fmla="*/ 221667 h 1237667"/>
              <a:gd name="connsiteX39" fmla="*/ 2219325 w 2665841"/>
              <a:gd name="connsiteY39" fmla="*/ 174042 h 1237667"/>
              <a:gd name="connsiteX40" fmla="*/ 2251075 w 2665841"/>
              <a:gd name="connsiteY40" fmla="*/ 139117 h 1237667"/>
              <a:gd name="connsiteX41" fmla="*/ 2282825 w 2665841"/>
              <a:gd name="connsiteY41" fmla="*/ 104192 h 1237667"/>
              <a:gd name="connsiteX42" fmla="*/ 2352675 w 2665841"/>
              <a:gd name="connsiteY42" fmla="*/ 53392 h 1237667"/>
              <a:gd name="connsiteX43" fmla="*/ 2413000 w 2665841"/>
              <a:gd name="connsiteY43" fmla="*/ 34342 h 1237667"/>
              <a:gd name="connsiteX44" fmla="*/ 2486025 w 2665841"/>
              <a:gd name="connsiteY44" fmla="*/ 24817 h 1237667"/>
              <a:gd name="connsiteX45" fmla="*/ 2555875 w 2665841"/>
              <a:gd name="connsiteY45" fmla="*/ 34342 h 1237667"/>
              <a:gd name="connsiteX46" fmla="*/ 2665841 w 2665841"/>
              <a:gd name="connsiteY46" fmla="*/ 0 h 1237667"/>
              <a:gd name="connsiteX0" fmla="*/ 0 w 2555875"/>
              <a:gd name="connsiteY0" fmla="*/ 1212850 h 1212850"/>
              <a:gd name="connsiteX1" fmla="*/ 57150 w 2555875"/>
              <a:gd name="connsiteY1" fmla="*/ 1187450 h 1212850"/>
              <a:gd name="connsiteX2" fmla="*/ 120650 w 2555875"/>
              <a:gd name="connsiteY2" fmla="*/ 1187450 h 1212850"/>
              <a:gd name="connsiteX3" fmla="*/ 161925 w 2555875"/>
              <a:gd name="connsiteY3" fmla="*/ 1181100 h 1212850"/>
              <a:gd name="connsiteX4" fmla="*/ 244475 w 2555875"/>
              <a:gd name="connsiteY4" fmla="*/ 1155700 h 1212850"/>
              <a:gd name="connsiteX5" fmla="*/ 349250 w 2555875"/>
              <a:gd name="connsiteY5" fmla="*/ 1136650 h 1212850"/>
              <a:gd name="connsiteX6" fmla="*/ 422275 w 2555875"/>
              <a:gd name="connsiteY6" fmla="*/ 1101725 h 1212850"/>
              <a:gd name="connsiteX7" fmla="*/ 511175 w 2555875"/>
              <a:gd name="connsiteY7" fmla="*/ 1069975 h 1212850"/>
              <a:gd name="connsiteX8" fmla="*/ 600075 w 2555875"/>
              <a:gd name="connsiteY8" fmla="*/ 1047750 h 1212850"/>
              <a:gd name="connsiteX9" fmla="*/ 650875 w 2555875"/>
              <a:gd name="connsiteY9" fmla="*/ 1022350 h 1212850"/>
              <a:gd name="connsiteX10" fmla="*/ 736600 w 2555875"/>
              <a:gd name="connsiteY10" fmla="*/ 987425 h 1212850"/>
              <a:gd name="connsiteX11" fmla="*/ 777875 w 2555875"/>
              <a:gd name="connsiteY11" fmla="*/ 974725 h 1212850"/>
              <a:gd name="connsiteX12" fmla="*/ 828675 w 2555875"/>
              <a:gd name="connsiteY12" fmla="*/ 958850 h 1212850"/>
              <a:gd name="connsiteX13" fmla="*/ 898525 w 2555875"/>
              <a:gd name="connsiteY13" fmla="*/ 942975 h 1212850"/>
              <a:gd name="connsiteX14" fmla="*/ 946150 w 2555875"/>
              <a:gd name="connsiteY14" fmla="*/ 923925 h 1212850"/>
              <a:gd name="connsiteX15" fmla="*/ 977900 w 2555875"/>
              <a:gd name="connsiteY15" fmla="*/ 889000 h 1212850"/>
              <a:gd name="connsiteX16" fmla="*/ 1012825 w 2555875"/>
              <a:gd name="connsiteY16" fmla="*/ 850900 h 1212850"/>
              <a:gd name="connsiteX17" fmla="*/ 1076325 w 2555875"/>
              <a:gd name="connsiteY17" fmla="*/ 847725 h 1212850"/>
              <a:gd name="connsiteX18" fmla="*/ 1146175 w 2555875"/>
              <a:gd name="connsiteY18" fmla="*/ 838200 h 1212850"/>
              <a:gd name="connsiteX19" fmla="*/ 1168400 w 2555875"/>
              <a:gd name="connsiteY19" fmla="*/ 809625 h 1212850"/>
              <a:gd name="connsiteX20" fmla="*/ 1181100 w 2555875"/>
              <a:gd name="connsiteY20" fmla="*/ 768350 h 1212850"/>
              <a:gd name="connsiteX21" fmla="*/ 1200150 w 2555875"/>
              <a:gd name="connsiteY21" fmla="*/ 746125 h 1212850"/>
              <a:gd name="connsiteX22" fmla="*/ 1244600 w 2555875"/>
              <a:gd name="connsiteY22" fmla="*/ 733425 h 1212850"/>
              <a:gd name="connsiteX23" fmla="*/ 1285875 w 2555875"/>
              <a:gd name="connsiteY23" fmla="*/ 663575 h 1212850"/>
              <a:gd name="connsiteX24" fmla="*/ 1343025 w 2555875"/>
              <a:gd name="connsiteY24" fmla="*/ 650875 h 1212850"/>
              <a:gd name="connsiteX25" fmla="*/ 1441450 w 2555875"/>
              <a:gd name="connsiteY25" fmla="*/ 625475 h 1212850"/>
              <a:gd name="connsiteX26" fmla="*/ 1565275 w 2555875"/>
              <a:gd name="connsiteY26" fmla="*/ 600075 h 1212850"/>
              <a:gd name="connsiteX27" fmla="*/ 1638300 w 2555875"/>
              <a:gd name="connsiteY27" fmla="*/ 574675 h 1212850"/>
              <a:gd name="connsiteX28" fmla="*/ 1689100 w 2555875"/>
              <a:gd name="connsiteY28" fmla="*/ 587375 h 1212850"/>
              <a:gd name="connsiteX29" fmla="*/ 1774825 w 2555875"/>
              <a:gd name="connsiteY29" fmla="*/ 587375 h 1212850"/>
              <a:gd name="connsiteX30" fmla="*/ 1822450 w 2555875"/>
              <a:gd name="connsiteY30" fmla="*/ 565150 h 1212850"/>
              <a:gd name="connsiteX31" fmla="*/ 1863725 w 2555875"/>
              <a:gd name="connsiteY31" fmla="*/ 533400 h 1212850"/>
              <a:gd name="connsiteX32" fmla="*/ 1892300 w 2555875"/>
              <a:gd name="connsiteY32" fmla="*/ 498475 h 1212850"/>
              <a:gd name="connsiteX33" fmla="*/ 1901825 w 2555875"/>
              <a:gd name="connsiteY33" fmla="*/ 450850 h 1212850"/>
              <a:gd name="connsiteX34" fmla="*/ 1939925 w 2555875"/>
              <a:gd name="connsiteY34" fmla="*/ 412750 h 1212850"/>
              <a:gd name="connsiteX35" fmla="*/ 2012950 w 2555875"/>
              <a:gd name="connsiteY35" fmla="*/ 358775 h 1212850"/>
              <a:gd name="connsiteX36" fmla="*/ 2070100 w 2555875"/>
              <a:gd name="connsiteY36" fmla="*/ 311150 h 1212850"/>
              <a:gd name="connsiteX37" fmla="*/ 2111375 w 2555875"/>
              <a:gd name="connsiteY37" fmla="*/ 263525 h 1212850"/>
              <a:gd name="connsiteX38" fmla="*/ 2178050 w 2555875"/>
              <a:gd name="connsiteY38" fmla="*/ 196850 h 1212850"/>
              <a:gd name="connsiteX39" fmla="*/ 2219325 w 2555875"/>
              <a:gd name="connsiteY39" fmla="*/ 149225 h 1212850"/>
              <a:gd name="connsiteX40" fmla="*/ 2251075 w 2555875"/>
              <a:gd name="connsiteY40" fmla="*/ 114300 h 1212850"/>
              <a:gd name="connsiteX41" fmla="*/ 2282825 w 2555875"/>
              <a:gd name="connsiteY41" fmla="*/ 79375 h 1212850"/>
              <a:gd name="connsiteX42" fmla="*/ 2352675 w 2555875"/>
              <a:gd name="connsiteY42" fmla="*/ 28575 h 1212850"/>
              <a:gd name="connsiteX43" fmla="*/ 2413000 w 2555875"/>
              <a:gd name="connsiteY43" fmla="*/ 9525 h 1212850"/>
              <a:gd name="connsiteX44" fmla="*/ 2486025 w 2555875"/>
              <a:gd name="connsiteY44" fmla="*/ 0 h 1212850"/>
              <a:gd name="connsiteX45" fmla="*/ 2555875 w 2555875"/>
              <a:gd name="connsiteY45" fmla="*/ 9525 h 1212850"/>
              <a:gd name="connsiteX0" fmla="*/ 0 w 2486025"/>
              <a:gd name="connsiteY0" fmla="*/ 1212850 h 1212850"/>
              <a:gd name="connsiteX1" fmla="*/ 57150 w 2486025"/>
              <a:gd name="connsiteY1" fmla="*/ 1187450 h 1212850"/>
              <a:gd name="connsiteX2" fmla="*/ 120650 w 2486025"/>
              <a:gd name="connsiteY2" fmla="*/ 1187450 h 1212850"/>
              <a:gd name="connsiteX3" fmla="*/ 161925 w 2486025"/>
              <a:gd name="connsiteY3" fmla="*/ 1181100 h 1212850"/>
              <a:gd name="connsiteX4" fmla="*/ 244475 w 2486025"/>
              <a:gd name="connsiteY4" fmla="*/ 1155700 h 1212850"/>
              <a:gd name="connsiteX5" fmla="*/ 349250 w 2486025"/>
              <a:gd name="connsiteY5" fmla="*/ 1136650 h 1212850"/>
              <a:gd name="connsiteX6" fmla="*/ 422275 w 2486025"/>
              <a:gd name="connsiteY6" fmla="*/ 1101725 h 1212850"/>
              <a:gd name="connsiteX7" fmla="*/ 511175 w 2486025"/>
              <a:gd name="connsiteY7" fmla="*/ 1069975 h 1212850"/>
              <a:gd name="connsiteX8" fmla="*/ 600075 w 2486025"/>
              <a:gd name="connsiteY8" fmla="*/ 1047750 h 1212850"/>
              <a:gd name="connsiteX9" fmla="*/ 650875 w 2486025"/>
              <a:gd name="connsiteY9" fmla="*/ 1022350 h 1212850"/>
              <a:gd name="connsiteX10" fmla="*/ 736600 w 2486025"/>
              <a:gd name="connsiteY10" fmla="*/ 987425 h 1212850"/>
              <a:gd name="connsiteX11" fmla="*/ 777875 w 2486025"/>
              <a:gd name="connsiteY11" fmla="*/ 974725 h 1212850"/>
              <a:gd name="connsiteX12" fmla="*/ 828675 w 2486025"/>
              <a:gd name="connsiteY12" fmla="*/ 958850 h 1212850"/>
              <a:gd name="connsiteX13" fmla="*/ 898525 w 2486025"/>
              <a:gd name="connsiteY13" fmla="*/ 942975 h 1212850"/>
              <a:gd name="connsiteX14" fmla="*/ 946150 w 2486025"/>
              <a:gd name="connsiteY14" fmla="*/ 923925 h 1212850"/>
              <a:gd name="connsiteX15" fmla="*/ 977900 w 2486025"/>
              <a:gd name="connsiteY15" fmla="*/ 889000 h 1212850"/>
              <a:gd name="connsiteX16" fmla="*/ 1012825 w 2486025"/>
              <a:gd name="connsiteY16" fmla="*/ 850900 h 1212850"/>
              <a:gd name="connsiteX17" fmla="*/ 1076325 w 2486025"/>
              <a:gd name="connsiteY17" fmla="*/ 847725 h 1212850"/>
              <a:gd name="connsiteX18" fmla="*/ 1146175 w 2486025"/>
              <a:gd name="connsiteY18" fmla="*/ 838200 h 1212850"/>
              <a:gd name="connsiteX19" fmla="*/ 1168400 w 2486025"/>
              <a:gd name="connsiteY19" fmla="*/ 809625 h 1212850"/>
              <a:gd name="connsiteX20" fmla="*/ 1181100 w 2486025"/>
              <a:gd name="connsiteY20" fmla="*/ 768350 h 1212850"/>
              <a:gd name="connsiteX21" fmla="*/ 1200150 w 2486025"/>
              <a:gd name="connsiteY21" fmla="*/ 746125 h 1212850"/>
              <a:gd name="connsiteX22" fmla="*/ 1244600 w 2486025"/>
              <a:gd name="connsiteY22" fmla="*/ 733425 h 1212850"/>
              <a:gd name="connsiteX23" fmla="*/ 1285875 w 2486025"/>
              <a:gd name="connsiteY23" fmla="*/ 663575 h 1212850"/>
              <a:gd name="connsiteX24" fmla="*/ 1343025 w 2486025"/>
              <a:gd name="connsiteY24" fmla="*/ 650875 h 1212850"/>
              <a:gd name="connsiteX25" fmla="*/ 1441450 w 2486025"/>
              <a:gd name="connsiteY25" fmla="*/ 625475 h 1212850"/>
              <a:gd name="connsiteX26" fmla="*/ 1565275 w 2486025"/>
              <a:gd name="connsiteY26" fmla="*/ 600075 h 1212850"/>
              <a:gd name="connsiteX27" fmla="*/ 1638300 w 2486025"/>
              <a:gd name="connsiteY27" fmla="*/ 574675 h 1212850"/>
              <a:gd name="connsiteX28" fmla="*/ 1689100 w 2486025"/>
              <a:gd name="connsiteY28" fmla="*/ 587375 h 1212850"/>
              <a:gd name="connsiteX29" fmla="*/ 1774825 w 2486025"/>
              <a:gd name="connsiteY29" fmla="*/ 587375 h 1212850"/>
              <a:gd name="connsiteX30" fmla="*/ 1822450 w 2486025"/>
              <a:gd name="connsiteY30" fmla="*/ 565150 h 1212850"/>
              <a:gd name="connsiteX31" fmla="*/ 1863725 w 2486025"/>
              <a:gd name="connsiteY31" fmla="*/ 533400 h 1212850"/>
              <a:gd name="connsiteX32" fmla="*/ 1892300 w 2486025"/>
              <a:gd name="connsiteY32" fmla="*/ 498475 h 1212850"/>
              <a:gd name="connsiteX33" fmla="*/ 1901825 w 2486025"/>
              <a:gd name="connsiteY33" fmla="*/ 450850 h 1212850"/>
              <a:gd name="connsiteX34" fmla="*/ 1939925 w 2486025"/>
              <a:gd name="connsiteY34" fmla="*/ 412750 h 1212850"/>
              <a:gd name="connsiteX35" fmla="*/ 2012950 w 2486025"/>
              <a:gd name="connsiteY35" fmla="*/ 358775 h 1212850"/>
              <a:gd name="connsiteX36" fmla="*/ 2070100 w 2486025"/>
              <a:gd name="connsiteY36" fmla="*/ 311150 h 1212850"/>
              <a:gd name="connsiteX37" fmla="*/ 2111375 w 2486025"/>
              <a:gd name="connsiteY37" fmla="*/ 263525 h 1212850"/>
              <a:gd name="connsiteX38" fmla="*/ 2178050 w 2486025"/>
              <a:gd name="connsiteY38" fmla="*/ 196850 h 1212850"/>
              <a:gd name="connsiteX39" fmla="*/ 2219325 w 2486025"/>
              <a:gd name="connsiteY39" fmla="*/ 149225 h 1212850"/>
              <a:gd name="connsiteX40" fmla="*/ 2251075 w 2486025"/>
              <a:gd name="connsiteY40" fmla="*/ 114300 h 1212850"/>
              <a:gd name="connsiteX41" fmla="*/ 2282825 w 2486025"/>
              <a:gd name="connsiteY41" fmla="*/ 79375 h 1212850"/>
              <a:gd name="connsiteX42" fmla="*/ 2352675 w 2486025"/>
              <a:gd name="connsiteY42" fmla="*/ 28575 h 1212850"/>
              <a:gd name="connsiteX43" fmla="*/ 2413000 w 2486025"/>
              <a:gd name="connsiteY43" fmla="*/ 9525 h 1212850"/>
              <a:gd name="connsiteX44" fmla="*/ 2486025 w 2486025"/>
              <a:gd name="connsiteY44" fmla="*/ 0 h 1212850"/>
              <a:gd name="connsiteX0" fmla="*/ 0 w 2413000"/>
              <a:gd name="connsiteY0" fmla="*/ 1203325 h 1203325"/>
              <a:gd name="connsiteX1" fmla="*/ 57150 w 2413000"/>
              <a:gd name="connsiteY1" fmla="*/ 1177925 h 1203325"/>
              <a:gd name="connsiteX2" fmla="*/ 120650 w 2413000"/>
              <a:gd name="connsiteY2" fmla="*/ 1177925 h 1203325"/>
              <a:gd name="connsiteX3" fmla="*/ 161925 w 2413000"/>
              <a:gd name="connsiteY3" fmla="*/ 1171575 h 1203325"/>
              <a:gd name="connsiteX4" fmla="*/ 244475 w 2413000"/>
              <a:gd name="connsiteY4" fmla="*/ 1146175 h 1203325"/>
              <a:gd name="connsiteX5" fmla="*/ 349250 w 2413000"/>
              <a:gd name="connsiteY5" fmla="*/ 1127125 h 1203325"/>
              <a:gd name="connsiteX6" fmla="*/ 422275 w 2413000"/>
              <a:gd name="connsiteY6" fmla="*/ 1092200 h 1203325"/>
              <a:gd name="connsiteX7" fmla="*/ 511175 w 2413000"/>
              <a:gd name="connsiteY7" fmla="*/ 1060450 h 1203325"/>
              <a:gd name="connsiteX8" fmla="*/ 600075 w 2413000"/>
              <a:gd name="connsiteY8" fmla="*/ 1038225 h 1203325"/>
              <a:gd name="connsiteX9" fmla="*/ 650875 w 2413000"/>
              <a:gd name="connsiteY9" fmla="*/ 1012825 h 1203325"/>
              <a:gd name="connsiteX10" fmla="*/ 736600 w 2413000"/>
              <a:gd name="connsiteY10" fmla="*/ 977900 h 1203325"/>
              <a:gd name="connsiteX11" fmla="*/ 777875 w 2413000"/>
              <a:gd name="connsiteY11" fmla="*/ 965200 h 1203325"/>
              <a:gd name="connsiteX12" fmla="*/ 828675 w 2413000"/>
              <a:gd name="connsiteY12" fmla="*/ 949325 h 1203325"/>
              <a:gd name="connsiteX13" fmla="*/ 898525 w 2413000"/>
              <a:gd name="connsiteY13" fmla="*/ 933450 h 1203325"/>
              <a:gd name="connsiteX14" fmla="*/ 946150 w 2413000"/>
              <a:gd name="connsiteY14" fmla="*/ 914400 h 1203325"/>
              <a:gd name="connsiteX15" fmla="*/ 977900 w 2413000"/>
              <a:gd name="connsiteY15" fmla="*/ 879475 h 1203325"/>
              <a:gd name="connsiteX16" fmla="*/ 1012825 w 2413000"/>
              <a:gd name="connsiteY16" fmla="*/ 841375 h 1203325"/>
              <a:gd name="connsiteX17" fmla="*/ 1076325 w 2413000"/>
              <a:gd name="connsiteY17" fmla="*/ 838200 h 1203325"/>
              <a:gd name="connsiteX18" fmla="*/ 1146175 w 2413000"/>
              <a:gd name="connsiteY18" fmla="*/ 828675 h 1203325"/>
              <a:gd name="connsiteX19" fmla="*/ 1168400 w 2413000"/>
              <a:gd name="connsiteY19" fmla="*/ 800100 h 1203325"/>
              <a:gd name="connsiteX20" fmla="*/ 1181100 w 2413000"/>
              <a:gd name="connsiteY20" fmla="*/ 758825 h 1203325"/>
              <a:gd name="connsiteX21" fmla="*/ 1200150 w 2413000"/>
              <a:gd name="connsiteY21" fmla="*/ 736600 h 1203325"/>
              <a:gd name="connsiteX22" fmla="*/ 1244600 w 2413000"/>
              <a:gd name="connsiteY22" fmla="*/ 723900 h 1203325"/>
              <a:gd name="connsiteX23" fmla="*/ 1285875 w 2413000"/>
              <a:gd name="connsiteY23" fmla="*/ 654050 h 1203325"/>
              <a:gd name="connsiteX24" fmla="*/ 1343025 w 2413000"/>
              <a:gd name="connsiteY24" fmla="*/ 641350 h 1203325"/>
              <a:gd name="connsiteX25" fmla="*/ 1441450 w 2413000"/>
              <a:gd name="connsiteY25" fmla="*/ 615950 h 1203325"/>
              <a:gd name="connsiteX26" fmla="*/ 1565275 w 2413000"/>
              <a:gd name="connsiteY26" fmla="*/ 590550 h 1203325"/>
              <a:gd name="connsiteX27" fmla="*/ 1638300 w 2413000"/>
              <a:gd name="connsiteY27" fmla="*/ 565150 h 1203325"/>
              <a:gd name="connsiteX28" fmla="*/ 1689100 w 2413000"/>
              <a:gd name="connsiteY28" fmla="*/ 577850 h 1203325"/>
              <a:gd name="connsiteX29" fmla="*/ 1774825 w 2413000"/>
              <a:gd name="connsiteY29" fmla="*/ 577850 h 1203325"/>
              <a:gd name="connsiteX30" fmla="*/ 1822450 w 2413000"/>
              <a:gd name="connsiteY30" fmla="*/ 555625 h 1203325"/>
              <a:gd name="connsiteX31" fmla="*/ 1863725 w 2413000"/>
              <a:gd name="connsiteY31" fmla="*/ 523875 h 1203325"/>
              <a:gd name="connsiteX32" fmla="*/ 1892300 w 2413000"/>
              <a:gd name="connsiteY32" fmla="*/ 488950 h 1203325"/>
              <a:gd name="connsiteX33" fmla="*/ 1901825 w 2413000"/>
              <a:gd name="connsiteY33" fmla="*/ 441325 h 1203325"/>
              <a:gd name="connsiteX34" fmla="*/ 1939925 w 2413000"/>
              <a:gd name="connsiteY34" fmla="*/ 403225 h 1203325"/>
              <a:gd name="connsiteX35" fmla="*/ 2012950 w 2413000"/>
              <a:gd name="connsiteY35" fmla="*/ 349250 h 1203325"/>
              <a:gd name="connsiteX36" fmla="*/ 2070100 w 2413000"/>
              <a:gd name="connsiteY36" fmla="*/ 301625 h 1203325"/>
              <a:gd name="connsiteX37" fmla="*/ 2111375 w 2413000"/>
              <a:gd name="connsiteY37" fmla="*/ 254000 h 1203325"/>
              <a:gd name="connsiteX38" fmla="*/ 2178050 w 2413000"/>
              <a:gd name="connsiteY38" fmla="*/ 187325 h 1203325"/>
              <a:gd name="connsiteX39" fmla="*/ 2219325 w 2413000"/>
              <a:gd name="connsiteY39" fmla="*/ 139700 h 1203325"/>
              <a:gd name="connsiteX40" fmla="*/ 2251075 w 2413000"/>
              <a:gd name="connsiteY40" fmla="*/ 104775 h 1203325"/>
              <a:gd name="connsiteX41" fmla="*/ 2282825 w 2413000"/>
              <a:gd name="connsiteY41" fmla="*/ 69850 h 1203325"/>
              <a:gd name="connsiteX42" fmla="*/ 2352675 w 2413000"/>
              <a:gd name="connsiteY42" fmla="*/ 19050 h 1203325"/>
              <a:gd name="connsiteX43" fmla="*/ 2413000 w 2413000"/>
              <a:gd name="connsiteY43" fmla="*/ 0 h 1203325"/>
              <a:gd name="connsiteX0" fmla="*/ 0 w 2352675"/>
              <a:gd name="connsiteY0" fmla="*/ 1184275 h 1184275"/>
              <a:gd name="connsiteX1" fmla="*/ 57150 w 2352675"/>
              <a:gd name="connsiteY1" fmla="*/ 1158875 h 1184275"/>
              <a:gd name="connsiteX2" fmla="*/ 120650 w 2352675"/>
              <a:gd name="connsiteY2" fmla="*/ 1158875 h 1184275"/>
              <a:gd name="connsiteX3" fmla="*/ 161925 w 2352675"/>
              <a:gd name="connsiteY3" fmla="*/ 1152525 h 1184275"/>
              <a:gd name="connsiteX4" fmla="*/ 244475 w 2352675"/>
              <a:gd name="connsiteY4" fmla="*/ 1127125 h 1184275"/>
              <a:gd name="connsiteX5" fmla="*/ 349250 w 2352675"/>
              <a:gd name="connsiteY5" fmla="*/ 1108075 h 1184275"/>
              <a:gd name="connsiteX6" fmla="*/ 422275 w 2352675"/>
              <a:gd name="connsiteY6" fmla="*/ 1073150 h 1184275"/>
              <a:gd name="connsiteX7" fmla="*/ 511175 w 2352675"/>
              <a:gd name="connsiteY7" fmla="*/ 1041400 h 1184275"/>
              <a:gd name="connsiteX8" fmla="*/ 600075 w 2352675"/>
              <a:gd name="connsiteY8" fmla="*/ 1019175 h 1184275"/>
              <a:gd name="connsiteX9" fmla="*/ 650875 w 2352675"/>
              <a:gd name="connsiteY9" fmla="*/ 993775 h 1184275"/>
              <a:gd name="connsiteX10" fmla="*/ 736600 w 2352675"/>
              <a:gd name="connsiteY10" fmla="*/ 958850 h 1184275"/>
              <a:gd name="connsiteX11" fmla="*/ 777875 w 2352675"/>
              <a:gd name="connsiteY11" fmla="*/ 946150 h 1184275"/>
              <a:gd name="connsiteX12" fmla="*/ 828675 w 2352675"/>
              <a:gd name="connsiteY12" fmla="*/ 930275 h 1184275"/>
              <a:gd name="connsiteX13" fmla="*/ 898525 w 2352675"/>
              <a:gd name="connsiteY13" fmla="*/ 914400 h 1184275"/>
              <a:gd name="connsiteX14" fmla="*/ 946150 w 2352675"/>
              <a:gd name="connsiteY14" fmla="*/ 895350 h 1184275"/>
              <a:gd name="connsiteX15" fmla="*/ 977900 w 2352675"/>
              <a:gd name="connsiteY15" fmla="*/ 860425 h 1184275"/>
              <a:gd name="connsiteX16" fmla="*/ 1012825 w 2352675"/>
              <a:gd name="connsiteY16" fmla="*/ 822325 h 1184275"/>
              <a:gd name="connsiteX17" fmla="*/ 1076325 w 2352675"/>
              <a:gd name="connsiteY17" fmla="*/ 819150 h 1184275"/>
              <a:gd name="connsiteX18" fmla="*/ 1146175 w 2352675"/>
              <a:gd name="connsiteY18" fmla="*/ 809625 h 1184275"/>
              <a:gd name="connsiteX19" fmla="*/ 1168400 w 2352675"/>
              <a:gd name="connsiteY19" fmla="*/ 781050 h 1184275"/>
              <a:gd name="connsiteX20" fmla="*/ 1181100 w 2352675"/>
              <a:gd name="connsiteY20" fmla="*/ 739775 h 1184275"/>
              <a:gd name="connsiteX21" fmla="*/ 1200150 w 2352675"/>
              <a:gd name="connsiteY21" fmla="*/ 717550 h 1184275"/>
              <a:gd name="connsiteX22" fmla="*/ 1244600 w 2352675"/>
              <a:gd name="connsiteY22" fmla="*/ 704850 h 1184275"/>
              <a:gd name="connsiteX23" fmla="*/ 1285875 w 2352675"/>
              <a:gd name="connsiteY23" fmla="*/ 635000 h 1184275"/>
              <a:gd name="connsiteX24" fmla="*/ 1343025 w 2352675"/>
              <a:gd name="connsiteY24" fmla="*/ 622300 h 1184275"/>
              <a:gd name="connsiteX25" fmla="*/ 1441450 w 2352675"/>
              <a:gd name="connsiteY25" fmla="*/ 596900 h 1184275"/>
              <a:gd name="connsiteX26" fmla="*/ 1565275 w 2352675"/>
              <a:gd name="connsiteY26" fmla="*/ 571500 h 1184275"/>
              <a:gd name="connsiteX27" fmla="*/ 1638300 w 2352675"/>
              <a:gd name="connsiteY27" fmla="*/ 546100 h 1184275"/>
              <a:gd name="connsiteX28" fmla="*/ 1689100 w 2352675"/>
              <a:gd name="connsiteY28" fmla="*/ 558800 h 1184275"/>
              <a:gd name="connsiteX29" fmla="*/ 1774825 w 2352675"/>
              <a:gd name="connsiteY29" fmla="*/ 558800 h 1184275"/>
              <a:gd name="connsiteX30" fmla="*/ 1822450 w 2352675"/>
              <a:gd name="connsiteY30" fmla="*/ 536575 h 1184275"/>
              <a:gd name="connsiteX31" fmla="*/ 1863725 w 2352675"/>
              <a:gd name="connsiteY31" fmla="*/ 504825 h 1184275"/>
              <a:gd name="connsiteX32" fmla="*/ 1892300 w 2352675"/>
              <a:gd name="connsiteY32" fmla="*/ 469900 h 1184275"/>
              <a:gd name="connsiteX33" fmla="*/ 1901825 w 2352675"/>
              <a:gd name="connsiteY33" fmla="*/ 422275 h 1184275"/>
              <a:gd name="connsiteX34" fmla="*/ 1939925 w 2352675"/>
              <a:gd name="connsiteY34" fmla="*/ 384175 h 1184275"/>
              <a:gd name="connsiteX35" fmla="*/ 2012950 w 2352675"/>
              <a:gd name="connsiteY35" fmla="*/ 330200 h 1184275"/>
              <a:gd name="connsiteX36" fmla="*/ 2070100 w 2352675"/>
              <a:gd name="connsiteY36" fmla="*/ 282575 h 1184275"/>
              <a:gd name="connsiteX37" fmla="*/ 2111375 w 2352675"/>
              <a:gd name="connsiteY37" fmla="*/ 234950 h 1184275"/>
              <a:gd name="connsiteX38" fmla="*/ 2178050 w 2352675"/>
              <a:gd name="connsiteY38" fmla="*/ 168275 h 1184275"/>
              <a:gd name="connsiteX39" fmla="*/ 2219325 w 2352675"/>
              <a:gd name="connsiteY39" fmla="*/ 120650 h 1184275"/>
              <a:gd name="connsiteX40" fmla="*/ 2251075 w 2352675"/>
              <a:gd name="connsiteY40" fmla="*/ 85725 h 1184275"/>
              <a:gd name="connsiteX41" fmla="*/ 2282825 w 2352675"/>
              <a:gd name="connsiteY41" fmla="*/ 50800 h 1184275"/>
              <a:gd name="connsiteX42" fmla="*/ 2352675 w 2352675"/>
              <a:gd name="connsiteY42" fmla="*/ 0 h 1184275"/>
              <a:gd name="connsiteX0" fmla="*/ 0 w 2282825"/>
              <a:gd name="connsiteY0" fmla="*/ 1133475 h 1133475"/>
              <a:gd name="connsiteX1" fmla="*/ 57150 w 2282825"/>
              <a:gd name="connsiteY1" fmla="*/ 1108075 h 1133475"/>
              <a:gd name="connsiteX2" fmla="*/ 120650 w 2282825"/>
              <a:gd name="connsiteY2" fmla="*/ 1108075 h 1133475"/>
              <a:gd name="connsiteX3" fmla="*/ 161925 w 2282825"/>
              <a:gd name="connsiteY3" fmla="*/ 1101725 h 1133475"/>
              <a:gd name="connsiteX4" fmla="*/ 244475 w 2282825"/>
              <a:gd name="connsiteY4" fmla="*/ 1076325 h 1133475"/>
              <a:gd name="connsiteX5" fmla="*/ 349250 w 2282825"/>
              <a:gd name="connsiteY5" fmla="*/ 1057275 h 1133475"/>
              <a:gd name="connsiteX6" fmla="*/ 422275 w 2282825"/>
              <a:gd name="connsiteY6" fmla="*/ 1022350 h 1133475"/>
              <a:gd name="connsiteX7" fmla="*/ 511175 w 2282825"/>
              <a:gd name="connsiteY7" fmla="*/ 990600 h 1133475"/>
              <a:gd name="connsiteX8" fmla="*/ 600075 w 2282825"/>
              <a:gd name="connsiteY8" fmla="*/ 968375 h 1133475"/>
              <a:gd name="connsiteX9" fmla="*/ 650875 w 2282825"/>
              <a:gd name="connsiteY9" fmla="*/ 942975 h 1133475"/>
              <a:gd name="connsiteX10" fmla="*/ 736600 w 2282825"/>
              <a:gd name="connsiteY10" fmla="*/ 908050 h 1133475"/>
              <a:gd name="connsiteX11" fmla="*/ 777875 w 2282825"/>
              <a:gd name="connsiteY11" fmla="*/ 895350 h 1133475"/>
              <a:gd name="connsiteX12" fmla="*/ 828675 w 2282825"/>
              <a:gd name="connsiteY12" fmla="*/ 879475 h 1133475"/>
              <a:gd name="connsiteX13" fmla="*/ 898525 w 2282825"/>
              <a:gd name="connsiteY13" fmla="*/ 863600 h 1133475"/>
              <a:gd name="connsiteX14" fmla="*/ 946150 w 2282825"/>
              <a:gd name="connsiteY14" fmla="*/ 844550 h 1133475"/>
              <a:gd name="connsiteX15" fmla="*/ 977900 w 2282825"/>
              <a:gd name="connsiteY15" fmla="*/ 809625 h 1133475"/>
              <a:gd name="connsiteX16" fmla="*/ 1012825 w 2282825"/>
              <a:gd name="connsiteY16" fmla="*/ 771525 h 1133475"/>
              <a:gd name="connsiteX17" fmla="*/ 1076325 w 2282825"/>
              <a:gd name="connsiteY17" fmla="*/ 768350 h 1133475"/>
              <a:gd name="connsiteX18" fmla="*/ 1146175 w 2282825"/>
              <a:gd name="connsiteY18" fmla="*/ 758825 h 1133475"/>
              <a:gd name="connsiteX19" fmla="*/ 1168400 w 2282825"/>
              <a:gd name="connsiteY19" fmla="*/ 730250 h 1133475"/>
              <a:gd name="connsiteX20" fmla="*/ 1181100 w 2282825"/>
              <a:gd name="connsiteY20" fmla="*/ 688975 h 1133475"/>
              <a:gd name="connsiteX21" fmla="*/ 1200150 w 2282825"/>
              <a:gd name="connsiteY21" fmla="*/ 666750 h 1133475"/>
              <a:gd name="connsiteX22" fmla="*/ 1244600 w 2282825"/>
              <a:gd name="connsiteY22" fmla="*/ 654050 h 1133475"/>
              <a:gd name="connsiteX23" fmla="*/ 1285875 w 2282825"/>
              <a:gd name="connsiteY23" fmla="*/ 584200 h 1133475"/>
              <a:gd name="connsiteX24" fmla="*/ 1343025 w 2282825"/>
              <a:gd name="connsiteY24" fmla="*/ 571500 h 1133475"/>
              <a:gd name="connsiteX25" fmla="*/ 1441450 w 2282825"/>
              <a:gd name="connsiteY25" fmla="*/ 546100 h 1133475"/>
              <a:gd name="connsiteX26" fmla="*/ 1565275 w 2282825"/>
              <a:gd name="connsiteY26" fmla="*/ 520700 h 1133475"/>
              <a:gd name="connsiteX27" fmla="*/ 1638300 w 2282825"/>
              <a:gd name="connsiteY27" fmla="*/ 495300 h 1133475"/>
              <a:gd name="connsiteX28" fmla="*/ 1689100 w 2282825"/>
              <a:gd name="connsiteY28" fmla="*/ 508000 h 1133475"/>
              <a:gd name="connsiteX29" fmla="*/ 1774825 w 2282825"/>
              <a:gd name="connsiteY29" fmla="*/ 508000 h 1133475"/>
              <a:gd name="connsiteX30" fmla="*/ 1822450 w 2282825"/>
              <a:gd name="connsiteY30" fmla="*/ 485775 h 1133475"/>
              <a:gd name="connsiteX31" fmla="*/ 1863725 w 2282825"/>
              <a:gd name="connsiteY31" fmla="*/ 454025 h 1133475"/>
              <a:gd name="connsiteX32" fmla="*/ 1892300 w 2282825"/>
              <a:gd name="connsiteY32" fmla="*/ 419100 h 1133475"/>
              <a:gd name="connsiteX33" fmla="*/ 1901825 w 2282825"/>
              <a:gd name="connsiteY33" fmla="*/ 371475 h 1133475"/>
              <a:gd name="connsiteX34" fmla="*/ 1939925 w 2282825"/>
              <a:gd name="connsiteY34" fmla="*/ 333375 h 1133475"/>
              <a:gd name="connsiteX35" fmla="*/ 2012950 w 2282825"/>
              <a:gd name="connsiteY35" fmla="*/ 279400 h 1133475"/>
              <a:gd name="connsiteX36" fmla="*/ 2070100 w 2282825"/>
              <a:gd name="connsiteY36" fmla="*/ 231775 h 1133475"/>
              <a:gd name="connsiteX37" fmla="*/ 2111375 w 2282825"/>
              <a:gd name="connsiteY37" fmla="*/ 184150 h 1133475"/>
              <a:gd name="connsiteX38" fmla="*/ 2178050 w 2282825"/>
              <a:gd name="connsiteY38" fmla="*/ 117475 h 1133475"/>
              <a:gd name="connsiteX39" fmla="*/ 2219325 w 2282825"/>
              <a:gd name="connsiteY39" fmla="*/ 69850 h 1133475"/>
              <a:gd name="connsiteX40" fmla="*/ 2251075 w 2282825"/>
              <a:gd name="connsiteY40" fmla="*/ 34925 h 1133475"/>
              <a:gd name="connsiteX41" fmla="*/ 2282825 w 2282825"/>
              <a:gd name="connsiteY41" fmla="*/ 0 h 1133475"/>
              <a:gd name="connsiteX0" fmla="*/ 0 w 2251075"/>
              <a:gd name="connsiteY0" fmla="*/ 1098550 h 1098550"/>
              <a:gd name="connsiteX1" fmla="*/ 57150 w 2251075"/>
              <a:gd name="connsiteY1" fmla="*/ 1073150 h 1098550"/>
              <a:gd name="connsiteX2" fmla="*/ 120650 w 2251075"/>
              <a:gd name="connsiteY2" fmla="*/ 1073150 h 1098550"/>
              <a:gd name="connsiteX3" fmla="*/ 161925 w 2251075"/>
              <a:gd name="connsiteY3" fmla="*/ 1066800 h 1098550"/>
              <a:gd name="connsiteX4" fmla="*/ 244475 w 2251075"/>
              <a:gd name="connsiteY4" fmla="*/ 1041400 h 1098550"/>
              <a:gd name="connsiteX5" fmla="*/ 349250 w 2251075"/>
              <a:gd name="connsiteY5" fmla="*/ 1022350 h 1098550"/>
              <a:gd name="connsiteX6" fmla="*/ 422275 w 2251075"/>
              <a:gd name="connsiteY6" fmla="*/ 987425 h 1098550"/>
              <a:gd name="connsiteX7" fmla="*/ 511175 w 2251075"/>
              <a:gd name="connsiteY7" fmla="*/ 955675 h 1098550"/>
              <a:gd name="connsiteX8" fmla="*/ 600075 w 2251075"/>
              <a:gd name="connsiteY8" fmla="*/ 933450 h 1098550"/>
              <a:gd name="connsiteX9" fmla="*/ 650875 w 2251075"/>
              <a:gd name="connsiteY9" fmla="*/ 908050 h 1098550"/>
              <a:gd name="connsiteX10" fmla="*/ 736600 w 2251075"/>
              <a:gd name="connsiteY10" fmla="*/ 873125 h 1098550"/>
              <a:gd name="connsiteX11" fmla="*/ 777875 w 2251075"/>
              <a:gd name="connsiteY11" fmla="*/ 860425 h 1098550"/>
              <a:gd name="connsiteX12" fmla="*/ 828675 w 2251075"/>
              <a:gd name="connsiteY12" fmla="*/ 844550 h 1098550"/>
              <a:gd name="connsiteX13" fmla="*/ 898525 w 2251075"/>
              <a:gd name="connsiteY13" fmla="*/ 828675 h 1098550"/>
              <a:gd name="connsiteX14" fmla="*/ 946150 w 2251075"/>
              <a:gd name="connsiteY14" fmla="*/ 809625 h 1098550"/>
              <a:gd name="connsiteX15" fmla="*/ 977900 w 2251075"/>
              <a:gd name="connsiteY15" fmla="*/ 774700 h 1098550"/>
              <a:gd name="connsiteX16" fmla="*/ 1012825 w 2251075"/>
              <a:gd name="connsiteY16" fmla="*/ 736600 h 1098550"/>
              <a:gd name="connsiteX17" fmla="*/ 1076325 w 2251075"/>
              <a:gd name="connsiteY17" fmla="*/ 733425 h 1098550"/>
              <a:gd name="connsiteX18" fmla="*/ 1146175 w 2251075"/>
              <a:gd name="connsiteY18" fmla="*/ 723900 h 1098550"/>
              <a:gd name="connsiteX19" fmla="*/ 1168400 w 2251075"/>
              <a:gd name="connsiteY19" fmla="*/ 695325 h 1098550"/>
              <a:gd name="connsiteX20" fmla="*/ 1181100 w 2251075"/>
              <a:gd name="connsiteY20" fmla="*/ 654050 h 1098550"/>
              <a:gd name="connsiteX21" fmla="*/ 1200150 w 2251075"/>
              <a:gd name="connsiteY21" fmla="*/ 631825 h 1098550"/>
              <a:gd name="connsiteX22" fmla="*/ 1244600 w 2251075"/>
              <a:gd name="connsiteY22" fmla="*/ 619125 h 1098550"/>
              <a:gd name="connsiteX23" fmla="*/ 1285875 w 2251075"/>
              <a:gd name="connsiteY23" fmla="*/ 549275 h 1098550"/>
              <a:gd name="connsiteX24" fmla="*/ 1343025 w 2251075"/>
              <a:gd name="connsiteY24" fmla="*/ 536575 h 1098550"/>
              <a:gd name="connsiteX25" fmla="*/ 1441450 w 2251075"/>
              <a:gd name="connsiteY25" fmla="*/ 511175 h 1098550"/>
              <a:gd name="connsiteX26" fmla="*/ 1565275 w 2251075"/>
              <a:gd name="connsiteY26" fmla="*/ 485775 h 1098550"/>
              <a:gd name="connsiteX27" fmla="*/ 1638300 w 2251075"/>
              <a:gd name="connsiteY27" fmla="*/ 460375 h 1098550"/>
              <a:gd name="connsiteX28" fmla="*/ 1689100 w 2251075"/>
              <a:gd name="connsiteY28" fmla="*/ 473075 h 1098550"/>
              <a:gd name="connsiteX29" fmla="*/ 1774825 w 2251075"/>
              <a:gd name="connsiteY29" fmla="*/ 473075 h 1098550"/>
              <a:gd name="connsiteX30" fmla="*/ 1822450 w 2251075"/>
              <a:gd name="connsiteY30" fmla="*/ 450850 h 1098550"/>
              <a:gd name="connsiteX31" fmla="*/ 1863725 w 2251075"/>
              <a:gd name="connsiteY31" fmla="*/ 419100 h 1098550"/>
              <a:gd name="connsiteX32" fmla="*/ 1892300 w 2251075"/>
              <a:gd name="connsiteY32" fmla="*/ 384175 h 1098550"/>
              <a:gd name="connsiteX33" fmla="*/ 1901825 w 2251075"/>
              <a:gd name="connsiteY33" fmla="*/ 336550 h 1098550"/>
              <a:gd name="connsiteX34" fmla="*/ 1939925 w 2251075"/>
              <a:gd name="connsiteY34" fmla="*/ 298450 h 1098550"/>
              <a:gd name="connsiteX35" fmla="*/ 2012950 w 2251075"/>
              <a:gd name="connsiteY35" fmla="*/ 244475 h 1098550"/>
              <a:gd name="connsiteX36" fmla="*/ 2070100 w 2251075"/>
              <a:gd name="connsiteY36" fmla="*/ 196850 h 1098550"/>
              <a:gd name="connsiteX37" fmla="*/ 2111375 w 2251075"/>
              <a:gd name="connsiteY37" fmla="*/ 149225 h 1098550"/>
              <a:gd name="connsiteX38" fmla="*/ 2178050 w 2251075"/>
              <a:gd name="connsiteY38" fmla="*/ 82550 h 1098550"/>
              <a:gd name="connsiteX39" fmla="*/ 2219325 w 2251075"/>
              <a:gd name="connsiteY39" fmla="*/ 34925 h 1098550"/>
              <a:gd name="connsiteX40" fmla="*/ 2251075 w 2251075"/>
              <a:gd name="connsiteY40" fmla="*/ 0 h 1098550"/>
              <a:gd name="connsiteX0" fmla="*/ 0 w 2219325"/>
              <a:gd name="connsiteY0" fmla="*/ 1063625 h 1063625"/>
              <a:gd name="connsiteX1" fmla="*/ 57150 w 2219325"/>
              <a:gd name="connsiteY1" fmla="*/ 1038225 h 1063625"/>
              <a:gd name="connsiteX2" fmla="*/ 120650 w 2219325"/>
              <a:gd name="connsiteY2" fmla="*/ 1038225 h 1063625"/>
              <a:gd name="connsiteX3" fmla="*/ 161925 w 2219325"/>
              <a:gd name="connsiteY3" fmla="*/ 1031875 h 1063625"/>
              <a:gd name="connsiteX4" fmla="*/ 244475 w 2219325"/>
              <a:gd name="connsiteY4" fmla="*/ 1006475 h 1063625"/>
              <a:gd name="connsiteX5" fmla="*/ 349250 w 2219325"/>
              <a:gd name="connsiteY5" fmla="*/ 987425 h 1063625"/>
              <a:gd name="connsiteX6" fmla="*/ 422275 w 2219325"/>
              <a:gd name="connsiteY6" fmla="*/ 952500 h 1063625"/>
              <a:gd name="connsiteX7" fmla="*/ 511175 w 2219325"/>
              <a:gd name="connsiteY7" fmla="*/ 920750 h 1063625"/>
              <a:gd name="connsiteX8" fmla="*/ 600075 w 2219325"/>
              <a:gd name="connsiteY8" fmla="*/ 898525 h 1063625"/>
              <a:gd name="connsiteX9" fmla="*/ 650875 w 2219325"/>
              <a:gd name="connsiteY9" fmla="*/ 873125 h 1063625"/>
              <a:gd name="connsiteX10" fmla="*/ 736600 w 2219325"/>
              <a:gd name="connsiteY10" fmla="*/ 838200 h 1063625"/>
              <a:gd name="connsiteX11" fmla="*/ 777875 w 2219325"/>
              <a:gd name="connsiteY11" fmla="*/ 825500 h 1063625"/>
              <a:gd name="connsiteX12" fmla="*/ 828675 w 2219325"/>
              <a:gd name="connsiteY12" fmla="*/ 809625 h 1063625"/>
              <a:gd name="connsiteX13" fmla="*/ 898525 w 2219325"/>
              <a:gd name="connsiteY13" fmla="*/ 793750 h 1063625"/>
              <a:gd name="connsiteX14" fmla="*/ 946150 w 2219325"/>
              <a:gd name="connsiteY14" fmla="*/ 774700 h 1063625"/>
              <a:gd name="connsiteX15" fmla="*/ 977900 w 2219325"/>
              <a:gd name="connsiteY15" fmla="*/ 739775 h 1063625"/>
              <a:gd name="connsiteX16" fmla="*/ 1012825 w 2219325"/>
              <a:gd name="connsiteY16" fmla="*/ 701675 h 1063625"/>
              <a:gd name="connsiteX17" fmla="*/ 1076325 w 2219325"/>
              <a:gd name="connsiteY17" fmla="*/ 698500 h 1063625"/>
              <a:gd name="connsiteX18" fmla="*/ 1146175 w 2219325"/>
              <a:gd name="connsiteY18" fmla="*/ 688975 h 1063625"/>
              <a:gd name="connsiteX19" fmla="*/ 1168400 w 2219325"/>
              <a:gd name="connsiteY19" fmla="*/ 660400 h 1063625"/>
              <a:gd name="connsiteX20" fmla="*/ 1181100 w 2219325"/>
              <a:gd name="connsiteY20" fmla="*/ 619125 h 1063625"/>
              <a:gd name="connsiteX21" fmla="*/ 1200150 w 2219325"/>
              <a:gd name="connsiteY21" fmla="*/ 596900 h 1063625"/>
              <a:gd name="connsiteX22" fmla="*/ 1244600 w 2219325"/>
              <a:gd name="connsiteY22" fmla="*/ 584200 h 1063625"/>
              <a:gd name="connsiteX23" fmla="*/ 1285875 w 2219325"/>
              <a:gd name="connsiteY23" fmla="*/ 514350 h 1063625"/>
              <a:gd name="connsiteX24" fmla="*/ 1343025 w 2219325"/>
              <a:gd name="connsiteY24" fmla="*/ 501650 h 1063625"/>
              <a:gd name="connsiteX25" fmla="*/ 1441450 w 2219325"/>
              <a:gd name="connsiteY25" fmla="*/ 476250 h 1063625"/>
              <a:gd name="connsiteX26" fmla="*/ 1565275 w 2219325"/>
              <a:gd name="connsiteY26" fmla="*/ 450850 h 1063625"/>
              <a:gd name="connsiteX27" fmla="*/ 1638300 w 2219325"/>
              <a:gd name="connsiteY27" fmla="*/ 425450 h 1063625"/>
              <a:gd name="connsiteX28" fmla="*/ 1689100 w 2219325"/>
              <a:gd name="connsiteY28" fmla="*/ 438150 h 1063625"/>
              <a:gd name="connsiteX29" fmla="*/ 1774825 w 2219325"/>
              <a:gd name="connsiteY29" fmla="*/ 438150 h 1063625"/>
              <a:gd name="connsiteX30" fmla="*/ 1822450 w 2219325"/>
              <a:gd name="connsiteY30" fmla="*/ 415925 h 1063625"/>
              <a:gd name="connsiteX31" fmla="*/ 1863725 w 2219325"/>
              <a:gd name="connsiteY31" fmla="*/ 384175 h 1063625"/>
              <a:gd name="connsiteX32" fmla="*/ 1892300 w 2219325"/>
              <a:gd name="connsiteY32" fmla="*/ 349250 h 1063625"/>
              <a:gd name="connsiteX33" fmla="*/ 1901825 w 2219325"/>
              <a:gd name="connsiteY33" fmla="*/ 301625 h 1063625"/>
              <a:gd name="connsiteX34" fmla="*/ 1939925 w 2219325"/>
              <a:gd name="connsiteY34" fmla="*/ 263525 h 1063625"/>
              <a:gd name="connsiteX35" fmla="*/ 2012950 w 2219325"/>
              <a:gd name="connsiteY35" fmla="*/ 209550 h 1063625"/>
              <a:gd name="connsiteX36" fmla="*/ 2070100 w 2219325"/>
              <a:gd name="connsiteY36" fmla="*/ 161925 h 1063625"/>
              <a:gd name="connsiteX37" fmla="*/ 2111375 w 2219325"/>
              <a:gd name="connsiteY37" fmla="*/ 114300 h 1063625"/>
              <a:gd name="connsiteX38" fmla="*/ 2178050 w 2219325"/>
              <a:gd name="connsiteY38" fmla="*/ 47625 h 1063625"/>
              <a:gd name="connsiteX39" fmla="*/ 2219325 w 2219325"/>
              <a:gd name="connsiteY39" fmla="*/ 0 h 1063625"/>
              <a:gd name="connsiteX0" fmla="*/ 0 w 2178050"/>
              <a:gd name="connsiteY0" fmla="*/ 1016000 h 1016000"/>
              <a:gd name="connsiteX1" fmla="*/ 57150 w 2178050"/>
              <a:gd name="connsiteY1" fmla="*/ 990600 h 1016000"/>
              <a:gd name="connsiteX2" fmla="*/ 120650 w 2178050"/>
              <a:gd name="connsiteY2" fmla="*/ 990600 h 1016000"/>
              <a:gd name="connsiteX3" fmla="*/ 161925 w 2178050"/>
              <a:gd name="connsiteY3" fmla="*/ 984250 h 1016000"/>
              <a:gd name="connsiteX4" fmla="*/ 244475 w 2178050"/>
              <a:gd name="connsiteY4" fmla="*/ 958850 h 1016000"/>
              <a:gd name="connsiteX5" fmla="*/ 349250 w 2178050"/>
              <a:gd name="connsiteY5" fmla="*/ 939800 h 1016000"/>
              <a:gd name="connsiteX6" fmla="*/ 422275 w 2178050"/>
              <a:gd name="connsiteY6" fmla="*/ 904875 h 1016000"/>
              <a:gd name="connsiteX7" fmla="*/ 511175 w 2178050"/>
              <a:gd name="connsiteY7" fmla="*/ 873125 h 1016000"/>
              <a:gd name="connsiteX8" fmla="*/ 600075 w 2178050"/>
              <a:gd name="connsiteY8" fmla="*/ 850900 h 1016000"/>
              <a:gd name="connsiteX9" fmla="*/ 650875 w 2178050"/>
              <a:gd name="connsiteY9" fmla="*/ 825500 h 1016000"/>
              <a:gd name="connsiteX10" fmla="*/ 736600 w 2178050"/>
              <a:gd name="connsiteY10" fmla="*/ 790575 h 1016000"/>
              <a:gd name="connsiteX11" fmla="*/ 777875 w 2178050"/>
              <a:gd name="connsiteY11" fmla="*/ 777875 h 1016000"/>
              <a:gd name="connsiteX12" fmla="*/ 828675 w 2178050"/>
              <a:gd name="connsiteY12" fmla="*/ 762000 h 1016000"/>
              <a:gd name="connsiteX13" fmla="*/ 898525 w 2178050"/>
              <a:gd name="connsiteY13" fmla="*/ 746125 h 1016000"/>
              <a:gd name="connsiteX14" fmla="*/ 946150 w 2178050"/>
              <a:gd name="connsiteY14" fmla="*/ 727075 h 1016000"/>
              <a:gd name="connsiteX15" fmla="*/ 977900 w 2178050"/>
              <a:gd name="connsiteY15" fmla="*/ 692150 h 1016000"/>
              <a:gd name="connsiteX16" fmla="*/ 1012825 w 2178050"/>
              <a:gd name="connsiteY16" fmla="*/ 654050 h 1016000"/>
              <a:gd name="connsiteX17" fmla="*/ 1076325 w 2178050"/>
              <a:gd name="connsiteY17" fmla="*/ 650875 h 1016000"/>
              <a:gd name="connsiteX18" fmla="*/ 1146175 w 2178050"/>
              <a:gd name="connsiteY18" fmla="*/ 641350 h 1016000"/>
              <a:gd name="connsiteX19" fmla="*/ 1168400 w 2178050"/>
              <a:gd name="connsiteY19" fmla="*/ 612775 h 1016000"/>
              <a:gd name="connsiteX20" fmla="*/ 1181100 w 2178050"/>
              <a:gd name="connsiteY20" fmla="*/ 571500 h 1016000"/>
              <a:gd name="connsiteX21" fmla="*/ 1200150 w 2178050"/>
              <a:gd name="connsiteY21" fmla="*/ 549275 h 1016000"/>
              <a:gd name="connsiteX22" fmla="*/ 1244600 w 2178050"/>
              <a:gd name="connsiteY22" fmla="*/ 536575 h 1016000"/>
              <a:gd name="connsiteX23" fmla="*/ 1285875 w 2178050"/>
              <a:gd name="connsiteY23" fmla="*/ 466725 h 1016000"/>
              <a:gd name="connsiteX24" fmla="*/ 1343025 w 2178050"/>
              <a:gd name="connsiteY24" fmla="*/ 454025 h 1016000"/>
              <a:gd name="connsiteX25" fmla="*/ 1441450 w 2178050"/>
              <a:gd name="connsiteY25" fmla="*/ 428625 h 1016000"/>
              <a:gd name="connsiteX26" fmla="*/ 1565275 w 2178050"/>
              <a:gd name="connsiteY26" fmla="*/ 403225 h 1016000"/>
              <a:gd name="connsiteX27" fmla="*/ 1638300 w 2178050"/>
              <a:gd name="connsiteY27" fmla="*/ 377825 h 1016000"/>
              <a:gd name="connsiteX28" fmla="*/ 1689100 w 2178050"/>
              <a:gd name="connsiteY28" fmla="*/ 390525 h 1016000"/>
              <a:gd name="connsiteX29" fmla="*/ 1774825 w 2178050"/>
              <a:gd name="connsiteY29" fmla="*/ 390525 h 1016000"/>
              <a:gd name="connsiteX30" fmla="*/ 1822450 w 2178050"/>
              <a:gd name="connsiteY30" fmla="*/ 368300 h 1016000"/>
              <a:gd name="connsiteX31" fmla="*/ 1863725 w 2178050"/>
              <a:gd name="connsiteY31" fmla="*/ 336550 h 1016000"/>
              <a:gd name="connsiteX32" fmla="*/ 1892300 w 2178050"/>
              <a:gd name="connsiteY32" fmla="*/ 301625 h 1016000"/>
              <a:gd name="connsiteX33" fmla="*/ 1901825 w 2178050"/>
              <a:gd name="connsiteY33" fmla="*/ 254000 h 1016000"/>
              <a:gd name="connsiteX34" fmla="*/ 1939925 w 2178050"/>
              <a:gd name="connsiteY34" fmla="*/ 215900 h 1016000"/>
              <a:gd name="connsiteX35" fmla="*/ 2012950 w 2178050"/>
              <a:gd name="connsiteY35" fmla="*/ 161925 h 1016000"/>
              <a:gd name="connsiteX36" fmla="*/ 2070100 w 2178050"/>
              <a:gd name="connsiteY36" fmla="*/ 114300 h 1016000"/>
              <a:gd name="connsiteX37" fmla="*/ 2111375 w 2178050"/>
              <a:gd name="connsiteY37" fmla="*/ 66675 h 1016000"/>
              <a:gd name="connsiteX38" fmla="*/ 2178050 w 2178050"/>
              <a:gd name="connsiteY38" fmla="*/ 0 h 1016000"/>
              <a:gd name="connsiteX0" fmla="*/ 0 w 2111375"/>
              <a:gd name="connsiteY0" fmla="*/ 949325 h 949325"/>
              <a:gd name="connsiteX1" fmla="*/ 57150 w 2111375"/>
              <a:gd name="connsiteY1" fmla="*/ 923925 h 949325"/>
              <a:gd name="connsiteX2" fmla="*/ 120650 w 2111375"/>
              <a:gd name="connsiteY2" fmla="*/ 923925 h 949325"/>
              <a:gd name="connsiteX3" fmla="*/ 161925 w 2111375"/>
              <a:gd name="connsiteY3" fmla="*/ 917575 h 949325"/>
              <a:gd name="connsiteX4" fmla="*/ 244475 w 2111375"/>
              <a:gd name="connsiteY4" fmla="*/ 892175 h 949325"/>
              <a:gd name="connsiteX5" fmla="*/ 349250 w 2111375"/>
              <a:gd name="connsiteY5" fmla="*/ 873125 h 949325"/>
              <a:gd name="connsiteX6" fmla="*/ 422275 w 2111375"/>
              <a:gd name="connsiteY6" fmla="*/ 838200 h 949325"/>
              <a:gd name="connsiteX7" fmla="*/ 511175 w 2111375"/>
              <a:gd name="connsiteY7" fmla="*/ 806450 h 949325"/>
              <a:gd name="connsiteX8" fmla="*/ 600075 w 2111375"/>
              <a:gd name="connsiteY8" fmla="*/ 784225 h 949325"/>
              <a:gd name="connsiteX9" fmla="*/ 650875 w 2111375"/>
              <a:gd name="connsiteY9" fmla="*/ 758825 h 949325"/>
              <a:gd name="connsiteX10" fmla="*/ 736600 w 2111375"/>
              <a:gd name="connsiteY10" fmla="*/ 723900 h 949325"/>
              <a:gd name="connsiteX11" fmla="*/ 777875 w 2111375"/>
              <a:gd name="connsiteY11" fmla="*/ 711200 h 949325"/>
              <a:gd name="connsiteX12" fmla="*/ 828675 w 2111375"/>
              <a:gd name="connsiteY12" fmla="*/ 695325 h 949325"/>
              <a:gd name="connsiteX13" fmla="*/ 898525 w 2111375"/>
              <a:gd name="connsiteY13" fmla="*/ 679450 h 949325"/>
              <a:gd name="connsiteX14" fmla="*/ 946150 w 2111375"/>
              <a:gd name="connsiteY14" fmla="*/ 660400 h 949325"/>
              <a:gd name="connsiteX15" fmla="*/ 977900 w 2111375"/>
              <a:gd name="connsiteY15" fmla="*/ 625475 h 949325"/>
              <a:gd name="connsiteX16" fmla="*/ 1012825 w 2111375"/>
              <a:gd name="connsiteY16" fmla="*/ 587375 h 949325"/>
              <a:gd name="connsiteX17" fmla="*/ 1076325 w 2111375"/>
              <a:gd name="connsiteY17" fmla="*/ 584200 h 949325"/>
              <a:gd name="connsiteX18" fmla="*/ 1146175 w 2111375"/>
              <a:gd name="connsiteY18" fmla="*/ 574675 h 949325"/>
              <a:gd name="connsiteX19" fmla="*/ 1168400 w 2111375"/>
              <a:gd name="connsiteY19" fmla="*/ 546100 h 949325"/>
              <a:gd name="connsiteX20" fmla="*/ 1181100 w 2111375"/>
              <a:gd name="connsiteY20" fmla="*/ 504825 h 949325"/>
              <a:gd name="connsiteX21" fmla="*/ 1200150 w 2111375"/>
              <a:gd name="connsiteY21" fmla="*/ 482600 h 949325"/>
              <a:gd name="connsiteX22" fmla="*/ 1244600 w 2111375"/>
              <a:gd name="connsiteY22" fmla="*/ 469900 h 949325"/>
              <a:gd name="connsiteX23" fmla="*/ 1285875 w 2111375"/>
              <a:gd name="connsiteY23" fmla="*/ 400050 h 949325"/>
              <a:gd name="connsiteX24" fmla="*/ 1343025 w 2111375"/>
              <a:gd name="connsiteY24" fmla="*/ 387350 h 949325"/>
              <a:gd name="connsiteX25" fmla="*/ 1441450 w 2111375"/>
              <a:gd name="connsiteY25" fmla="*/ 361950 h 949325"/>
              <a:gd name="connsiteX26" fmla="*/ 1565275 w 2111375"/>
              <a:gd name="connsiteY26" fmla="*/ 336550 h 949325"/>
              <a:gd name="connsiteX27" fmla="*/ 1638300 w 2111375"/>
              <a:gd name="connsiteY27" fmla="*/ 311150 h 949325"/>
              <a:gd name="connsiteX28" fmla="*/ 1689100 w 2111375"/>
              <a:gd name="connsiteY28" fmla="*/ 323850 h 949325"/>
              <a:gd name="connsiteX29" fmla="*/ 1774825 w 2111375"/>
              <a:gd name="connsiteY29" fmla="*/ 323850 h 949325"/>
              <a:gd name="connsiteX30" fmla="*/ 1822450 w 2111375"/>
              <a:gd name="connsiteY30" fmla="*/ 301625 h 949325"/>
              <a:gd name="connsiteX31" fmla="*/ 1863725 w 2111375"/>
              <a:gd name="connsiteY31" fmla="*/ 269875 h 949325"/>
              <a:gd name="connsiteX32" fmla="*/ 1892300 w 2111375"/>
              <a:gd name="connsiteY32" fmla="*/ 234950 h 949325"/>
              <a:gd name="connsiteX33" fmla="*/ 1901825 w 2111375"/>
              <a:gd name="connsiteY33" fmla="*/ 187325 h 949325"/>
              <a:gd name="connsiteX34" fmla="*/ 1939925 w 2111375"/>
              <a:gd name="connsiteY34" fmla="*/ 149225 h 949325"/>
              <a:gd name="connsiteX35" fmla="*/ 2012950 w 2111375"/>
              <a:gd name="connsiteY35" fmla="*/ 95250 h 949325"/>
              <a:gd name="connsiteX36" fmla="*/ 2070100 w 2111375"/>
              <a:gd name="connsiteY36" fmla="*/ 47625 h 949325"/>
              <a:gd name="connsiteX37" fmla="*/ 2111375 w 2111375"/>
              <a:gd name="connsiteY37" fmla="*/ 0 h 949325"/>
              <a:gd name="connsiteX0" fmla="*/ 0 w 2070100"/>
              <a:gd name="connsiteY0" fmla="*/ 901700 h 901700"/>
              <a:gd name="connsiteX1" fmla="*/ 57150 w 2070100"/>
              <a:gd name="connsiteY1" fmla="*/ 876300 h 901700"/>
              <a:gd name="connsiteX2" fmla="*/ 120650 w 2070100"/>
              <a:gd name="connsiteY2" fmla="*/ 876300 h 901700"/>
              <a:gd name="connsiteX3" fmla="*/ 161925 w 2070100"/>
              <a:gd name="connsiteY3" fmla="*/ 869950 h 901700"/>
              <a:gd name="connsiteX4" fmla="*/ 244475 w 2070100"/>
              <a:gd name="connsiteY4" fmla="*/ 844550 h 901700"/>
              <a:gd name="connsiteX5" fmla="*/ 349250 w 2070100"/>
              <a:gd name="connsiteY5" fmla="*/ 825500 h 901700"/>
              <a:gd name="connsiteX6" fmla="*/ 422275 w 2070100"/>
              <a:gd name="connsiteY6" fmla="*/ 790575 h 901700"/>
              <a:gd name="connsiteX7" fmla="*/ 511175 w 2070100"/>
              <a:gd name="connsiteY7" fmla="*/ 758825 h 901700"/>
              <a:gd name="connsiteX8" fmla="*/ 600075 w 2070100"/>
              <a:gd name="connsiteY8" fmla="*/ 736600 h 901700"/>
              <a:gd name="connsiteX9" fmla="*/ 650875 w 2070100"/>
              <a:gd name="connsiteY9" fmla="*/ 711200 h 901700"/>
              <a:gd name="connsiteX10" fmla="*/ 736600 w 2070100"/>
              <a:gd name="connsiteY10" fmla="*/ 676275 h 901700"/>
              <a:gd name="connsiteX11" fmla="*/ 777875 w 2070100"/>
              <a:gd name="connsiteY11" fmla="*/ 663575 h 901700"/>
              <a:gd name="connsiteX12" fmla="*/ 828675 w 2070100"/>
              <a:gd name="connsiteY12" fmla="*/ 647700 h 901700"/>
              <a:gd name="connsiteX13" fmla="*/ 898525 w 2070100"/>
              <a:gd name="connsiteY13" fmla="*/ 631825 h 901700"/>
              <a:gd name="connsiteX14" fmla="*/ 946150 w 2070100"/>
              <a:gd name="connsiteY14" fmla="*/ 612775 h 901700"/>
              <a:gd name="connsiteX15" fmla="*/ 977900 w 2070100"/>
              <a:gd name="connsiteY15" fmla="*/ 577850 h 901700"/>
              <a:gd name="connsiteX16" fmla="*/ 1012825 w 2070100"/>
              <a:gd name="connsiteY16" fmla="*/ 539750 h 901700"/>
              <a:gd name="connsiteX17" fmla="*/ 1076325 w 2070100"/>
              <a:gd name="connsiteY17" fmla="*/ 536575 h 901700"/>
              <a:gd name="connsiteX18" fmla="*/ 1146175 w 2070100"/>
              <a:gd name="connsiteY18" fmla="*/ 527050 h 901700"/>
              <a:gd name="connsiteX19" fmla="*/ 1168400 w 2070100"/>
              <a:gd name="connsiteY19" fmla="*/ 498475 h 901700"/>
              <a:gd name="connsiteX20" fmla="*/ 1181100 w 2070100"/>
              <a:gd name="connsiteY20" fmla="*/ 457200 h 901700"/>
              <a:gd name="connsiteX21" fmla="*/ 1200150 w 2070100"/>
              <a:gd name="connsiteY21" fmla="*/ 434975 h 901700"/>
              <a:gd name="connsiteX22" fmla="*/ 1244600 w 2070100"/>
              <a:gd name="connsiteY22" fmla="*/ 422275 h 901700"/>
              <a:gd name="connsiteX23" fmla="*/ 1285875 w 2070100"/>
              <a:gd name="connsiteY23" fmla="*/ 352425 h 901700"/>
              <a:gd name="connsiteX24" fmla="*/ 1343025 w 2070100"/>
              <a:gd name="connsiteY24" fmla="*/ 339725 h 901700"/>
              <a:gd name="connsiteX25" fmla="*/ 1441450 w 2070100"/>
              <a:gd name="connsiteY25" fmla="*/ 314325 h 901700"/>
              <a:gd name="connsiteX26" fmla="*/ 1565275 w 2070100"/>
              <a:gd name="connsiteY26" fmla="*/ 288925 h 901700"/>
              <a:gd name="connsiteX27" fmla="*/ 1638300 w 2070100"/>
              <a:gd name="connsiteY27" fmla="*/ 263525 h 901700"/>
              <a:gd name="connsiteX28" fmla="*/ 1689100 w 2070100"/>
              <a:gd name="connsiteY28" fmla="*/ 276225 h 901700"/>
              <a:gd name="connsiteX29" fmla="*/ 1774825 w 2070100"/>
              <a:gd name="connsiteY29" fmla="*/ 276225 h 901700"/>
              <a:gd name="connsiteX30" fmla="*/ 1822450 w 2070100"/>
              <a:gd name="connsiteY30" fmla="*/ 254000 h 901700"/>
              <a:gd name="connsiteX31" fmla="*/ 1863725 w 2070100"/>
              <a:gd name="connsiteY31" fmla="*/ 222250 h 901700"/>
              <a:gd name="connsiteX32" fmla="*/ 1892300 w 2070100"/>
              <a:gd name="connsiteY32" fmla="*/ 187325 h 901700"/>
              <a:gd name="connsiteX33" fmla="*/ 1901825 w 2070100"/>
              <a:gd name="connsiteY33" fmla="*/ 139700 h 901700"/>
              <a:gd name="connsiteX34" fmla="*/ 1939925 w 2070100"/>
              <a:gd name="connsiteY34" fmla="*/ 101600 h 901700"/>
              <a:gd name="connsiteX35" fmla="*/ 2012950 w 2070100"/>
              <a:gd name="connsiteY35" fmla="*/ 47625 h 901700"/>
              <a:gd name="connsiteX36" fmla="*/ 2070100 w 2070100"/>
              <a:gd name="connsiteY36" fmla="*/ 0 h 901700"/>
              <a:gd name="connsiteX0" fmla="*/ 0 w 2012950"/>
              <a:gd name="connsiteY0" fmla="*/ 854075 h 854075"/>
              <a:gd name="connsiteX1" fmla="*/ 57150 w 2012950"/>
              <a:gd name="connsiteY1" fmla="*/ 828675 h 854075"/>
              <a:gd name="connsiteX2" fmla="*/ 120650 w 2012950"/>
              <a:gd name="connsiteY2" fmla="*/ 828675 h 854075"/>
              <a:gd name="connsiteX3" fmla="*/ 161925 w 2012950"/>
              <a:gd name="connsiteY3" fmla="*/ 822325 h 854075"/>
              <a:gd name="connsiteX4" fmla="*/ 244475 w 2012950"/>
              <a:gd name="connsiteY4" fmla="*/ 796925 h 854075"/>
              <a:gd name="connsiteX5" fmla="*/ 349250 w 2012950"/>
              <a:gd name="connsiteY5" fmla="*/ 777875 h 854075"/>
              <a:gd name="connsiteX6" fmla="*/ 422275 w 2012950"/>
              <a:gd name="connsiteY6" fmla="*/ 742950 h 854075"/>
              <a:gd name="connsiteX7" fmla="*/ 511175 w 2012950"/>
              <a:gd name="connsiteY7" fmla="*/ 711200 h 854075"/>
              <a:gd name="connsiteX8" fmla="*/ 600075 w 2012950"/>
              <a:gd name="connsiteY8" fmla="*/ 688975 h 854075"/>
              <a:gd name="connsiteX9" fmla="*/ 650875 w 2012950"/>
              <a:gd name="connsiteY9" fmla="*/ 663575 h 854075"/>
              <a:gd name="connsiteX10" fmla="*/ 736600 w 2012950"/>
              <a:gd name="connsiteY10" fmla="*/ 628650 h 854075"/>
              <a:gd name="connsiteX11" fmla="*/ 777875 w 2012950"/>
              <a:gd name="connsiteY11" fmla="*/ 615950 h 854075"/>
              <a:gd name="connsiteX12" fmla="*/ 828675 w 2012950"/>
              <a:gd name="connsiteY12" fmla="*/ 600075 h 854075"/>
              <a:gd name="connsiteX13" fmla="*/ 898525 w 2012950"/>
              <a:gd name="connsiteY13" fmla="*/ 584200 h 854075"/>
              <a:gd name="connsiteX14" fmla="*/ 946150 w 2012950"/>
              <a:gd name="connsiteY14" fmla="*/ 565150 h 854075"/>
              <a:gd name="connsiteX15" fmla="*/ 977900 w 2012950"/>
              <a:gd name="connsiteY15" fmla="*/ 530225 h 854075"/>
              <a:gd name="connsiteX16" fmla="*/ 1012825 w 2012950"/>
              <a:gd name="connsiteY16" fmla="*/ 492125 h 854075"/>
              <a:gd name="connsiteX17" fmla="*/ 1076325 w 2012950"/>
              <a:gd name="connsiteY17" fmla="*/ 488950 h 854075"/>
              <a:gd name="connsiteX18" fmla="*/ 1146175 w 2012950"/>
              <a:gd name="connsiteY18" fmla="*/ 479425 h 854075"/>
              <a:gd name="connsiteX19" fmla="*/ 1168400 w 2012950"/>
              <a:gd name="connsiteY19" fmla="*/ 450850 h 854075"/>
              <a:gd name="connsiteX20" fmla="*/ 1181100 w 2012950"/>
              <a:gd name="connsiteY20" fmla="*/ 409575 h 854075"/>
              <a:gd name="connsiteX21" fmla="*/ 1200150 w 2012950"/>
              <a:gd name="connsiteY21" fmla="*/ 387350 h 854075"/>
              <a:gd name="connsiteX22" fmla="*/ 1244600 w 2012950"/>
              <a:gd name="connsiteY22" fmla="*/ 374650 h 854075"/>
              <a:gd name="connsiteX23" fmla="*/ 1285875 w 2012950"/>
              <a:gd name="connsiteY23" fmla="*/ 304800 h 854075"/>
              <a:gd name="connsiteX24" fmla="*/ 1343025 w 2012950"/>
              <a:gd name="connsiteY24" fmla="*/ 292100 h 854075"/>
              <a:gd name="connsiteX25" fmla="*/ 1441450 w 2012950"/>
              <a:gd name="connsiteY25" fmla="*/ 266700 h 854075"/>
              <a:gd name="connsiteX26" fmla="*/ 1565275 w 2012950"/>
              <a:gd name="connsiteY26" fmla="*/ 241300 h 854075"/>
              <a:gd name="connsiteX27" fmla="*/ 1638300 w 2012950"/>
              <a:gd name="connsiteY27" fmla="*/ 215900 h 854075"/>
              <a:gd name="connsiteX28" fmla="*/ 1689100 w 2012950"/>
              <a:gd name="connsiteY28" fmla="*/ 228600 h 854075"/>
              <a:gd name="connsiteX29" fmla="*/ 1774825 w 2012950"/>
              <a:gd name="connsiteY29" fmla="*/ 228600 h 854075"/>
              <a:gd name="connsiteX30" fmla="*/ 1822450 w 2012950"/>
              <a:gd name="connsiteY30" fmla="*/ 206375 h 854075"/>
              <a:gd name="connsiteX31" fmla="*/ 1863725 w 2012950"/>
              <a:gd name="connsiteY31" fmla="*/ 174625 h 854075"/>
              <a:gd name="connsiteX32" fmla="*/ 1892300 w 2012950"/>
              <a:gd name="connsiteY32" fmla="*/ 139700 h 854075"/>
              <a:gd name="connsiteX33" fmla="*/ 1901825 w 2012950"/>
              <a:gd name="connsiteY33" fmla="*/ 92075 h 854075"/>
              <a:gd name="connsiteX34" fmla="*/ 1939925 w 2012950"/>
              <a:gd name="connsiteY34" fmla="*/ 53975 h 854075"/>
              <a:gd name="connsiteX35" fmla="*/ 2012950 w 2012950"/>
              <a:gd name="connsiteY35" fmla="*/ 0 h 854075"/>
              <a:gd name="connsiteX0" fmla="*/ 0 w 1939925"/>
              <a:gd name="connsiteY0" fmla="*/ 800100 h 800100"/>
              <a:gd name="connsiteX1" fmla="*/ 57150 w 1939925"/>
              <a:gd name="connsiteY1" fmla="*/ 774700 h 800100"/>
              <a:gd name="connsiteX2" fmla="*/ 120650 w 1939925"/>
              <a:gd name="connsiteY2" fmla="*/ 774700 h 800100"/>
              <a:gd name="connsiteX3" fmla="*/ 161925 w 1939925"/>
              <a:gd name="connsiteY3" fmla="*/ 768350 h 800100"/>
              <a:gd name="connsiteX4" fmla="*/ 244475 w 1939925"/>
              <a:gd name="connsiteY4" fmla="*/ 742950 h 800100"/>
              <a:gd name="connsiteX5" fmla="*/ 349250 w 1939925"/>
              <a:gd name="connsiteY5" fmla="*/ 723900 h 800100"/>
              <a:gd name="connsiteX6" fmla="*/ 422275 w 1939925"/>
              <a:gd name="connsiteY6" fmla="*/ 688975 h 800100"/>
              <a:gd name="connsiteX7" fmla="*/ 511175 w 1939925"/>
              <a:gd name="connsiteY7" fmla="*/ 657225 h 800100"/>
              <a:gd name="connsiteX8" fmla="*/ 600075 w 1939925"/>
              <a:gd name="connsiteY8" fmla="*/ 635000 h 800100"/>
              <a:gd name="connsiteX9" fmla="*/ 650875 w 1939925"/>
              <a:gd name="connsiteY9" fmla="*/ 609600 h 800100"/>
              <a:gd name="connsiteX10" fmla="*/ 736600 w 1939925"/>
              <a:gd name="connsiteY10" fmla="*/ 574675 h 800100"/>
              <a:gd name="connsiteX11" fmla="*/ 777875 w 1939925"/>
              <a:gd name="connsiteY11" fmla="*/ 561975 h 800100"/>
              <a:gd name="connsiteX12" fmla="*/ 828675 w 1939925"/>
              <a:gd name="connsiteY12" fmla="*/ 546100 h 800100"/>
              <a:gd name="connsiteX13" fmla="*/ 898525 w 1939925"/>
              <a:gd name="connsiteY13" fmla="*/ 530225 h 800100"/>
              <a:gd name="connsiteX14" fmla="*/ 946150 w 1939925"/>
              <a:gd name="connsiteY14" fmla="*/ 511175 h 800100"/>
              <a:gd name="connsiteX15" fmla="*/ 977900 w 1939925"/>
              <a:gd name="connsiteY15" fmla="*/ 476250 h 800100"/>
              <a:gd name="connsiteX16" fmla="*/ 1012825 w 1939925"/>
              <a:gd name="connsiteY16" fmla="*/ 438150 h 800100"/>
              <a:gd name="connsiteX17" fmla="*/ 1076325 w 1939925"/>
              <a:gd name="connsiteY17" fmla="*/ 434975 h 800100"/>
              <a:gd name="connsiteX18" fmla="*/ 1146175 w 1939925"/>
              <a:gd name="connsiteY18" fmla="*/ 425450 h 800100"/>
              <a:gd name="connsiteX19" fmla="*/ 1168400 w 1939925"/>
              <a:gd name="connsiteY19" fmla="*/ 396875 h 800100"/>
              <a:gd name="connsiteX20" fmla="*/ 1181100 w 1939925"/>
              <a:gd name="connsiteY20" fmla="*/ 355600 h 800100"/>
              <a:gd name="connsiteX21" fmla="*/ 1200150 w 1939925"/>
              <a:gd name="connsiteY21" fmla="*/ 333375 h 800100"/>
              <a:gd name="connsiteX22" fmla="*/ 1244600 w 1939925"/>
              <a:gd name="connsiteY22" fmla="*/ 320675 h 800100"/>
              <a:gd name="connsiteX23" fmla="*/ 1285875 w 1939925"/>
              <a:gd name="connsiteY23" fmla="*/ 250825 h 800100"/>
              <a:gd name="connsiteX24" fmla="*/ 1343025 w 1939925"/>
              <a:gd name="connsiteY24" fmla="*/ 238125 h 800100"/>
              <a:gd name="connsiteX25" fmla="*/ 1441450 w 1939925"/>
              <a:gd name="connsiteY25" fmla="*/ 212725 h 800100"/>
              <a:gd name="connsiteX26" fmla="*/ 1565275 w 1939925"/>
              <a:gd name="connsiteY26" fmla="*/ 187325 h 800100"/>
              <a:gd name="connsiteX27" fmla="*/ 1638300 w 1939925"/>
              <a:gd name="connsiteY27" fmla="*/ 161925 h 800100"/>
              <a:gd name="connsiteX28" fmla="*/ 1689100 w 1939925"/>
              <a:gd name="connsiteY28" fmla="*/ 174625 h 800100"/>
              <a:gd name="connsiteX29" fmla="*/ 1774825 w 1939925"/>
              <a:gd name="connsiteY29" fmla="*/ 174625 h 800100"/>
              <a:gd name="connsiteX30" fmla="*/ 1822450 w 1939925"/>
              <a:gd name="connsiteY30" fmla="*/ 152400 h 800100"/>
              <a:gd name="connsiteX31" fmla="*/ 1863725 w 1939925"/>
              <a:gd name="connsiteY31" fmla="*/ 120650 h 800100"/>
              <a:gd name="connsiteX32" fmla="*/ 1892300 w 1939925"/>
              <a:gd name="connsiteY32" fmla="*/ 85725 h 800100"/>
              <a:gd name="connsiteX33" fmla="*/ 1901825 w 1939925"/>
              <a:gd name="connsiteY33" fmla="*/ 38100 h 800100"/>
              <a:gd name="connsiteX34" fmla="*/ 1939925 w 1939925"/>
              <a:gd name="connsiteY34" fmla="*/ 0 h 800100"/>
              <a:gd name="connsiteX0" fmla="*/ 0 w 1901825"/>
              <a:gd name="connsiteY0" fmla="*/ 762000 h 762000"/>
              <a:gd name="connsiteX1" fmla="*/ 57150 w 1901825"/>
              <a:gd name="connsiteY1" fmla="*/ 736600 h 762000"/>
              <a:gd name="connsiteX2" fmla="*/ 120650 w 1901825"/>
              <a:gd name="connsiteY2" fmla="*/ 736600 h 762000"/>
              <a:gd name="connsiteX3" fmla="*/ 161925 w 1901825"/>
              <a:gd name="connsiteY3" fmla="*/ 730250 h 762000"/>
              <a:gd name="connsiteX4" fmla="*/ 244475 w 1901825"/>
              <a:gd name="connsiteY4" fmla="*/ 704850 h 762000"/>
              <a:gd name="connsiteX5" fmla="*/ 349250 w 1901825"/>
              <a:gd name="connsiteY5" fmla="*/ 685800 h 762000"/>
              <a:gd name="connsiteX6" fmla="*/ 422275 w 1901825"/>
              <a:gd name="connsiteY6" fmla="*/ 650875 h 762000"/>
              <a:gd name="connsiteX7" fmla="*/ 511175 w 1901825"/>
              <a:gd name="connsiteY7" fmla="*/ 619125 h 762000"/>
              <a:gd name="connsiteX8" fmla="*/ 600075 w 1901825"/>
              <a:gd name="connsiteY8" fmla="*/ 596900 h 762000"/>
              <a:gd name="connsiteX9" fmla="*/ 650875 w 1901825"/>
              <a:gd name="connsiteY9" fmla="*/ 571500 h 762000"/>
              <a:gd name="connsiteX10" fmla="*/ 736600 w 1901825"/>
              <a:gd name="connsiteY10" fmla="*/ 536575 h 762000"/>
              <a:gd name="connsiteX11" fmla="*/ 777875 w 1901825"/>
              <a:gd name="connsiteY11" fmla="*/ 523875 h 762000"/>
              <a:gd name="connsiteX12" fmla="*/ 828675 w 1901825"/>
              <a:gd name="connsiteY12" fmla="*/ 508000 h 762000"/>
              <a:gd name="connsiteX13" fmla="*/ 898525 w 1901825"/>
              <a:gd name="connsiteY13" fmla="*/ 492125 h 762000"/>
              <a:gd name="connsiteX14" fmla="*/ 946150 w 1901825"/>
              <a:gd name="connsiteY14" fmla="*/ 473075 h 762000"/>
              <a:gd name="connsiteX15" fmla="*/ 977900 w 1901825"/>
              <a:gd name="connsiteY15" fmla="*/ 438150 h 762000"/>
              <a:gd name="connsiteX16" fmla="*/ 1012825 w 1901825"/>
              <a:gd name="connsiteY16" fmla="*/ 400050 h 762000"/>
              <a:gd name="connsiteX17" fmla="*/ 1076325 w 1901825"/>
              <a:gd name="connsiteY17" fmla="*/ 396875 h 762000"/>
              <a:gd name="connsiteX18" fmla="*/ 1146175 w 1901825"/>
              <a:gd name="connsiteY18" fmla="*/ 387350 h 762000"/>
              <a:gd name="connsiteX19" fmla="*/ 1168400 w 1901825"/>
              <a:gd name="connsiteY19" fmla="*/ 358775 h 762000"/>
              <a:gd name="connsiteX20" fmla="*/ 1181100 w 1901825"/>
              <a:gd name="connsiteY20" fmla="*/ 317500 h 762000"/>
              <a:gd name="connsiteX21" fmla="*/ 1200150 w 1901825"/>
              <a:gd name="connsiteY21" fmla="*/ 295275 h 762000"/>
              <a:gd name="connsiteX22" fmla="*/ 1244600 w 1901825"/>
              <a:gd name="connsiteY22" fmla="*/ 282575 h 762000"/>
              <a:gd name="connsiteX23" fmla="*/ 1285875 w 1901825"/>
              <a:gd name="connsiteY23" fmla="*/ 212725 h 762000"/>
              <a:gd name="connsiteX24" fmla="*/ 1343025 w 1901825"/>
              <a:gd name="connsiteY24" fmla="*/ 200025 h 762000"/>
              <a:gd name="connsiteX25" fmla="*/ 1441450 w 1901825"/>
              <a:gd name="connsiteY25" fmla="*/ 174625 h 762000"/>
              <a:gd name="connsiteX26" fmla="*/ 1565275 w 1901825"/>
              <a:gd name="connsiteY26" fmla="*/ 149225 h 762000"/>
              <a:gd name="connsiteX27" fmla="*/ 1638300 w 1901825"/>
              <a:gd name="connsiteY27" fmla="*/ 123825 h 762000"/>
              <a:gd name="connsiteX28" fmla="*/ 1689100 w 1901825"/>
              <a:gd name="connsiteY28" fmla="*/ 136525 h 762000"/>
              <a:gd name="connsiteX29" fmla="*/ 1774825 w 1901825"/>
              <a:gd name="connsiteY29" fmla="*/ 136525 h 762000"/>
              <a:gd name="connsiteX30" fmla="*/ 1822450 w 1901825"/>
              <a:gd name="connsiteY30" fmla="*/ 114300 h 762000"/>
              <a:gd name="connsiteX31" fmla="*/ 1863725 w 1901825"/>
              <a:gd name="connsiteY31" fmla="*/ 82550 h 762000"/>
              <a:gd name="connsiteX32" fmla="*/ 1892300 w 1901825"/>
              <a:gd name="connsiteY32" fmla="*/ 47625 h 762000"/>
              <a:gd name="connsiteX33" fmla="*/ 1901825 w 1901825"/>
              <a:gd name="connsiteY33" fmla="*/ 0 h 762000"/>
              <a:gd name="connsiteX0" fmla="*/ 0 w 1892300"/>
              <a:gd name="connsiteY0" fmla="*/ 714375 h 714375"/>
              <a:gd name="connsiteX1" fmla="*/ 57150 w 1892300"/>
              <a:gd name="connsiteY1" fmla="*/ 688975 h 714375"/>
              <a:gd name="connsiteX2" fmla="*/ 120650 w 1892300"/>
              <a:gd name="connsiteY2" fmla="*/ 688975 h 714375"/>
              <a:gd name="connsiteX3" fmla="*/ 161925 w 1892300"/>
              <a:gd name="connsiteY3" fmla="*/ 682625 h 714375"/>
              <a:gd name="connsiteX4" fmla="*/ 244475 w 1892300"/>
              <a:gd name="connsiteY4" fmla="*/ 657225 h 714375"/>
              <a:gd name="connsiteX5" fmla="*/ 349250 w 1892300"/>
              <a:gd name="connsiteY5" fmla="*/ 638175 h 714375"/>
              <a:gd name="connsiteX6" fmla="*/ 422275 w 1892300"/>
              <a:gd name="connsiteY6" fmla="*/ 603250 h 714375"/>
              <a:gd name="connsiteX7" fmla="*/ 511175 w 1892300"/>
              <a:gd name="connsiteY7" fmla="*/ 571500 h 714375"/>
              <a:gd name="connsiteX8" fmla="*/ 600075 w 1892300"/>
              <a:gd name="connsiteY8" fmla="*/ 549275 h 714375"/>
              <a:gd name="connsiteX9" fmla="*/ 650875 w 1892300"/>
              <a:gd name="connsiteY9" fmla="*/ 523875 h 714375"/>
              <a:gd name="connsiteX10" fmla="*/ 736600 w 1892300"/>
              <a:gd name="connsiteY10" fmla="*/ 488950 h 714375"/>
              <a:gd name="connsiteX11" fmla="*/ 777875 w 1892300"/>
              <a:gd name="connsiteY11" fmla="*/ 476250 h 714375"/>
              <a:gd name="connsiteX12" fmla="*/ 828675 w 1892300"/>
              <a:gd name="connsiteY12" fmla="*/ 460375 h 714375"/>
              <a:gd name="connsiteX13" fmla="*/ 898525 w 1892300"/>
              <a:gd name="connsiteY13" fmla="*/ 444500 h 714375"/>
              <a:gd name="connsiteX14" fmla="*/ 946150 w 1892300"/>
              <a:gd name="connsiteY14" fmla="*/ 425450 h 714375"/>
              <a:gd name="connsiteX15" fmla="*/ 977900 w 1892300"/>
              <a:gd name="connsiteY15" fmla="*/ 390525 h 714375"/>
              <a:gd name="connsiteX16" fmla="*/ 1012825 w 1892300"/>
              <a:gd name="connsiteY16" fmla="*/ 352425 h 714375"/>
              <a:gd name="connsiteX17" fmla="*/ 1076325 w 1892300"/>
              <a:gd name="connsiteY17" fmla="*/ 349250 h 714375"/>
              <a:gd name="connsiteX18" fmla="*/ 1146175 w 1892300"/>
              <a:gd name="connsiteY18" fmla="*/ 339725 h 714375"/>
              <a:gd name="connsiteX19" fmla="*/ 1168400 w 1892300"/>
              <a:gd name="connsiteY19" fmla="*/ 311150 h 714375"/>
              <a:gd name="connsiteX20" fmla="*/ 1181100 w 1892300"/>
              <a:gd name="connsiteY20" fmla="*/ 269875 h 714375"/>
              <a:gd name="connsiteX21" fmla="*/ 1200150 w 1892300"/>
              <a:gd name="connsiteY21" fmla="*/ 247650 h 714375"/>
              <a:gd name="connsiteX22" fmla="*/ 1244600 w 1892300"/>
              <a:gd name="connsiteY22" fmla="*/ 234950 h 714375"/>
              <a:gd name="connsiteX23" fmla="*/ 1285875 w 1892300"/>
              <a:gd name="connsiteY23" fmla="*/ 165100 h 714375"/>
              <a:gd name="connsiteX24" fmla="*/ 1343025 w 1892300"/>
              <a:gd name="connsiteY24" fmla="*/ 152400 h 714375"/>
              <a:gd name="connsiteX25" fmla="*/ 1441450 w 1892300"/>
              <a:gd name="connsiteY25" fmla="*/ 127000 h 714375"/>
              <a:gd name="connsiteX26" fmla="*/ 1565275 w 1892300"/>
              <a:gd name="connsiteY26" fmla="*/ 101600 h 714375"/>
              <a:gd name="connsiteX27" fmla="*/ 1638300 w 1892300"/>
              <a:gd name="connsiteY27" fmla="*/ 76200 h 714375"/>
              <a:gd name="connsiteX28" fmla="*/ 1689100 w 1892300"/>
              <a:gd name="connsiteY28" fmla="*/ 88900 h 714375"/>
              <a:gd name="connsiteX29" fmla="*/ 1774825 w 1892300"/>
              <a:gd name="connsiteY29" fmla="*/ 88900 h 714375"/>
              <a:gd name="connsiteX30" fmla="*/ 1822450 w 1892300"/>
              <a:gd name="connsiteY30" fmla="*/ 66675 h 714375"/>
              <a:gd name="connsiteX31" fmla="*/ 1863725 w 1892300"/>
              <a:gd name="connsiteY31" fmla="*/ 34925 h 714375"/>
              <a:gd name="connsiteX32" fmla="*/ 1892300 w 1892300"/>
              <a:gd name="connsiteY32" fmla="*/ 0 h 714375"/>
              <a:gd name="connsiteX0" fmla="*/ 0 w 1863725"/>
              <a:gd name="connsiteY0" fmla="*/ 679450 h 679450"/>
              <a:gd name="connsiteX1" fmla="*/ 57150 w 1863725"/>
              <a:gd name="connsiteY1" fmla="*/ 654050 h 679450"/>
              <a:gd name="connsiteX2" fmla="*/ 120650 w 1863725"/>
              <a:gd name="connsiteY2" fmla="*/ 654050 h 679450"/>
              <a:gd name="connsiteX3" fmla="*/ 161925 w 1863725"/>
              <a:gd name="connsiteY3" fmla="*/ 647700 h 679450"/>
              <a:gd name="connsiteX4" fmla="*/ 244475 w 1863725"/>
              <a:gd name="connsiteY4" fmla="*/ 622300 h 679450"/>
              <a:gd name="connsiteX5" fmla="*/ 349250 w 1863725"/>
              <a:gd name="connsiteY5" fmla="*/ 603250 h 679450"/>
              <a:gd name="connsiteX6" fmla="*/ 422275 w 1863725"/>
              <a:gd name="connsiteY6" fmla="*/ 568325 h 679450"/>
              <a:gd name="connsiteX7" fmla="*/ 511175 w 1863725"/>
              <a:gd name="connsiteY7" fmla="*/ 536575 h 679450"/>
              <a:gd name="connsiteX8" fmla="*/ 600075 w 1863725"/>
              <a:gd name="connsiteY8" fmla="*/ 514350 h 679450"/>
              <a:gd name="connsiteX9" fmla="*/ 650875 w 1863725"/>
              <a:gd name="connsiteY9" fmla="*/ 488950 h 679450"/>
              <a:gd name="connsiteX10" fmla="*/ 736600 w 1863725"/>
              <a:gd name="connsiteY10" fmla="*/ 454025 h 679450"/>
              <a:gd name="connsiteX11" fmla="*/ 777875 w 1863725"/>
              <a:gd name="connsiteY11" fmla="*/ 441325 h 679450"/>
              <a:gd name="connsiteX12" fmla="*/ 828675 w 1863725"/>
              <a:gd name="connsiteY12" fmla="*/ 425450 h 679450"/>
              <a:gd name="connsiteX13" fmla="*/ 898525 w 1863725"/>
              <a:gd name="connsiteY13" fmla="*/ 409575 h 679450"/>
              <a:gd name="connsiteX14" fmla="*/ 946150 w 1863725"/>
              <a:gd name="connsiteY14" fmla="*/ 390525 h 679450"/>
              <a:gd name="connsiteX15" fmla="*/ 977900 w 1863725"/>
              <a:gd name="connsiteY15" fmla="*/ 355600 h 679450"/>
              <a:gd name="connsiteX16" fmla="*/ 1012825 w 1863725"/>
              <a:gd name="connsiteY16" fmla="*/ 317500 h 679450"/>
              <a:gd name="connsiteX17" fmla="*/ 1076325 w 1863725"/>
              <a:gd name="connsiteY17" fmla="*/ 314325 h 679450"/>
              <a:gd name="connsiteX18" fmla="*/ 1146175 w 1863725"/>
              <a:gd name="connsiteY18" fmla="*/ 304800 h 679450"/>
              <a:gd name="connsiteX19" fmla="*/ 1168400 w 1863725"/>
              <a:gd name="connsiteY19" fmla="*/ 276225 h 679450"/>
              <a:gd name="connsiteX20" fmla="*/ 1181100 w 1863725"/>
              <a:gd name="connsiteY20" fmla="*/ 234950 h 679450"/>
              <a:gd name="connsiteX21" fmla="*/ 1200150 w 1863725"/>
              <a:gd name="connsiteY21" fmla="*/ 212725 h 679450"/>
              <a:gd name="connsiteX22" fmla="*/ 1244600 w 1863725"/>
              <a:gd name="connsiteY22" fmla="*/ 200025 h 679450"/>
              <a:gd name="connsiteX23" fmla="*/ 1285875 w 1863725"/>
              <a:gd name="connsiteY23" fmla="*/ 130175 h 679450"/>
              <a:gd name="connsiteX24" fmla="*/ 1343025 w 1863725"/>
              <a:gd name="connsiteY24" fmla="*/ 117475 h 679450"/>
              <a:gd name="connsiteX25" fmla="*/ 1441450 w 1863725"/>
              <a:gd name="connsiteY25" fmla="*/ 92075 h 679450"/>
              <a:gd name="connsiteX26" fmla="*/ 1565275 w 1863725"/>
              <a:gd name="connsiteY26" fmla="*/ 66675 h 679450"/>
              <a:gd name="connsiteX27" fmla="*/ 1638300 w 1863725"/>
              <a:gd name="connsiteY27" fmla="*/ 41275 h 679450"/>
              <a:gd name="connsiteX28" fmla="*/ 1689100 w 1863725"/>
              <a:gd name="connsiteY28" fmla="*/ 53975 h 679450"/>
              <a:gd name="connsiteX29" fmla="*/ 1774825 w 1863725"/>
              <a:gd name="connsiteY29" fmla="*/ 53975 h 679450"/>
              <a:gd name="connsiteX30" fmla="*/ 1822450 w 1863725"/>
              <a:gd name="connsiteY30" fmla="*/ 31750 h 679450"/>
              <a:gd name="connsiteX31" fmla="*/ 1863725 w 1863725"/>
              <a:gd name="connsiteY31" fmla="*/ 0 h 679450"/>
              <a:gd name="connsiteX0" fmla="*/ 0 w 1822450"/>
              <a:gd name="connsiteY0" fmla="*/ 647700 h 647700"/>
              <a:gd name="connsiteX1" fmla="*/ 57150 w 1822450"/>
              <a:gd name="connsiteY1" fmla="*/ 622300 h 647700"/>
              <a:gd name="connsiteX2" fmla="*/ 120650 w 1822450"/>
              <a:gd name="connsiteY2" fmla="*/ 622300 h 647700"/>
              <a:gd name="connsiteX3" fmla="*/ 161925 w 1822450"/>
              <a:gd name="connsiteY3" fmla="*/ 615950 h 647700"/>
              <a:gd name="connsiteX4" fmla="*/ 244475 w 1822450"/>
              <a:gd name="connsiteY4" fmla="*/ 590550 h 647700"/>
              <a:gd name="connsiteX5" fmla="*/ 349250 w 1822450"/>
              <a:gd name="connsiteY5" fmla="*/ 571500 h 647700"/>
              <a:gd name="connsiteX6" fmla="*/ 422275 w 1822450"/>
              <a:gd name="connsiteY6" fmla="*/ 536575 h 647700"/>
              <a:gd name="connsiteX7" fmla="*/ 511175 w 1822450"/>
              <a:gd name="connsiteY7" fmla="*/ 504825 h 647700"/>
              <a:gd name="connsiteX8" fmla="*/ 600075 w 1822450"/>
              <a:gd name="connsiteY8" fmla="*/ 482600 h 647700"/>
              <a:gd name="connsiteX9" fmla="*/ 650875 w 1822450"/>
              <a:gd name="connsiteY9" fmla="*/ 457200 h 647700"/>
              <a:gd name="connsiteX10" fmla="*/ 736600 w 1822450"/>
              <a:gd name="connsiteY10" fmla="*/ 422275 h 647700"/>
              <a:gd name="connsiteX11" fmla="*/ 777875 w 1822450"/>
              <a:gd name="connsiteY11" fmla="*/ 409575 h 647700"/>
              <a:gd name="connsiteX12" fmla="*/ 828675 w 1822450"/>
              <a:gd name="connsiteY12" fmla="*/ 393700 h 647700"/>
              <a:gd name="connsiteX13" fmla="*/ 898525 w 1822450"/>
              <a:gd name="connsiteY13" fmla="*/ 377825 h 647700"/>
              <a:gd name="connsiteX14" fmla="*/ 946150 w 1822450"/>
              <a:gd name="connsiteY14" fmla="*/ 358775 h 647700"/>
              <a:gd name="connsiteX15" fmla="*/ 977900 w 1822450"/>
              <a:gd name="connsiteY15" fmla="*/ 323850 h 647700"/>
              <a:gd name="connsiteX16" fmla="*/ 1012825 w 1822450"/>
              <a:gd name="connsiteY16" fmla="*/ 285750 h 647700"/>
              <a:gd name="connsiteX17" fmla="*/ 1076325 w 1822450"/>
              <a:gd name="connsiteY17" fmla="*/ 282575 h 647700"/>
              <a:gd name="connsiteX18" fmla="*/ 1146175 w 1822450"/>
              <a:gd name="connsiteY18" fmla="*/ 273050 h 647700"/>
              <a:gd name="connsiteX19" fmla="*/ 1168400 w 1822450"/>
              <a:gd name="connsiteY19" fmla="*/ 244475 h 647700"/>
              <a:gd name="connsiteX20" fmla="*/ 1181100 w 1822450"/>
              <a:gd name="connsiteY20" fmla="*/ 203200 h 647700"/>
              <a:gd name="connsiteX21" fmla="*/ 1200150 w 1822450"/>
              <a:gd name="connsiteY21" fmla="*/ 180975 h 647700"/>
              <a:gd name="connsiteX22" fmla="*/ 1244600 w 1822450"/>
              <a:gd name="connsiteY22" fmla="*/ 168275 h 647700"/>
              <a:gd name="connsiteX23" fmla="*/ 1285875 w 1822450"/>
              <a:gd name="connsiteY23" fmla="*/ 98425 h 647700"/>
              <a:gd name="connsiteX24" fmla="*/ 1343025 w 1822450"/>
              <a:gd name="connsiteY24" fmla="*/ 85725 h 647700"/>
              <a:gd name="connsiteX25" fmla="*/ 1441450 w 1822450"/>
              <a:gd name="connsiteY25" fmla="*/ 60325 h 647700"/>
              <a:gd name="connsiteX26" fmla="*/ 1565275 w 1822450"/>
              <a:gd name="connsiteY26" fmla="*/ 34925 h 647700"/>
              <a:gd name="connsiteX27" fmla="*/ 1638300 w 1822450"/>
              <a:gd name="connsiteY27" fmla="*/ 9525 h 647700"/>
              <a:gd name="connsiteX28" fmla="*/ 1689100 w 1822450"/>
              <a:gd name="connsiteY28" fmla="*/ 22225 h 647700"/>
              <a:gd name="connsiteX29" fmla="*/ 1774825 w 1822450"/>
              <a:gd name="connsiteY29" fmla="*/ 22225 h 647700"/>
              <a:gd name="connsiteX30" fmla="*/ 1822450 w 1822450"/>
              <a:gd name="connsiteY30" fmla="*/ 0 h 647700"/>
              <a:gd name="connsiteX0" fmla="*/ 0 w 1774825"/>
              <a:gd name="connsiteY0" fmla="*/ 638413 h 638413"/>
              <a:gd name="connsiteX1" fmla="*/ 57150 w 1774825"/>
              <a:gd name="connsiteY1" fmla="*/ 613013 h 638413"/>
              <a:gd name="connsiteX2" fmla="*/ 120650 w 1774825"/>
              <a:gd name="connsiteY2" fmla="*/ 613013 h 638413"/>
              <a:gd name="connsiteX3" fmla="*/ 161925 w 1774825"/>
              <a:gd name="connsiteY3" fmla="*/ 606663 h 638413"/>
              <a:gd name="connsiteX4" fmla="*/ 244475 w 1774825"/>
              <a:gd name="connsiteY4" fmla="*/ 581263 h 638413"/>
              <a:gd name="connsiteX5" fmla="*/ 349250 w 1774825"/>
              <a:gd name="connsiteY5" fmla="*/ 562213 h 638413"/>
              <a:gd name="connsiteX6" fmla="*/ 422275 w 1774825"/>
              <a:gd name="connsiteY6" fmla="*/ 527288 h 638413"/>
              <a:gd name="connsiteX7" fmla="*/ 511175 w 1774825"/>
              <a:gd name="connsiteY7" fmla="*/ 495538 h 638413"/>
              <a:gd name="connsiteX8" fmla="*/ 600075 w 1774825"/>
              <a:gd name="connsiteY8" fmla="*/ 473313 h 638413"/>
              <a:gd name="connsiteX9" fmla="*/ 650875 w 1774825"/>
              <a:gd name="connsiteY9" fmla="*/ 447913 h 638413"/>
              <a:gd name="connsiteX10" fmla="*/ 736600 w 1774825"/>
              <a:gd name="connsiteY10" fmla="*/ 412988 h 638413"/>
              <a:gd name="connsiteX11" fmla="*/ 777875 w 1774825"/>
              <a:gd name="connsiteY11" fmla="*/ 400288 h 638413"/>
              <a:gd name="connsiteX12" fmla="*/ 828675 w 1774825"/>
              <a:gd name="connsiteY12" fmla="*/ 384413 h 638413"/>
              <a:gd name="connsiteX13" fmla="*/ 898525 w 1774825"/>
              <a:gd name="connsiteY13" fmla="*/ 368538 h 638413"/>
              <a:gd name="connsiteX14" fmla="*/ 946150 w 1774825"/>
              <a:gd name="connsiteY14" fmla="*/ 349488 h 638413"/>
              <a:gd name="connsiteX15" fmla="*/ 977900 w 1774825"/>
              <a:gd name="connsiteY15" fmla="*/ 314563 h 638413"/>
              <a:gd name="connsiteX16" fmla="*/ 1012825 w 1774825"/>
              <a:gd name="connsiteY16" fmla="*/ 276463 h 638413"/>
              <a:gd name="connsiteX17" fmla="*/ 1076325 w 1774825"/>
              <a:gd name="connsiteY17" fmla="*/ 273288 h 638413"/>
              <a:gd name="connsiteX18" fmla="*/ 1146175 w 1774825"/>
              <a:gd name="connsiteY18" fmla="*/ 263763 h 638413"/>
              <a:gd name="connsiteX19" fmla="*/ 1168400 w 1774825"/>
              <a:gd name="connsiteY19" fmla="*/ 235188 h 638413"/>
              <a:gd name="connsiteX20" fmla="*/ 1181100 w 1774825"/>
              <a:gd name="connsiteY20" fmla="*/ 193913 h 638413"/>
              <a:gd name="connsiteX21" fmla="*/ 1200150 w 1774825"/>
              <a:gd name="connsiteY21" fmla="*/ 171688 h 638413"/>
              <a:gd name="connsiteX22" fmla="*/ 1244600 w 1774825"/>
              <a:gd name="connsiteY22" fmla="*/ 158988 h 638413"/>
              <a:gd name="connsiteX23" fmla="*/ 1285875 w 1774825"/>
              <a:gd name="connsiteY23" fmla="*/ 89138 h 638413"/>
              <a:gd name="connsiteX24" fmla="*/ 1343025 w 1774825"/>
              <a:gd name="connsiteY24" fmla="*/ 76438 h 638413"/>
              <a:gd name="connsiteX25" fmla="*/ 1441450 w 1774825"/>
              <a:gd name="connsiteY25" fmla="*/ 51038 h 638413"/>
              <a:gd name="connsiteX26" fmla="*/ 1565275 w 1774825"/>
              <a:gd name="connsiteY26" fmla="*/ 25638 h 638413"/>
              <a:gd name="connsiteX27" fmla="*/ 1638300 w 1774825"/>
              <a:gd name="connsiteY27" fmla="*/ 238 h 638413"/>
              <a:gd name="connsiteX28" fmla="*/ 1689100 w 1774825"/>
              <a:gd name="connsiteY28" fmla="*/ 12938 h 638413"/>
              <a:gd name="connsiteX29" fmla="*/ 1774825 w 1774825"/>
              <a:gd name="connsiteY29" fmla="*/ 12938 h 638413"/>
              <a:gd name="connsiteX0" fmla="*/ 0 w 1689100"/>
              <a:gd name="connsiteY0" fmla="*/ 638413 h 638413"/>
              <a:gd name="connsiteX1" fmla="*/ 57150 w 1689100"/>
              <a:gd name="connsiteY1" fmla="*/ 613013 h 638413"/>
              <a:gd name="connsiteX2" fmla="*/ 120650 w 1689100"/>
              <a:gd name="connsiteY2" fmla="*/ 613013 h 638413"/>
              <a:gd name="connsiteX3" fmla="*/ 161925 w 1689100"/>
              <a:gd name="connsiteY3" fmla="*/ 606663 h 638413"/>
              <a:gd name="connsiteX4" fmla="*/ 244475 w 1689100"/>
              <a:gd name="connsiteY4" fmla="*/ 581263 h 638413"/>
              <a:gd name="connsiteX5" fmla="*/ 349250 w 1689100"/>
              <a:gd name="connsiteY5" fmla="*/ 562213 h 638413"/>
              <a:gd name="connsiteX6" fmla="*/ 422275 w 1689100"/>
              <a:gd name="connsiteY6" fmla="*/ 527288 h 638413"/>
              <a:gd name="connsiteX7" fmla="*/ 511175 w 1689100"/>
              <a:gd name="connsiteY7" fmla="*/ 495538 h 638413"/>
              <a:gd name="connsiteX8" fmla="*/ 600075 w 1689100"/>
              <a:gd name="connsiteY8" fmla="*/ 473313 h 638413"/>
              <a:gd name="connsiteX9" fmla="*/ 650875 w 1689100"/>
              <a:gd name="connsiteY9" fmla="*/ 447913 h 638413"/>
              <a:gd name="connsiteX10" fmla="*/ 736600 w 1689100"/>
              <a:gd name="connsiteY10" fmla="*/ 412988 h 638413"/>
              <a:gd name="connsiteX11" fmla="*/ 777875 w 1689100"/>
              <a:gd name="connsiteY11" fmla="*/ 400288 h 638413"/>
              <a:gd name="connsiteX12" fmla="*/ 828675 w 1689100"/>
              <a:gd name="connsiteY12" fmla="*/ 384413 h 638413"/>
              <a:gd name="connsiteX13" fmla="*/ 898525 w 1689100"/>
              <a:gd name="connsiteY13" fmla="*/ 368538 h 638413"/>
              <a:gd name="connsiteX14" fmla="*/ 946150 w 1689100"/>
              <a:gd name="connsiteY14" fmla="*/ 349488 h 638413"/>
              <a:gd name="connsiteX15" fmla="*/ 977900 w 1689100"/>
              <a:gd name="connsiteY15" fmla="*/ 314563 h 638413"/>
              <a:gd name="connsiteX16" fmla="*/ 1012825 w 1689100"/>
              <a:gd name="connsiteY16" fmla="*/ 276463 h 638413"/>
              <a:gd name="connsiteX17" fmla="*/ 1076325 w 1689100"/>
              <a:gd name="connsiteY17" fmla="*/ 273288 h 638413"/>
              <a:gd name="connsiteX18" fmla="*/ 1146175 w 1689100"/>
              <a:gd name="connsiteY18" fmla="*/ 263763 h 638413"/>
              <a:gd name="connsiteX19" fmla="*/ 1168400 w 1689100"/>
              <a:gd name="connsiteY19" fmla="*/ 235188 h 638413"/>
              <a:gd name="connsiteX20" fmla="*/ 1181100 w 1689100"/>
              <a:gd name="connsiteY20" fmla="*/ 193913 h 638413"/>
              <a:gd name="connsiteX21" fmla="*/ 1200150 w 1689100"/>
              <a:gd name="connsiteY21" fmla="*/ 171688 h 638413"/>
              <a:gd name="connsiteX22" fmla="*/ 1244600 w 1689100"/>
              <a:gd name="connsiteY22" fmla="*/ 158988 h 638413"/>
              <a:gd name="connsiteX23" fmla="*/ 1285875 w 1689100"/>
              <a:gd name="connsiteY23" fmla="*/ 89138 h 638413"/>
              <a:gd name="connsiteX24" fmla="*/ 1343025 w 1689100"/>
              <a:gd name="connsiteY24" fmla="*/ 76438 h 638413"/>
              <a:gd name="connsiteX25" fmla="*/ 1441450 w 1689100"/>
              <a:gd name="connsiteY25" fmla="*/ 51038 h 638413"/>
              <a:gd name="connsiteX26" fmla="*/ 1565275 w 1689100"/>
              <a:gd name="connsiteY26" fmla="*/ 25638 h 638413"/>
              <a:gd name="connsiteX27" fmla="*/ 1638300 w 1689100"/>
              <a:gd name="connsiteY27" fmla="*/ 238 h 638413"/>
              <a:gd name="connsiteX28" fmla="*/ 1689100 w 1689100"/>
              <a:gd name="connsiteY28" fmla="*/ 12938 h 638413"/>
              <a:gd name="connsiteX0" fmla="*/ 0 w 1638300"/>
              <a:gd name="connsiteY0" fmla="*/ 638175 h 638175"/>
              <a:gd name="connsiteX1" fmla="*/ 57150 w 1638300"/>
              <a:gd name="connsiteY1" fmla="*/ 612775 h 638175"/>
              <a:gd name="connsiteX2" fmla="*/ 120650 w 1638300"/>
              <a:gd name="connsiteY2" fmla="*/ 612775 h 638175"/>
              <a:gd name="connsiteX3" fmla="*/ 161925 w 1638300"/>
              <a:gd name="connsiteY3" fmla="*/ 606425 h 638175"/>
              <a:gd name="connsiteX4" fmla="*/ 244475 w 1638300"/>
              <a:gd name="connsiteY4" fmla="*/ 581025 h 638175"/>
              <a:gd name="connsiteX5" fmla="*/ 349250 w 1638300"/>
              <a:gd name="connsiteY5" fmla="*/ 561975 h 638175"/>
              <a:gd name="connsiteX6" fmla="*/ 422275 w 1638300"/>
              <a:gd name="connsiteY6" fmla="*/ 527050 h 638175"/>
              <a:gd name="connsiteX7" fmla="*/ 511175 w 1638300"/>
              <a:gd name="connsiteY7" fmla="*/ 495300 h 638175"/>
              <a:gd name="connsiteX8" fmla="*/ 600075 w 1638300"/>
              <a:gd name="connsiteY8" fmla="*/ 473075 h 638175"/>
              <a:gd name="connsiteX9" fmla="*/ 650875 w 1638300"/>
              <a:gd name="connsiteY9" fmla="*/ 447675 h 638175"/>
              <a:gd name="connsiteX10" fmla="*/ 736600 w 1638300"/>
              <a:gd name="connsiteY10" fmla="*/ 412750 h 638175"/>
              <a:gd name="connsiteX11" fmla="*/ 777875 w 1638300"/>
              <a:gd name="connsiteY11" fmla="*/ 400050 h 638175"/>
              <a:gd name="connsiteX12" fmla="*/ 828675 w 1638300"/>
              <a:gd name="connsiteY12" fmla="*/ 384175 h 638175"/>
              <a:gd name="connsiteX13" fmla="*/ 898525 w 1638300"/>
              <a:gd name="connsiteY13" fmla="*/ 368300 h 638175"/>
              <a:gd name="connsiteX14" fmla="*/ 946150 w 1638300"/>
              <a:gd name="connsiteY14" fmla="*/ 349250 h 638175"/>
              <a:gd name="connsiteX15" fmla="*/ 977900 w 1638300"/>
              <a:gd name="connsiteY15" fmla="*/ 314325 h 638175"/>
              <a:gd name="connsiteX16" fmla="*/ 1012825 w 1638300"/>
              <a:gd name="connsiteY16" fmla="*/ 276225 h 638175"/>
              <a:gd name="connsiteX17" fmla="*/ 1076325 w 1638300"/>
              <a:gd name="connsiteY17" fmla="*/ 273050 h 638175"/>
              <a:gd name="connsiteX18" fmla="*/ 1146175 w 1638300"/>
              <a:gd name="connsiteY18" fmla="*/ 263525 h 638175"/>
              <a:gd name="connsiteX19" fmla="*/ 1168400 w 1638300"/>
              <a:gd name="connsiteY19" fmla="*/ 234950 h 638175"/>
              <a:gd name="connsiteX20" fmla="*/ 1181100 w 1638300"/>
              <a:gd name="connsiteY20" fmla="*/ 193675 h 638175"/>
              <a:gd name="connsiteX21" fmla="*/ 1200150 w 1638300"/>
              <a:gd name="connsiteY21" fmla="*/ 171450 h 638175"/>
              <a:gd name="connsiteX22" fmla="*/ 1244600 w 1638300"/>
              <a:gd name="connsiteY22" fmla="*/ 158750 h 638175"/>
              <a:gd name="connsiteX23" fmla="*/ 1285875 w 1638300"/>
              <a:gd name="connsiteY23" fmla="*/ 88900 h 638175"/>
              <a:gd name="connsiteX24" fmla="*/ 1343025 w 1638300"/>
              <a:gd name="connsiteY24" fmla="*/ 76200 h 638175"/>
              <a:gd name="connsiteX25" fmla="*/ 1441450 w 1638300"/>
              <a:gd name="connsiteY25" fmla="*/ 50800 h 638175"/>
              <a:gd name="connsiteX26" fmla="*/ 1565275 w 1638300"/>
              <a:gd name="connsiteY26" fmla="*/ 25400 h 638175"/>
              <a:gd name="connsiteX27" fmla="*/ 1638300 w 1638300"/>
              <a:gd name="connsiteY27" fmla="*/ 0 h 638175"/>
              <a:gd name="connsiteX0" fmla="*/ 0 w 1638300"/>
              <a:gd name="connsiteY0" fmla="*/ 644388 h 644388"/>
              <a:gd name="connsiteX1" fmla="*/ 57150 w 1638300"/>
              <a:gd name="connsiteY1" fmla="*/ 618988 h 644388"/>
              <a:gd name="connsiteX2" fmla="*/ 120650 w 1638300"/>
              <a:gd name="connsiteY2" fmla="*/ 618988 h 644388"/>
              <a:gd name="connsiteX3" fmla="*/ 161925 w 1638300"/>
              <a:gd name="connsiteY3" fmla="*/ 612638 h 644388"/>
              <a:gd name="connsiteX4" fmla="*/ 244475 w 1638300"/>
              <a:gd name="connsiteY4" fmla="*/ 587238 h 644388"/>
              <a:gd name="connsiteX5" fmla="*/ 349250 w 1638300"/>
              <a:gd name="connsiteY5" fmla="*/ 568188 h 644388"/>
              <a:gd name="connsiteX6" fmla="*/ 422275 w 1638300"/>
              <a:gd name="connsiteY6" fmla="*/ 533263 h 644388"/>
              <a:gd name="connsiteX7" fmla="*/ 511175 w 1638300"/>
              <a:gd name="connsiteY7" fmla="*/ 501513 h 644388"/>
              <a:gd name="connsiteX8" fmla="*/ 600075 w 1638300"/>
              <a:gd name="connsiteY8" fmla="*/ 479288 h 644388"/>
              <a:gd name="connsiteX9" fmla="*/ 650875 w 1638300"/>
              <a:gd name="connsiteY9" fmla="*/ 453888 h 644388"/>
              <a:gd name="connsiteX10" fmla="*/ 736600 w 1638300"/>
              <a:gd name="connsiteY10" fmla="*/ 418963 h 644388"/>
              <a:gd name="connsiteX11" fmla="*/ 777875 w 1638300"/>
              <a:gd name="connsiteY11" fmla="*/ 406263 h 644388"/>
              <a:gd name="connsiteX12" fmla="*/ 828675 w 1638300"/>
              <a:gd name="connsiteY12" fmla="*/ 390388 h 644388"/>
              <a:gd name="connsiteX13" fmla="*/ 898525 w 1638300"/>
              <a:gd name="connsiteY13" fmla="*/ 374513 h 644388"/>
              <a:gd name="connsiteX14" fmla="*/ 946150 w 1638300"/>
              <a:gd name="connsiteY14" fmla="*/ 355463 h 644388"/>
              <a:gd name="connsiteX15" fmla="*/ 977900 w 1638300"/>
              <a:gd name="connsiteY15" fmla="*/ 320538 h 644388"/>
              <a:gd name="connsiteX16" fmla="*/ 1012825 w 1638300"/>
              <a:gd name="connsiteY16" fmla="*/ 282438 h 644388"/>
              <a:gd name="connsiteX17" fmla="*/ 1076325 w 1638300"/>
              <a:gd name="connsiteY17" fmla="*/ 279263 h 644388"/>
              <a:gd name="connsiteX18" fmla="*/ 1146175 w 1638300"/>
              <a:gd name="connsiteY18" fmla="*/ 269738 h 644388"/>
              <a:gd name="connsiteX19" fmla="*/ 1168400 w 1638300"/>
              <a:gd name="connsiteY19" fmla="*/ 241163 h 644388"/>
              <a:gd name="connsiteX20" fmla="*/ 1181100 w 1638300"/>
              <a:gd name="connsiteY20" fmla="*/ 199888 h 644388"/>
              <a:gd name="connsiteX21" fmla="*/ 1200150 w 1638300"/>
              <a:gd name="connsiteY21" fmla="*/ 177663 h 644388"/>
              <a:gd name="connsiteX22" fmla="*/ 1244600 w 1638300"/>
              <a:gd name="connsiteY22" fmla="*/ 164963 h 644388"/>
              <a:gd name="connsiteX23" fmla="*/ 1285875 w 1638300"/>
              <a:gd name="connsiteY23" fmla="*/ 95113 h 644388"/>
              <a:gd name="connsiteX24" fmla="*/ 1343025 w 1638300"/>
              <a:gd name="connsiteY24" fmla="*/ 82413 h 644388"/>
              <a:gd name="connsiteX25" fmla="*/ 1441450 w 1638300"/>
              <a:gd name="connsiteY25" fmla="*/ 57013 h 644388"/>
              <a:gd name="connsiteX26" fmla="*/ 1565275 w 1638300"/>
              <a:gd name="connsiteY26" fmla="*/ 31613 h 644388"/>
              <a:gd name="connsiteX27" fmla="*/ 1615351 w 1638300"/>
              <a:gd name="connsiteY27" fmla="*/ 1182 h 644388"/>
              <a:gd name="connsiteX28" fmla="*/ 1638300 w 1638300"/>
              <a:gd name="connsiteY28" fmla="*/ 6213 h 644388"/>
              <a:gd name="connsiteX0" fmla="*/ 0 w 1615351"/>
              <a:gd name="connsiteY0" fmla="*/ 643206 h 643206"/>
              <a:gd name="connsiteX1" fmla="*/ 57150 w 1615351"/>
              <a:gd name="connsiteY1" fmla="*/ 617806 h 643206"/>
              <a:gd name="connsiteX2" fmla="*/ 120650 w 1615351"/>
              <a:gd name="connsiteY2" fmla="*/ 617806 h 643206"/>
              <a:gd name="connsiteX3" fmla="*/ 161925 w 1615351"/>
              <a:gd name="connsiteY3" fmla="*/ 611456 h 643206"/>
              <a:gd name="connsiteX4" fmla="*/ 244475 w 1615351"/>
              <a:gd name="connsiteY4" fmla="*/ 586056 h 643206"/>
              <a:gd name="connsiteX5" fmla="*/ 349250 w 1615351"/>
              <a:gd name="connsiteY5" fmla="*/ 567006 h 643206"/>
              <a:gd name="connsiteX6" fmla="*/ 422275 w 1615351"/>
              <a:gd name="connsiteY6" fmla="*/ 532081 h 643206"/>
              <a:gd name="connsiteX7" fmla="*/ 511175 w 1615351"/>
              <a:gd name="connsiteY7" fmla="*/ 500331 h 643206"/>
              <a:gd name="connsiteX8" fmla="*/ 600075 w 1615351"/>
              <a:gd name="connsiteY8" fmla="*/ 478106 h 643206"/>
              <a:gd name="connsiteX9" fmla="*/ 650875 w 1615351"/>
              <a:gd name="connsiteY9" fmla="*/ 452706 h 643206"/>
              <a:gd name="connsiteX10" fmla="*/ 736600 w 1615351"/>
              <a:gd name="connsiteY10" fmla="*/ 417781 h 643206"/>
              <a:gd name="connsiteX11" fmla="*/ 777875 w 1615351"/>
              <a:gd name="connsiteY11" fmla="*/ 405081 h 643206"/>
              <a:gd name="connsiteX12" fmla="*/ 828675 w 1615351"/>
              <a:gd name="connsiteY12" fmla="*/ 389206 h 643206"/>
              <a:gd name="connsiteX13" fmla="*/ 898525 w 1615351"/>
              <a:gd name="connsiteY13" fmla="*/ 373331 h 643206"/>
              <a:gd name="connsiteX14" fmla="*/ 946150 w 1615351"/>
              <a:gd name="connsiteY14" fmla="*/ 354281 h 643206"/>
              <a:gd name="connsiteX15" fmla="*/ 977900 w 1615351"/>
              <a:gd name="connsiteY15" fmla="*/ 319356 h 643206"/>
              <a:gd name="connsiteX16" fmla="*/ 1012825 w 1615351"/>
              <a:gd name="connsiteY16" fmla="*/ 281256 h 643206"/>
              <a:gd name="connsiteX17" fmla="*/ 1076325 w 1615351"/>
              <a:gd name="connsiteY17" fmla="*/ 278081 h 643206"/>
              <a:gd name="connsiteX18" fmla="*/ 1146175 w 1615351"/>
              <a:gd name="connsiteY18" fmla="*/ 268556 h 643206"/>
              <a:gd name="connsiteX19" fmla="*/ 1168400 w 1615351"/>
              <a:gd name="connsiteY19" fmla="*/ 239981 h 643206"/>
              <a:gd name="connsiteX20" fmla="*/ 1181100 w 1615351"/>
              <a:gd name="connsiteY20" fmla="*/ 198706 h 643206"/>
              <a:gd name="connsiteX21" fmla="*/ 1200150 w 1615351"/>
              <a:gd name="connsiteY21" fmla="*/ 176481 h 643206"/>
              <a:gd name="connsiteX22" fmla="*/ 1244600 w 1615351"/>
              <a:gd name="connsiteY22" fmla="*/ 163781 h 643206"/>
              <a:gd name="connsiteX23" fmla="*/ 1285875 w 1615351"/>
              <a:gd name="connsiteY23" fmla="*/ 93931 h 643206"/>
              <a:gd name="connsiteX24" fmla="*/ 1343025 w 1615351"/>
              <a:gd name="connsiteY24" fmla="*/ 81231 h 643206"/>
              <a:gd name="connsiteX25" fmla="*/ 1441450 w 1615351"/>
              <a:gd name="connsiteY25" fmla="*/ 55831 h 643206"/>
              <a:gd name="connsiteX26" fmla="*/ 1565275 w 1615351"/>
              <a:gd name="connsiteY26" fmla="*/ 30431 h 643206"/>
              <a:gd name="connsiteX27" fmla="*/ 1615351 w 1615351"/>
              <a:gd name="connsiteY27" fmla="*/ 0 h 643206"/>
              <a:gd name="connsiteX0" fmla="*/ 0 w 1615351"/>
              <a:gd name="connsiteY0" fmla="*/ 643206 h 643206"/>
              <a:gd name="connsiteX1" fmla="*/ 57150 w 1615351"/>
              <a:gd name="connsiteY1" fmla="*/ 617806 h 643206"/>
              <a:gd name="connsiteX2" fmla="*/ 120650 w 1615351"/>
              <a:gd name="connsiteY2" fmla="*/ 617806 h 643206"/>
              <a:gd name="connsiteX3" fmla="*/ 161925 w 1615351"/>
              <a:gd name="connsiteY3" fmla="*/ 611456 h 643206"/>
              <a:gd name="connsiteX4" fmla="*/ 244475 w 1615351"/>
              <a:gd name="connsiteY4" fmla="*/ 586056 h 643206"/>
              <a:gd name="connsiteX5" fmla="*/ 349250 w 1615351"/>
              <a:gd name="connsiteY5" fmla="*/ 567006 h 643206"/>
              <a:gd name="connsiteX6" fmla="*/ 422275 w 1615351"/>
              <a:gd name="connsiteY6" fmla="*/ 532081 h 643206"/>
              <a:gd name="connsiteX7" fmla="*/ 511175 w 1615351"/>
              <a:gd name="connsiteY7" fmla="*/ 500331 h 643206"/>
              <a:gd name="connsiteX8" fmla="*/ 600075 w 1615351"/>
              <a:gd name="connsiteY8" fmla="*/ 478106 h 643206"/>
              <a:gd name="connsiteX9" fmla="*/ 650875 w 1615351"/>
              <a:gd name="connsiteY9" fmla="*/ 452706 h 643206"/>
              <a:gd name="connsiteX10" fmla="*/ 736600 w 1615351"/>
              <a:gd name="connsiteY10" fmla="*/ 417781 h 643206"/>
              <a:gd name="connsiteX11" fmla="*/ 777875 w 1615351"/>
              <a:gd name="connsiteY11" fmla="*/ 405081 h 643206"/>
              <a:gd name="connsiteX12" fmla="*/ 828675 w 1615351"/>
              <a:gd name="connsiteY12" fmla="*/ 389206 h 643206"/>
              <a:gd name="connsiteX13" fmla="*/ 898525 w 1615351"/>
              <a:gd name="connsiteY13" fmla="*/ 373331 h 643206"/>
              <a:gd name="connsiteX14" fmla="*/ 946150 w 1615351"/>
              <a:gd name="connsiteY14" fmla="*/ 354281 h 643206"/>
              <a:gd name="connsiteX15" fmla="*/ 977900 w 1615351"/>
              <a:gd name="connsiteY15" fmla="*/ 319356 h 643206"/>
              <a:gd name="connsiteX16" fmla="*/ 1012825 w 1615351"/>
              <a:gd name="connsiteY16" fmla="*/ 281256 h 643206"/>
              <a:gd name="connsiteX17" fmla="*/ 1076325 w 1615351"/>
              <a:gd name="connsiteY17" fmla="*/ 278081 h 643206"/>
              <a:gd name="connsiteX18" fmla="*/ 1146175 w 1615351"/>
              <a:gd name="connsiteY18" fmla="*/ 268556 h 643206"/>
              <a:gd name="connsiteX19" fmla="*/ 1168400 w 1615351"/>
              <a:gd name="connsiteY19" fmla="*/ 239981 h 643206"/>
              <a:gd name="connsiteX20" fmla="*/ 1181100 w 1615351"/>
              <a:gd name="connsiteY20" fmla="*/ 198706 h 643206"/>
              <a:gd name="connsiteX21" fmla="*/ 1200150 w 1615351"/>
              <a:gd name="connsiteY21" fmla="*/ 176481 h 643206"/>
              <a:gd name="connsiteX22" fmla="*/ 1244600 w 1615351"/>
              <a:gd name="connsiteY22" fmla="*/ 163781 h 643206"/>
              <a:gd name="connsiteX23" fmla="*/ 1285875 w 1615351"/>
              <a:gd name="connsiteY23" fmla="*/ 93931 h 643206"/>
              <a:gd name="connsiteX24" fmla="*/ 1343025 w 1615351"/>
              <a:gd name="connsiteY24" fmla="*/ 81231 h 643206"/>
              <a:gd name="connsiteX25" fmla="*/ 1441450 w 1615351"/>
              <a:gd name="connsiteY25" fmla="*/ 55831 h 643206"/>
              <a:gd name="connsiteX26" fmla="*/ 1565275 w 1615351"/>
              <a:gd name="connsiteY26" fmla="*/ 30431 h 643206"/>
              <a:gd name="connsiteX27" fmla="*/ 1605827 w 1615351"/>
              <a:gd name="connsiteY27" fmla="*/ 14287 h 643206"/>
              <a:gd name="connsiteX28" fmla="*/ 1615351 w 1615351"/>
              <a:gd name="connsiteY28" fmla="*/ 0 h 643206"/>
              <a:gd name="connsiteX0" fmla="*/ 0 w 1605827"/>
              <a:gd name="connsiteY0" fmla="*/ 628919 h 628919"/>
              <a:gd name="connsiteX1" fmla="*/ 57150 w 1605827"/>
              <a:gd name="connsiteY1" fmla="*/ 603519 h 628919"/>
              <a:gd name="connsiteX2" fmla="*/ 120650 w 1605827"/>
              <a:gd name="connsiteY2" fmla="*/ 603519 h 628919"/>
              <a:gd name="connsiteX3" fmla="*/ 161925 w 1605827"/>
              <a:gd name="connsiteY3" fmla="*/ 597169 h 628919"/>
              <a:gd name="connsiteX4" fmla="*/ 244475 w 1605827"/>
              <a:gd name="connsiteY4" fmla="*/ 571769 h 628919"/>
              <a:gd name="connsiteX5" fmla="*/ 349250 w 1605827"/>
              <a:gd name="connsiteY5" fmla="*/ 552719 h 628919"/>
              <a:gd name="connsiteX6" fmla="*/ 422275 w 1605827"/>
              <a:gd name="connsiteY6" fmla="*/ 517794 h 628919"/>
              <a:gd name="connsiteX7" fmla="*/ 511175 w 1605827"/>
              <a:gd name="connsiteY7" fmla="*/ 486044 h 628919"/>
              <a:gd name="connsiteX8" fmla="*/ 600075 w 1605827"/>
              <a:gd name="connsiteY8" fmla="*/ 463819 h 628919"/>
              <a:gd name="connsiteX9" fmla="*/ 650875 w 1605827"/>
              <a:gd name="connsiteY9" fmla="*/ 438419 h 628919"/>
              <a:gd name="connsiteX10" fmla="*/ 736600 w 1605827"/>
              <a:gd name="connsiteY10" fmla="*/ 403494 h 628919"/>
              <a:gd name="connsiteX11" fmla="*/ 777875 w 1605827"/>
              <a:gd name="connsiteY11" fmla="*/ 390794 h 628919"/>
              <a:gd name="connsiteX12" fmla="*/ 828675 w 1605827"/>
              <a:gd name="connsiteY12" fmla="*/ 374919 h 628919"/>
              <a:gd name="connsiteX13" fmla="*/ 898525 w 1605827"/>
              <a:gd name="connsiteY13" fmla="*/ 359044 h 628919"/>
              <a:gd name="connsiteX14" fmla="*/ 946150 w 1605827"/>
              <a:gd name="connsiteY14" fmla="*/ 339994 h 628919"/>
              <a:gd name="connsiteX15" fmla="*/ 977900 w 1605827"/>
              <a:gd name="connsiteY15" fmla="*/ 305069 h 628919"/>
              <a:gd name="connsiteX16" fmla="*/ 1012825 w 1605827"/>
              <a:gd name="connsiteY16" fmla="*/ 266969 h 628919"/>
              <a:gd name="connsiteX17" fmla="*/ 1076325 w 1605827"/>
              <a:gd name="connsiteY17" fmla="*/ 263794 h 628919"/>
              <a:gd name="connsiteX18" fmla="*/ 1146175 w 1605827"/>
              <a:gd name="connsiteY18" fmla="*/ 254269 h 628919"/>
              <a:gd name="connsiteX19" fmla="*/ 1168400 w 1605827"/>
              <a:gd name="connsiteY19" fmla="*/ 225694 h 628919"/>
              <a:gd name="connsiteX20" fmla="*/ 1181100 w 1605827"/>
              <a:gd name="connsiteY20" fmla="*/ 184419 h 628919"/>
              <a:gd name="connsiteX21" fmla="*/ 1200150 w 1605827"/>
              <a:gd name="connsiteY21" fmla="*/ 162194 h 628919"/>
              <a:gd name="connsiteX22" fmla="*/ 1244600 w 1605827"/>
              <a:gd name="connsiteY22" fmla="*/ 149494 h 628919"/>
              <a:gd name="connsiteX23" fmla="*/ 1285875 w 1605827"/>
              <a:gd name="connsiteY23" fmla="*/ 79644 h 628919"/>
              <a:gd name="connsiteX24" fmla="*/ 1343025 w 1605827"/>
              <a:gd name="connsiteY24" fmla="*/ 66944 h 628919"/>
              <a:gd name="connsiteX25" fmla="*/ 1441450 w 1605827"/>
              <a:gd name="connsiteY25" fmla="*/ 41544 h 628919"/>
              <a:gd name="connsiteX26" fmla="*/ 1565275 w 1605827"/>
              <a:gd name="connsiteY26" fmla="*/ 16144 h 628919"/>
              <a:gd name="connsiteX27" fmla="*/ 1605827 w 1605827"/>
              <a:gd name="connsiteY27" fmla="*/ 0 h 628919"/>
              <a:gd name="connsiteX0" fmla="*/ 0 w 1565275"/>
              <a:gd name="connsiteY0" fmla="*/ 612775 h 612775"/>
              <a:gd name="connsiteX1" fmla="*/ 57150 w 1565275"/>
              <a:gd name="connsiteY1" fmla="*/ 587375 h 612775"/>
              <a:gd name="connsiteX2" fmla="*/ 120650 w 1565275"/>
              <a:gd name="connsiteY2" fmla="*/ 587375 h 612775"/>
              <a:gd name="connsiteX3" fmla="*/ 161925 w 1565275"/>
              <a:gd name="connsiteY3" fmla="*/ 581025 h 612775"/>
              <a:gd name="connsiteX4" fmla="*/ 244475 w 1565275"/>
              <a:gd name="connsiteY4" fmla="*/ 555625 h 612775"/>
              <a:gd name="connsiteX5" fmla="*/ 349250 w 1565275"/>
              <a:gd name="connsiteY5" fmla="*/ 536575 h 612775"/>
              <a:gd name="connsiteX6" fmla="*/ 422275 w 1565275"/>
              <a:gd name="connsiteY6" fmla="*/ 501650 h 612775"/>
              <a:gd name="connsiteX7" fmla="*/ 511175 w 1565275"/>
              <a:gd name="connsiteY7" fmla="*/ 469900 h 612775"/>
              <a:gd name="connsiteX8" fmla="*/ 600075 w 1565275"/>
              <a:gd name="connsiteY8" fmla="*/ 447675 h 612775"/>
              <a:gd name="connsiteX9" fmla="*/ 650875 w 1565275"/>
              <a:gd name="connsiteY9" fmla="*/ 422275 h 612775"/>
              <a:gd name="connsiteX10" fmla="*/ 736600 w 1565275"/>
              <a:gd name="connsiteY10" fmla="*/ 387350 h 612775"/>
              <a:gd name="connsiteX11" fmla="*/ 777875 w 1565275"/>
              <a:gd name="connsiteY11" fmla="*/ 374650 h 612775"/>
              <a:gd name="connsiteX12" fmla="*/ 828675 w 1565275"/>
              <a:gd name="connsiteY12" fmla="*/ 358775 h 612775"/>
              <a:gd name="connsiteX13" fmla="*/ 898525 w 1565275"/>
              <a:gd name="connsiteY13" fmla="*/ 342900 h 612775"/>
              <a:gd name="connsiteX14" fmla="*/ 946150 w 1565275"/>
              <a:gd name="connsiteY14" fmla="*/ 323850 h 612775"/>
              <a:gd name="connsiteX15" fmla="*/ 977900 w 1565275"/>
              <a:gd name="connsiteY15" fmla="*/ 288925 h 612775"/>
              <a:gd name="connsiteX16" fmla="*/ 1012825 w 1565275"/>
              <a:gd name="connsiteY16" fmla="*/ 250825 h 612775"/>
              <a:gd name="connsiteX17" fmla="*/ 1076325 w 1565275"/>
              <a:gd name="connsiteY17" fmla="*/ 247650 h 612775"/>
              <a:gd name="connsiteX18" fmla="*/ 1146175 w 1565275"/>
              <a:gd name="connsiteY18" fmla="*/ 238125 h 612775"/>
              <a:gd name="connsiteX19" fmla="*/ 1168400 w 1565275"/>
              <a:gd name="connsiteY19" fmla="*/ 209550 h 612775"/>
              <a:gd name="connsiteX20" fmla="*/ 1181100 w 1565275"/>
              <a:gd name="connsiteY20" fmla="*/ 168275 h 612775"/>
              <a:gd name="connsiteX21" fmla="*/ 1200150 w 1565275"/>
              <a:gd name="connsiteY21" fmla="*/ 146050 h 612775"/>
              <a:gd name="connsiteX22" fmla="*/ 1244600 w 1565275"/>
              <a:gd name="connsiteY22" fmla="*/ 133350 h 612775"/>
              <a:gd name="connsiteX23" fmla="*/ 1285875 w 1565275"/>
              <a:gd name="connsiteY23" fmla="*/ 63500 h 612775"/>
              <a:gd name="connsiteX24" fmla="*/ 1343025 w 1565275"/>
              <a:gd name="connsiteY24" fmla="*/ 50800 h 612775"/>
              <a:gd name="connsiteX25" fmla="*/ 1441450 w 1565275"/>
              <a:gd name="connsiteY25" fmla="*/ 25400 h 612775"/>
              <a:gd name="connsiteX26" fmla="*/ 1565275 w 1565275"/>
              <a:gd name="connsiteY26" fmla="*/ 0 h 612775"/>
              <a:gd name="connsiteX0" fmla="*/ 0 w 1441450"/>
              <a:gd name="connsiteY0" fmla="*/ 587375 h 587375"/>
              <a:gd name="connsiteX1" fmla="*/ 57150 w 1441450"/>
              <a:gd name="connsiteY1" fmla="*/ 561975 h 587375"/>
              <a:gd name="connsiteX2" fmla="*/ 120650 w 1441450"/>
              <a:gd name="connsiteY2" fmla="*/ 561975 h 587375"/>
              <a:gd name="connsiteX3" fmla="*/ 161925 w 1441450"/>
              <a:gd name="connsiteY3" fmla="*/ 555625 h 587375"/>
              <a:gd name="connsiteX4" fmla="*/ 244475 w 1441450"/>
              <a:gd name="connsiteY4" fmla="*/ 530225 h 587375"/>
              <a:gd name="connsiteX5" fmla="*/ 349250 w 1441450"/>
              <a:gd name="connsiteY5" fmla="*/ 511175 h 587375"/>
              <a:gd name="connsiteX6" fmla="*/ 422275 w 1441450"/>
              <a:gd name="connsiteY6" fmla="*/ 476250 h 587375"/>
              <a:gd name="connsiteX7" fmla="*/ 511175 w 1441450"/>
              <a:gd name="connsiteY7" fmla="*/ 444500 h 587375"/>
              <a:gd name="connsiteX8" fmla="*/ 600075 w 1441450"/>
              <a:gd name="connsiteY8" fmla="*/ 422275 h 587375"/>
              <a:gd name="connsiteX9" fmla="*/ 650875 w 1441450"/>
              <a:gd name="connsiteY9" fmla="*/ 396875 h 587375"/>
              <a:gd name="connsiteX10" fmla="*/ 736600 w 1441450"/>
              <a:gd name="connsiteY10" fmla="*/ 361950 h 587375"/>
              <a:gd name="connsiteX11" fmla="*/ 777875 w 1441450"/>
              <a:gd name="connsiteY11" fmla="*/ 349250 h 587375"/>
              <a:gd name="connsiteX12" fmla="*/ 828675 w 1441450"/>
              <a:gd name="connsiteY12" fmla="*/ 333375 h 587375"/>
              <a:gd name="connsiteX13" fmla="*/ 898525 w 1441450"/>
              <a:gd name="connsiteY13" fmla="*/ 317500 h 587375"/>
              <a:gd name="connsiteX14" fmla="*/ 946150 w 1441450"/>
              <a:gd name="connsiteY14" fmla="*/ 298450 h 587375"/>
              <a:gd name="connsiteX15" fmla="*/ 977900 w 1441450"/>
              <a:gd name="connsiteY15" fmla="*/ 263525 h 587375"/>
              <a:gd name="connsiteX16" fmla="*/ 1012825 w 1441450"/>
              <a:gd name="connsiteY16" fmla="*/ 225425 h 587375"/>
              <a:gd name="connsiteX17" fmla="*/ 1076325 w 1441450"/>
              <a:gd name="connsiteY17" fmla="*/ 222250 h 587375"/>
              <a:gd name="connsiteX18" fmla="*/ 1146175 w 1441450"/>
              <a:gd name="connsiteY18" fmla="*/ 212725 h 587375"/>
              <a:gd name="connsiteX19" fmla="*/ 1168400 w 1441450"/>
              <a:gd name="connsiteY19" fmla="*/ 184150 h 587375"/>
              <a:gd name="connsiteX20" fmla="*/ 1181100 w 1441450"/>
              <a:gd name="connsiteY20" fmla="*/ 142875 h 587375"/>
              <a:gd name="connsiteX21" fmla="*/ 1200150 w 1441450"/>
              <a:gd name="connsiteY21" fmla="*/ 120650 h 587375"/>
              <a:gd name="connsiteX22" fmla="*/ 1244600 w 1441450"/>
              <a:gd name="connsiteY22" fmla="*/ 107950 h 587375"/>
              <a:gd name="connsiteX23" fmla="*/ 1285875 w 1441450"/>
              <a:gd name="connsiteY23" fmla="*/ 38100 h 587375"/>
              <a:gd name="connsiteX24" fmla="*/ 1343025 w 1441450"/>
              <a:gd name="connsiteY24" fmla="*/ 25400 h 587375"/>
              <a:gd name="connsiteX25" fmla="*/ 1441450 w 1441450"/>
              <a:gd name="connsiteY25" fmla="*/ 0 h 587375"/>
              <a:gd name="connsiteX0" fmla="*/ 0 w 1343025"/>
              <a:gd name="connsiteY0" fmla="*/ 561975 h 561975"/>
              <a:gd name="connsiteX1" fmla="*/ 57150 w 1343025"/>
              <a:gd name="connsiteY1" fmla="*/ 536575 h 561975"/>
              <a:gd name="connsiteX2" fmla="*/ 120650 w 1343025"/>
              <a:gd name="connsiteY2" fmla="*/ 536575 h 561975"/>
              <a:gd name="connsiteX3" fmla="*/ 161925 w 1343025"/>
              <a:gd name="connsiteY3" fmla="*/ 530225 h 561975"/>
              <a:gd name="connsiteX4" fmla="*/ 244475 w 1343025"/>
              <a:gd name="connsiteY4" fmla="*/ 504825 h 561975"/>
              <a:gd name="connsiteX5" fmla="*/ 349250 w 1343025"/>
              <a:gd name="connsiteY5" fmla="*/ 485775 h 561975"/>
              <a:gd name="connsiteX6" fmla="*/ 422275 w 1343025"/>
              <a:gd name="connsiteY6" fmla="*/ 450850 h 561975"/>
              <a:gd name="connsiteX7" fmla="*/ 511175 w 1343025"/>
              <a:gd name="connsiteY7" fmla="*/ 419100 h 561975"/>
              <a:gd name="connsiteX8" fmla="*/ 600075 w 1343025"/>
              <a:gd name="connsiteY8" fmla="*/ 396875 h 561975"/>
              <a:gd name="connsiteX9" fmla="*/ 650875 w 1343025"/>
              <a:gd name="connsiteY9" fmla="*/ 371475 h 561975"/>
              <a:gd name="connsiteX10" fmla="*/ 736600 w 1343025"/>
              <a:gd name="connsiteY10" fmla="*/ 336550 h 561975"/>
              <a:gd name="connsiteX11" fmla="*/ 777875 w 1343025"/>
              <a:gd name="connsiteY11" fmla="*/ 323850 h 561975"/>
              <a:gd name="connsiteX12" fmla="*/ 828675 w 1343025"/>
              <a:gd name="connsiteY12" fmla="*/ 307975 h 561975"/>
              <a:gd name="connsiteX13" fmla="*/ 898525 w 1343025"/>
              <a:gd name="connsiteY13" fmla="*/ 292100 h 561975"/>
              <a:gd name="connsiteX14" fmla="*/ 946150 w 1343025"/>
              <a:gd name="connsiteY14" fmla="*/ 273050 h 561975"/>
              <a:gd name="connsiteX15" fmla="*/ 977900 w 1343025"/>
              <a:gd name="connsiteY15" fmla="*/ 238125 h 561975"/>
              <a:gd name="connsiteX16" fmla="*/ 1012825 w 1343025"/>
              <a:gd name="connsiteY16" fmla="*/ 200025 h 561975"/>
              <a:gd name="connsiteX17" fmla="*/ 1076325 w 1343025"/>
              <a:gd name="connsiteY17" fmla="*/ 196850 h 561975"/>
              <a:gd name="connsiteX18" fmla="*/ 1146175 w 1343025"/>
              <a:gd name="connsiteY18" fmla="*/ 187325 h 561975"/>
              <a:gd name="connsiteX19" fmla="*/ 1168400 w 1343025"/>
              <a:gd name="connsiteY19" fmla="*/ 158750 h 561975"/>
              <a:gd name="connsiteX20" fmla="*/ 1181100 w 1343025"/>
              <a:gd name="connsiteY20" fmla="*/ 117475 h 561975"/>
              <a:gd name="connsiteX21" fmla="*/ 1200150 w 1343025"/>
              <a:gd name="connsiteY21" fmla="*/ 95250 h 561975"/>
              <a:gd name="connsiteX22" fmla="*/ 1244600 w 1343025"/>
              <a:gd name="connsiteY22" fmla="*/ 82550 h 561975"/>
              <a:gd name="connsiteX23" fmla="*/ 1285875 w 1343025"/>
              <a:gd name="connsiteY23" fmla="*/ 12700 h 561975"/>
              <a:gd name="connsiteX24" fmla="*/ 1343025 w 1343025"/>
              <a:gd name="connsiteY24" fmla="*/ 0 h 561975"/>
              <a:gd name="connsiteX0" fmla="*/ 0 w 1285875"/>
              <a:gd name="connsiteY0" fmla="*/ 549275 h 549275"/>
              <a:gd name="connsiteX1" fmla="*/ 57150 w 1285875"/>
              <a:gd name="connsiteY1" fmla="*/ 523875 h 549275"/>
              <a:gd name="connsiteX2" fmla="*/ 120650 w 1285875"/>
              <a:gd name="connsiteY2" fmla="*/ 523875 h 549275"/>
              <a:gd name="connsiteX3" fmla="*/ 161925 w 1285875"/>
              <a:gd name="connsiteY3" fmla="*/ 517525 h 549275"/>
              <a:gd name="connsiteX4" fmla="*/ 244475 w 1285875"/>
              <a:gd name="connsiteY4" fmla="*/ 492125 h 549275"/>
              <a:gd name="connsiteX5" fmla="*/ 349250 w 1285875"/>
              <a:gd name="connsiteY5" fmla="*/ 473075 h 549275"/>
              <a:gd name="connsiteX6" fmla="*/ 422275 w 1285875"/>
              <a:gd name="connsiteY6" fmla="*/ 438150 h 549275"/>
              <a:gd name="connsiteX7" fmla="*/ 511175 w 1285875"/>
              <a:gd name="connsiteY7" fmla="*/ 406400 h 549275"/>
              <a:gd name="connsiteX8" fmla="*/ 600075 w 1285875"/>
              <a:gd name="connsiteY8" fmla="*/ 384175 h 549275"/>
              <a:gd name="connsiteX9" fmla="*/ 650875 w 1285875"/>
              <a:gd name="connsiteY9" fmla="*/ 358775 h 549275"/>
              <a:gd name="connsiteX10" fmla="*/ 736600 w 1285875"/>
              <a:gd name="connsiteY10" fmla="*/ 323850 h 549275"/>
              <a:gd name="connsiteX11" fmla="*/ 777875 w 1285875"/>
              <a:gd name="connsiteY11" fmla="*/ 311150 h 549275"/>
              <a:gd name="connsiteX12" fmla="*/ 828675 w 1285875"/>
              <a:gd name="connsiteY12" fmla="*/ 295275 h 549275"/>
              <a:gd name="connsiteX13" fmla="*/ 898525 w 1285875"/>
              <a:gd name="connsiteY13" fmla="*/ 279400 h 549275"/>
              <a:gd name="connsiteX14" fmla="*/ 946150 w 1285875"/>
              <a:gd name="connsiteY14" fmla="*/ 260350 h 549275"/>
              <a:gd name="connsiteX15" fmla="*/ 977900 w 1285875"/>
              <a:gd name="connsiteY15" fmla="*/ 225425 h 549275"/>
              <a:gd name="connsiteX16" fmla="*/ 1012825 w 1285875"/>
              <a:gd name="connsiteY16" fmla="*/ 187325 h 549275"/>
              <a:gd name="connsiteX17" fmla="*/ 1076325 w 1285875"/>
              <a:gd name="connsiteY17" fmla="*/ 184150 h 549275"/>
              <a:gd name="connsiteX18" fmla="*/ 1146175 w 1285875"/>
              <a:gd name="connsiteY18" fmla="*/ 174625 h 549275"/>
              <a:gd name="connsiteX19" fmla="*/ 1168400 w 1285875"/>
              <a:gd name="connsiteY19" fmla="*/ 146050 h 549275"/>
              <a:gd name="connsiteX20" fmla="*/ 1181100 w 1285875"/>
              <a:gd name="connsiteY20" fmla="*/ 104775 h 549275"/>
              <a:gd name="connsiteX21" fmla="*/ 1200150 w 1285875"/>
              <a:gd name="connsiteY21" fmla="*/ 82550 h 549275"/>
              <a:gd name="connsiteX22" fmla="*/ 1244600 w 1285875"/>
              <a:gd name="connsiteY22" fmla="*/ 69850 h 549275"/>
              <a:gd name="connsiteX23" fmla="*/ 1285875 w 1285875"/>
              <a:gd name="connsiteY23" fmla="*/ 0 h 549275"/>
              <a:gd name="connsiteX0" fmla="*/ 0 w 1244600"/>
              <a:gd name="connsiteY0" fmla="*/ 479425 h 479425"/>
              <a:gd name="connsiteX1" fmla="*/ 57150 w 1244600"/>
              <a:gd name="connsiteY1" fmla="*/ 454025 h 479425"/>
              <a:gd name="connsiteX2" fmla="*/ 120650 w 1244600"/>
              <a:gd name="connsiteY2" fmla="*/ 454025 h 479425"/>
              <a:gd name="connsiteX3" fmla="*/ 161925 w 1244600"/>
              <a:gd name="connsiteY3" fmla="*/ 447675 h 479425"/>
              <a:gd name="connsiteX4" fmla="*/ 244475 w 1244600"/>
              <a:gd name="connsiteY4" fmla="*/ 422275 h 479425"/>
              <a:gd name="connsiteX5" fmla="*/ 349250 w 1244600"/>
              <a:gd name="connsiteY5" fmla="*/ 403225 h 479425"/>
              <a:gd name="connsiteX6" fmla="*/ 422275 w 1244600"/>
              <a:gd name="connsiteY6" fmla="*/ 368300 h 479425"/>
              <a:gd name="connsiteX7" fmla="*/ 511175 w 1244600"/>
              <a:gd name="connsiteY7" fmla="*/ 336550 h 479425"/>
              <a:gd name="connsiteX8" fmla="*/ 600075 w 1244600"/>
              <a:gd name="connsiteY8" fmla="*/ 314325 h 479425"/>
              <a:gd name="connsiteX9" fmla="*/ 650875 w 1244600"/>
              <a:gd name="connsiteY9" fmla="*/ 288925 h 479425"/>
              <a:gd name="connsiteX10" fmla="*/ 736600 w 1244600"/>
              <a:gd name="connsiteY10" fmla="*/ 254000 h 479425"/>
              <a:gd name="connsiteX11" fmla="*/ 777875 w 1244600"/>
              <a:gd name="connsiteY11" fmla="*/ 241300 h 479425"/>
              <a:gd name="connsiteX12" fmla="*/ 828675 w 1244600"/>
              <a:gd name="connsiteY12" fmla="*/ 225425 h 479425"/>
              <a:gd name="connsiteX13" fmla="*/ 898525 w 1244600"/>
              <a:gd name="connsiteY13" fmla="*/ 209550 h 479425"/>
              <a:gd name="connsiteX14" fmla="*/ 946150 w 1244600"/>
              <a:gd name="connsiteY14" fmla="*/ 190500 h 479425"/>
              <a:gd name="connsiteX15" fmla="*/ 977900 w 1244600"/>
              <a:gd name="connsiteY15" fmla="*/ 155575 h 479425"/>
              <a:gd name="connsiteX16" fmla="*/ 1012825 w 1244600"/>
              <a:gd name="connsiteY16" fmla="*/ 117475 h 479425"/>
              <a:gd name="connsiteX17" fmla="*/ 1076325 w 1244600"/>
              <a:gd name="connsiteY17" fmla="*/ 114300 h 479425"/>
              <a:gd name="connsiteX18" fmla="*/ 1146175 w 1244600"/>
              <a:gd name="connsiteY18" fmla="*/ 104775 h 479425"/>
              <a:gd name="connsiteX19" fmla="*/ 1168400 w 1244600"/>
              <a:gd name="connsiteY19" fmla="*/ 76200 h 479425"/>
              <a:gd name="connsiteX20" fmla="*/ 1181100 w 1244600"/>
              <a:gd name="connsiteY20" fmla="*/ 34925 h 479425"/>
              <a:gd name="connsiteX21" fmla="*/ 1200150 w 1244600"/>
              <a:gd name="connsiteY21" fmla="*/ 12700 h 479425"/>
              <a:gd name="connsiteX22" fmla="*/ 1244600 w 1244600"/>
              <a:gd name="connsiteY22" fmla="*/ 0 h 479425"/>
              <a:gd name="connsiteX0" fmla="*/ 0 w 1200150"/>
              <a:gd name="connsiteY0" fmla="*/ 466725 h 466725"/>
              <a:gd name="connsiteX1" fmla="*/ 57150 w 1200150"/>
              <a:gd name="connsiteY1" fmla="*/ 441325 h 466725"/>
              <a:gd name="connsiteX2" fmla="*/ 120650 w 1200150"/>
              <a:gd name="connsiteY2" fmla="*/ 441325 h 466725"/>
              <a:gd name="connsiteX3" fmla="*/ 161925 w 1200150"/>
              <a:gd name="connsiteY3" fmla="*/ 434975 h 466725"/>
              <a:gd name="connsiteX4" fmla="*/ 244475 w 1200150"/>
              <a:gd name="connsiteY4" fmla="*/ 409575 h 466725"/>
              <a:gd name="connsiteX5" fmla="*/ 349250 w 1200150"/>
              <a:gd name="connsiteY5" fmla="*/ 390525 h 466725"/>
              <a:gd name="connsiteX6" fmla="*/ 422275 w 1200150"/>
              <a:gd name="connsiteY6" fmla="*/ 355600 h 466725"/>
              <a:gd name="connsiteX7" fmla="*/ 511175 w 1200150"/>
              <a:gd name="connsiteY7" fmla="*/ 323850 h 466725"/>
              <a:gd name="connsiteX8" fmla="*/ 600075 w 1200150"/>
              <a:gd name="connsiteY8" fmla="*/ 301625 h 466725"/>
              <a:gd name="connsiteX9" fmla="*/ 650875 w 1200150"/>
              <a:gd name="connsiteY9" fmla="*/ 276225 h 466725"/>
              <a:gd name="connsiteX10" fmla="*/ 736600 w 1200150"/>
              <a:gd name="connsiteY10" fmla="*/ 241300 h 466725"/>
              <a:gd name="connsiteX11" fmla="*/ 777875 w 1200150"/>
              <a:gd name="connsiteY11" fmla="*/ 228600 h 466725"/>
              <a:gd name="connsiteX12" fmla="*/ 828675 w 1200150"/>
              <a:gd name="connsiteY12" fmla="*/ 212725 h 466725"/>
              <a:gd name="connsiteX13" fmla="*/ 898525 w 1200150"/>
              <a:gd name="connsiteY13" fmla="*/ 196850 h 466725"/>
              <a:gd name="connsiteX14" fmla="*/ 946150 w 1200150"/>
              <a:gd name="connsiteY14" fmla="*/ 177800 h 466725"/>
              <a:gd name="connsiteX15" fmla="*/ 977900 w 1200150"/>
              <a:gd name="connsiteY15" fmla="*/ 142875 h 466725"/>
              <a:gd name="connsiteX16" fmla="*/ 1012825 w 1200150"/>
              <a:gd name="connsiteY16" fmla="*/ 104775 h 466725"/>
              <a:gd name="connsiteX17" fmla="*/ 1076325 w 1200150"/>
              <a:gd name="connsiteY17" fmla="*/ 101600 h 466725"/>
              <a:gd name="connsiteX18" fmla="*/ 1146175 w 1200150"/>
              <a:gd name="connsiteY18" fmla="*/ 92075 h 466725"/>
              <a:gd name="connsiteX19" fmla="*/ 1168400 w 1200150"/>
              <a:gd name="connsiteY19" fmla="*/ 63500 h 466725"/>
              <a:gd name="connsiteX20" fmla="*/ 1181100 w 1200150"/>
              <a:gd name="connsiteY20" fmla="*/ 22225 h 466725"/>
              <a:gd name="connsiteX21" fmla="*/ 1200150 w 1200150"/>
              <a:gd name="connsiteY21" fmla="*/ 0 h 466725"/>
              <a:gd name="connsiteX0" fmla="*/ 0 w 1181100"/>
              <a:gd name="connsiteY0" fmla="*/ 444500 h 444500"/>
              <a:gd name="connsiteX1" fmla="*/ 57150 w 1181100"/>
              <a:gd name="connsiteY1" fmla="*/ 419100 h 444500"/>
              <a:gd name="connsiteX2" fmla="*/ 120650 w 1181100"/>
              <a:gd name="connsiteY2" fmla="*/ 419100 h 444500"/>
              <a:gd name="connsiteX3" fmla="*/ 161925 w 1181100"/>
              <a:gd name="connsiteY3" fmla="*/ 412750 h 444500"/>
              <a:gd name="connsiteX4" fmla="*/ 244475 w 1181100"/>
              <a:gd name="connsiteY4" fmla="*/ 387350 h 444500"/>
              <a:gd name="connsiteX5" fmla="*/ 349250 w 1181100"/>
              <a:gd name="connsiteY5" fmla="*/ 368300 h 444500"/>
              <a:gd name="connsiteX6" fmla="*/ 422275 w 1181100"/>
              <a:gd name="connsiteY6" fmla="*/ 333375 h 444500"/>
              <a:gd name="connsiteX7" fmla="*/ 511175 w 1181100"/>
              <a:gd name="connsiteY7" fmla="*/ 301625 h 444500"/>
              <a:gd name="connsiteX8" fmla="*/ 600075 w 1181100"/>
              <a:gd name="connsiteY8" fmla="*/ 279400 h 444500"/>
              <a:gd name="connsiteX9" fmla="*/ 650875 w 1181100"/>
              <a:gd name="connsiteY9" fmla="*/ 254000 h 444500"/>
              <a:gd name="connsiteX10" fmla="*/ 736600 w 1181100"/>
              <a:gd name="connsiteY10" fmla="*/ 219075 h 444500"/>
              <a:gd name="connsiteX11" fmla="*/ 777875 w 1181100"/>
              <a:gd name="connsiteY11" fmla="*/ 206375 h 444500"/>
              <a:gd name="connsiteX12" fmla="*/ 828675 w 1181100"/>
              <a:gd name="connsiteY12" fmla="*/ 190500 h 444500"/>
              <a:gd name="connsiteX13" fmla="*/ 898525 w 1181100"/>
              <a:gd name="connsiteY13" fmla="*/ 174625 h 444500"/>
              <a:gd name="connsiteX14" fmla="*/ 946150 w 1181100"/>
              <a:gd name="connsiteY14" fmla="*/ 155575 h 444500"/>
              <a:gd name="connsiteX15" fmla="*/ 977900 w 1181100"/>
              <a:gd name="connsiteY15" fmla="*/ 120650 h 444500"/>
              <a:gd name="connsiteX16" fmla="*/ 1012825 w 1181100"/>
              <a:gd name="connsiteY16" fmla="*/ 82550 h 444500"/>
              <a:gd name="connsiteX17" fmla="*/ 1076325 w 1181100"/>
              <a:gd name="connsiteY17" fmla="*/ 79375 h 444500"/>
              <a:gd name="connsiteX18" fmla="*/ 1146175 w 1181100"/>
              <a:gd name="connsiteY18" fmla="*/ 69850 h 444500"/>
              <a:gd name="connsiteX19" fmla="*/ 1168400 w 1181100"/>
              <a:gd name="connsiteY19" fmla="*/ 41275 h 444500"/>
              <a:gd name="connsiteX20" fmla="*/ 1181100 w 1181100"/>
              <a:gd name="connsiteY20" fmla="*/ 0 h 444500"/>
              <a:gd name="connsiteX0" fmla="*/ 0 w 1168400"/>
              <a:gd name="connsiteY0" fmla="*/ 403225 h 403225"/>
              <a:gd name="connsiteX1" fmla="*/ 57150 w 1168400"/>
              <a:gd name="connsiteY1" fmla="*/ 377825 h 403225"/>
              <a:gd name="connsiteX2" fmla="*/ 120650 w 1168400"/>
              <a:gd name="connsiteY2" fmla="*/ 377825 h 403225"/>
              <a:gd name="connsiteX3" fmla="*/ 161925 w 1168400"/>
              <a:gd name="connsiteY3" fmla="*/ 371475 h 403225"/>
              <a:gd name="connsiteX4" fmla="*/ 244475 w 1168400"/>
              <a:gd name="connsiteY4" fmla="*/ 346075 h 403225"/>
              <a:gd name="connsiteX5" fmla="*/ 349250 w 1168400"/>
              <a:gd name="connsiteY5" fmla="*/ 327025 h 403225"/>
              <a:gd name="connsiteX6" fmla="*/ 422275 w 1168400"/>
              <a:gd name="connsiteY6" fmla="*/ 292100 h 403225"/>
              <a:gd name="connsiteX7" fmla="*/ 511175 w 1168400"/>
              <a:gd name="connsiteY7" fmla="*/ 260350 h 403225"/>
              <a:gd name="connsiteX8" fmla="*/ 600075 w 1168400"/>
              <a:gd name="connsiteY8" fmla="*/ 238125 h 403225"/>
              <a:gd name="connsiteX9" fmla="*/ 650875 w 1168400"/>
              <a:gd name="connsiteY9" fmla="*/ 212725 h 403225"/>
              <a:gd name="connsiteX10" fmla="*/ 736600 w 1168400"/>
              <a:gd name="connsiteY10" fmla="*/ 177800 h 403225"/>
              <a:gd name="connsiteX11" fmla="*/ 777875 w 1168400"/>
              <a:gd name="connsiteY11" fmla="*/ 165100 h 403225"/>
              <a:gd name="connsiteX12" fmla="*/ 828675 w 1168400"/>
              <a:gd name="connsiteY12" fmla="*/ 149225 h 403225"/>
              <a:gd name="connsiteX13" fmla="*/ 898525 w 1168400"/>
              <a:gd name="connsiteY13" fmla="*/ 133350 h 403225"/>
              <a:gd name="connsiteX14" fmla="*/ 946150 w 1168400"/>
              <a:gd name="connsiteY14" fmla="*/ 114300 h 403225"/>
              <a:gd name="connsiteX15" fmla="*/ 977900 w 1168400"/>
              <a:gd name="connsiteY15" fmla="*/ 79375 h 403225"/>
              <a:gd name="connsiteX16" fmla="*/ 1012825 w 1168400"/>
              <a:gd name="connsiteY16" fmla="*/ 41275 h 403225"/>
              <a:gd name="connsiteX17" fmla="*/ 1076325 w 1168400"/>
              <a:gd name="connsiteY17" fmla="*/ 38100 h 403225"/>
              <a:gd name="connsiteX18" fmla="*/ 1146175 w 1168400"/>
              <a:gd name="connsiteY18" fmla="*/ 28575 h 403225"/>
              <a:gd name="connsiteX19" fmla="*/ 1168400 w 1168400"/>
              <a:gd name="connsiteY19" fmla="*/ 0 h 403225"/>
              <a:gd name="connsiteX0" fmla="*/ 0 w 1146175"/>
              <a:gd name="connsiteY0" fmla="*/ 374650 h 374650"/>
              <a:gd name="connsiteX1" fmla="*/ 57150 w 1146175"/>
              <a:gd name="connsiteY1" fmla="*/ 349250 h 374650"/>
              <a:gd name="connsiteX2" fmla="*/ 120650 w 1146175"/>
              <a:gd name="connsiteY2" fmla="*/ 349250 h 374650"/>
              <a:gd name="connsiteX3" fmla="*/ 161925 w 1146175"/>
              <a:gd name="connsiteY3" fmla="*/ 342900 h 374650"/>
              <a:gd name="connsiteX4" fmla="*/ 244475 w 1146175"/>
              <a:gd name="connsiteY4" fmla="*/ 317500 h 374650"/>
              <a:gd name="connsiteX5" fmla="*/ 349250 w 1146175"/>
              <a:gd name="connsiteY5" fmla="*/ 298450 h 374650"/>
              <a:gd name="connsiteX6" fmla="*/ 422275 w 1146175"/>
              <a:gd name="connsiteY6" fmla="*/ 263525 h 374650"/>
              <a:gd name="connsiteX7" fmla="*/ 511175 w 1146175"/>
              <a:gd name="connsiteY7" fmla="*/ 231775 h 374650"/>
              <a:gd name="connsiteX8" fmla="*/ 600075 w 1146175"/>
              <a:gd name="connsiteY8" fmla="*/ 209550 h 374650"/>
              <a:gd name="connsiteX9" fmla="*/ 650875 w 1146175"/>
              <a:gd name="connsiteY9" fmla="*/ 184150 h 374650"/>
              <a:gd name="connsiteX10" fmla="*/ 736600 w 1146175"/>
              <a:gd name="connsiteY10" fmla="*/ 149225 h 374650"/>
              <a:gd name="connsiteX11" fmla="*/ 777875 w 1146175"/>
              <a:gd name="connsiteY11" fmla="*/ 136525 h 374650"/>
              <a:gd name="connsiteX12" fmla="*/ 828675 w 1146175"/>
              <a:gd name="connsiteY12" fmla="*/ 120650 h 374650"/>
              <a:gd name="connsiteX13" fmla="*/ 898525 w 1146175"/>
              <a:gd name="connsiteY13" fmla="*/ 104775 h 374650"/>
              <a:gd name="connsiteX14" fmla="*/ 946150 w 1146175"/>
              <a:gd name="connsiteY14" fmla="*/ 85725 h 374650"/>
              <a:gd name="connsiteX15" fmla="*/ 977900 w 1146175"/>
              <a:gd name="connsiteY15" fmla="*/ 50800 h 374650"/>
              <a:gd name="connsiteX16" fmla="*/ 1012825 w 1146175"/>
              <a:gd name="connsiteY16" fmla="*/ 12700 h 374650"/>
              <a:gd name="connsiteX17" fmla="*/ 1076325 w 1146175"/>
              <a:gd name="connsiteY17" fmla="*/ 9525 h 374650"/>
              <a:gd name="connsiteX18" fmla="*/ 1146175 w 1146175"/>
              <a:gd name="connsiteY18" fmla="*/ 0 h 374650"/>
              <a:gd name="connsiteX0" fmla="*/ 0 w 1076325"/>
              <a:gd name="connsiteY0" fmla="*/ 365430 h 365430"/>
              <a:gd name="connsiteX1" fmla="*/ 57150 w 1076325"/>
              <a:gd name="connsiteY1" fmla="*/ 340030 h 365430"/>
              <a:gd name="connsiteX2" fmla="*/ 120650 w 1076325"/>
              <a:gd name="connsiteY2" fmla="*/ 340030 h 365430"/>
              <a:gd name="connsiteX3" fmla="*/ 161925 w 1076325"/>
              <a:gd name="connsiteY3" fmla="*/ 333680 h 365430"/>
              <a:gd name="connsiteX4" fmla="*/ 244475 w 1076325"/>
              <a:gd name="connsiteY4" fmla="*/ 308280 h 365430"/>
              <a:gd name="connsiteX5" fmla="*/ 349250 w 1076325"/>
              <a:gd name="connsiteY5" fmla="*/ 289230 h 365430"/>
              <a:gd name="connsiteX6" fmla="*/ 422275 w 1076325"/>
              <a:gd name="connsiteY6" fmla="*/ 254305 h 365430"/>
              <a:gd name="connsiteX7" fmla="*/ 511175 w 1076325"/>
              <a:gd name="connsiteY7" fmla="*/ 222555 h 365430"/>
              <a:gd name="connsiteX8" fmla="*/ 600075 w 1076325"/>
              <a:gd name="connsiteY8" fmla="*/ 200330 h 365430"/>
              <a:gd name="connsiteX9" fmla="*/ 650875 w 1076325"/>
              <a:gd name="connsiteY9" fmla="*/ 174930 h 365430"/>
              <a:gd name="connsiteX10" fmla="*/ 736600 w 1076325"/>
              <a:gd name="connsiteY10" fmla="*/ 140005 h 365430"/>
              <a:gd name="connsiteX11" fmla="*/ 777875 w 1076325"/>
              <a:gd name="connsiteY11" fmla="*/ 127305 h 365430"/>
              <a:gd name="connsiteX12" fmla="*/ 828675 w 1076325"/>
              <a:gd name="connsiteY12" fmla="*/ 111430 h 365430"/>
              <a:gd name="connsiteX13" fmla="*/ 898525 w 1076325"/>
              <a:gd name="connsiteY13" fmla="*/ 95555 h 365430"/>
              <a:gd name="connsiteX14" fmla="*/ 946150 w 1076325"/>
              <a:gd name="connsiteY14" fmla="*/ 76505 h 365430"/>
              <a:gd name="connsiteX15" fmla="*/ 977900 w 1076325"/>
              <a:gd name="connsiteY15" fmla="*/ 41580 h 365430"/>
              <a:gd name="connsiteX16" fmla="*/ 1012825 w 1076325"/>
              <a:gd name="connsiteY16" fmla="*/ 3480 h 365430"/>
              <a:gd name="connsiteX17" fmla="*/ 1076325 w 1076325"/>
              <a:gd name="connsiteY17" fmla="*/ 305 h 365430"/>
              <a:gd name="connsiteX0" fmla="*/ 0 w 1012825"/>
              <a:gd name="connsiteY0" fmla="*/ 361950 h 361950"/>
              <a:gd name="connsiteX1" fmla="*/ 57150 w 1012825"/>
              <a:gd name="connsiteY1" fmla="*/ 336550 h 361950"/>
              <a:gd name="connsiteX2" fmla="*/ 120650 w 1012825"/>
              <a:gd name="connsiteY2" fmla="*/ 336550 h 361950"/>
              <a:gd name="connsiteX3" fmla="*/ 161925 w 1012825"/>
              <a:gd name="connsiteY3" fmla="*/ 330200 h 361950"/>
              <a:gd name="connsiteX4" fmla="*/ 244475 w 1012825"/>
              <a:gd name="connsiteY4" fmla="*/ 304800 h 361950"/>
              <a:gd name="connsiteX5" fmla="*/ 349250 w 1012825"/>
              <a:gd name="connsiteY5" fmla="*/ 285750 h 361950"/>
              <a:gd name="connsiteX6" fmla="*/ 422275 w 1012825"/>
              <a:gd name="connsiteY6" fmla="*/ 250825 h 361950"/>
              <a:gd name="connsiteX7" fmla="*/ 511175 w 1012825"/>
              <a:gd name="connsiteY7" fmla="*/ 219075 h 361950"/>
              <a:gd name="connsiteX8" fmla="*/ 600075 w 1012825"/>
              <a:gd name="connsiteY8" fmla="*/ 196850 h 361950"/>
              <a:gd name="connsiteX9" fmla="*/ 650875 w 1012825"/>
              <a:gd name="connsiteY9" fmla="*/ 171450 h 361950"/>
              <a:gd name="connsiteX10" fmla="*/ 736600 w 1012825"/>
              <a:gd name="connsiteY10" fmla="*/ 136525 h 361950"/>
              <a:gd name="connsiteX11" fmla="*/ 777875 w 1012825"/>
              <a:gd name="connsiteY11" fmla="*/ 123825 h 361950"/>
              <a:gd name="connsiteX12" fmla="*/ 828675 w 1012825"/>
              <a:gd name="connsiteY12" fmla="*/ 107950 h 361950"/>
              <a:gd name="connsiteX13" fmla="*/ 898525 w 1012825"/>
              <a:gd name="connsiteY13" fmla="*/ 92075 h 361950"/>
              <a:gd name="connsiteX14" fmla="*/ 946150 w 1012825"/>
              <a:gd name="connsiteY14" fmla="*/ 73025 h 361950"/>
              <a:gd name="connsiteX15" fmla="*/ 977900 w 1012825"/>
              <a:gd name="connsiteY15" fmla="*/ 38100 h 361950"/>
              <a:gd name="connsiteX16" fmla="*/ 1012825 w 1012825"/>
              <a:gd name="connsiteY16" fmla="*/ 0 h 361950"/>
              <a:gd name="connsiteX0" fmla="*/ 0 w 977900"/>
              <a:gd name="connsiteY0" fmla="*/ 323850 h 323850"/>
              <a:gd name="connsiteX1" fmla="*/ 57150 w 977900"/>
              <a:gd name="connsiteY1" fmla="*/ 298450 h 323850"/>
              <a:gd name="connsiteX2" fmla="*/ 120650 w 977900"/>
              <a:gd name="connsiteY2" fmla="*/ 298450 h 323850"/>
              <a:gd name="connsiteX3" fmla="*/ 161925 w 977900"/>
              <a:gd name="connsiteY3" fmla="*/ 292100 h 323850"/>
              <a:gd name="connsiteX4" fmla="*/ 244475 w 977900"/>
              <a:gd name="connsiteY4" fmla="*/ 266700 h 323850"/>
              <a:gd name="connsiteX5" fmla="*/ 349250 w 977900"/>
              <a:gd name="connsiteY5" fmla="*/ 247650 h 323850"/>
              <a:gd name="connsiteX6" fmla="*/ 422275 w 977900"/>
              <a:gd name="connsiteY6" fmla="*/ 212725 h 323850"/>
              <a:gd name="connsiteX7" fmla="*/ 511175 w 977900"/>
              <a:gd name="connsiteY7" fmla="*/ 180975 h 323850"/>
              <a:gd name="connsiteX8" fmla="*/ 600075 w 977900"/>
              <a:gd name="connsiteY8" fmla="*/ 158750 h 323850"/>
              <a:gd name="connsiteX9" fmla="*/ 650875 w 977900"/>
              <a:gd name="connsiteY9" fmla="*/ 133350 h 323850"/>
              <a:gd name="connsiteX10" fmla="*/ 736600 w 977900"/>
              <a:gd name="connsiteY10" fmla="*/ 98425 h 323850"/>
              <a:gd name="connsiteX11" fmla="*/ 777875 w 977900"/>
              <a:gd name="connsiteY11" fmla="*/ 85725 h 323850"/>
              <a:gd name="connsiteX12" fmla="*/ 828675 w 977900"/>
              <a:gd name="connsiteY12" fmla="*/ 69850 h 323850"/>
              <a:gd name="connsiteX13" fmla="*/ 898525 w 977900"/>
              <a:gd name="connsiteY13" fmla="*/ 53975 h 323850"/>
              <a:gd name="connsiteX14" fmla="*/ 946150 w 977900"/>
              <a:gd name="connsiteY14" fmla="*/ 34925 h 323850"/>
              <a:gd name="connsiteX15" fmla="*/ 977900 w 977900"/>
              <a:gd name="connsiteY15" fmla="*/ 0 h 323850"/>
              <a:gd name="connsiteX0" fmla="*/ 0 w 946150"/>
              <a:gd name="connsiteY0" fmla="*/ 288925 h 288925"/>
              <a:gd name="connsiteX1" fmla="*/ 57150 w 946150"/>
              <a:gd name="connsiteY1" fmla="*/ 263525 h 288925"/>
              <a:gd name="connsiteX2" fmla="*/ 120650 w 946150"/>
              <a:gd name="connsiteY2" fmla="*/ 263525 h 288925"/>
              <a:gd name="connsiteX3" fmla="*/ 161925 w 946150"/>
              <a:gd name="connsiteY3" fmla="*/ 257175 h 288925"/>
              <a:gd name="connsiteX4" fmla="*/ 244475 w 946150"/>
              <a:gd name="connsiteY4" fmla="*/ 231775 h 288925"/>
              <a:gd name="connsiteX5" fmla="*/ 349250 w 946150"/>
              <a:gd name="connsiteY5" fmla="*/ 212725 h 288925"/>
              <a:gd name="connsiteX6" fmla="*/ 422275 w 946150"/>
              <a:gd name="connsiteY6" fmla="*/ 177800 h 288925"/>
              <a:gd name="connsiteX7" fmla="*/ 511175 w 946150"/>
              <a:gd name="connsiteY7" fmla="*/ 146050 h 288925"/>
              <a:gd name="connsiteX8" fmla="*/ 600075 w 946150"/>
              <a:gd name="connsiteY8" fmla="*/ 123825 h 288925"/>
              <a:gd name="connsiteX9" fmla="*/ 650875 w 946150"/>
              <a:gd name="connsiteY9" fmla="*/ 98425 h 288925"/>
              <a:gd name="connsiteX10" fmla="*/ 736600 w 946150"/>
              <a:gd name="connsiteY10" fmla="*/ 63500 h 288925"/>
              <a:gd name="connsiteX11" fmla="*/ 777875 w 946150"/>
              <a:gd name="connsiteY11" fmla="*/ 50800 h 288925"/>
              <a:gd name="connsiteX12" fmla="*/ 828675 w 946150"/>
              <a:gd name="connsiteY12" fmla="*/ 34925 h 288925"/>
              <a:gd name="connsiteX13" fmla="*/ 898525 w 946150"/>
              <a:gd name="connsiteY13" fmla="*/ 19050 h 288925"/>
              <a:gd name="connsiteX14" fmla="*/ 946150 w 946150"/>
              <a:gd name="connsiteY14" fmla="*/ 0 h 288925"/>
              <a:gd name="connsiteX0" fmla="*/ 0 w 898525"/>
              <a:gd name="connsiteY0" fmla="*/ 269875 h 269875"/>
              <a:gd name="connsiteX1" fmla="*/ 57150 w 898525"/>
              <a:gd name="connsiteY1" fmla="*/ 244475 h 269875"/>
              <a:gd name="connsiteX2" fmla="*/ 120650 w 898525"/>
              <a:gd name="connsiteY2" fmla="*/ 244475 h 269875"/>
              <a:gd name="connsiteX3" fmla="*/ 161925 w 898525"/>
              <a:gd name="connsiteY3" fmla="*/ 238125 h 269875"/>
              <a:gd name="connsiteX4" fmla="*/ 244475 w 898525"/>
              <a:gd name="connsiteY4" fmla="*/ 212725 h 269875"/>
              <a:gd name="connsiteX5" fmla="*/ 349250 w 898525"/>
              <a:gd name="connsiteY5" fmla="*/ 193675 h 269875"/>
              <a:gd name="connsiteX6" fmla="*/ 422275 w 898525"/>
              <a:gd name="connsiteY6" fmla="*/ 158750 h 269875"/>
              <a:gd name="connsiteX7" fmla="*/ 511175 w 898525"/>
              <a:gd name="connsiteY7" fmla="*/ 127000 h 269875"/>
              <a:gd name="connsiteX8" fmla="*/ 600075 w 898525"/>
              <a:gd name="connsiteY8" fmla="*/ 104775 h 269875"/>
              <a:gd name="connsiteX9" fmla="*/ 650875 w 898525"/>
              <a:gd name="connsiteY9" fmla="*/ 79375 h 269875"/>
              <a:gd name="connsiteX10" fmla="*/ 736600 w 898525"/>
              <a:gd name="connsiteY10" fmla="*/ 44450 h 269875"/>
              <a:gd name="connsiteX11" fmla="*/ 777875 w 898525"/>
              <a:gd name="connsiteY11" fmla="*/ 31750 h 269875"/>
              <a:gd name="connsiteX12" fmla="*/ 828675 w 898525"/>
              <a:gd name="connsiteY12" fmla="*/ 15875 h 269875"/>
              <a:gd name="connsiteX13" fmla="*/ 898525 w 898525"/>
              <a:gd name="connsiteY13" fmla="*/ 0 h 269875"/>
              <a:gd name="connsiteX0" fmla="*/ 0 w 828675"/>
              <a:gd name="connsiteY0" fmla="*/ 254000 h 254000"/>
              <a:gd name="connsiteX1" fmla="*/ 57150 w 828675"/>
              <a:gd name="connsiteY1" fmla="*/ 228600 h 254000"/>
              <a:gd name="connsiteX2" fmla="*/ 120650 w 828675"/>
              <a:gd name="connsiteY2" fmla="*/ 228600 h 254000"/>
              <a:gd name="connsiteX3" fmla="*/ 161925 w 828675"/>
              <a:gd name="connsiteY3" fmla="*/ 222250 h 254000"/>
              <a:gd name="connsiteX4" fmla="*/ 244475 w 828675"/>
              <a:gd name="connsiteY4" fmla="*/ 196850 h 254000"/>
              <a:gd name="connsiteX5" fmla="*/ 349250 w 828675"/>
              <a:gd name="connsiteY5" fmla="*/ 177800 h 254000"/>
              <a:gd name="connsiteX6" fmla="*/ 422275 w 828675"/>
              <a:gd name="connsiteY6" fmla="*/ 142875 h 254000"/>
              <a:gd name="connsiteX7" fmla="*/ 511175 w 828675"/>
              <a:gd name="connsiteY7" fmla="*/ 111125 h 254000"/>
              <a:gd name="connsiteX8" fmla="*/ 600075 w 828675"/>
              <a:gd name="connsiteY8" fmla="*/ 88900 h 254000"/>
              <a:gd name="connsiteX9" fmla="*/ 650875 w 828675"/>
              <a:gd name="connsiteY9" fmla="*/ 63500 h 254000"/>
              <a:gd name="connsiteX10" fmla="*/ 736600 w 828675"/>
              <a:gd name="connsiteY10" fmla="*/ 28575 h 254000"/>
              <a:gd name="connsiteX11" fmla="*/ 777875 w 828675"/>
              <a:gd name="connsiteY11" fmla="*/ 15875 h 254000"/>
              <a:gd name="connsiteX12" fmla="*/ 828675 w 828675"/>
              <a:gd name="connsiteY12" fmla="*/ 0 h 254000"/>
              <a:gd name="connsiteX0" fmla="*/ 0 w 777875"/>
              <a:gd name="connsiteY0" fmla="*/ 238125 h 238125"/>
              <a:gd name="connsiteX1" fmla="*/ 57150 w 777875"/>
              <a:gd name="connsiteY1" fmla="*/ 212725 h 238125"/>
              <a:gd name="connsiteX2" fmla="*/ 120650 w 777875"/>
              <a:gd name="connsiteY2" fmla="*/ 212725 h 238125"/>
              <a:gd name="connsiteX3" fmla="*/ 161925 w 777875"/>
              <a:gd name="connsiteY3" fmla="*/ 206375 h 238125"/>
              <a:gd name="connsiteX4" fmla="*/ 244475 w 777875"/>
              <a:gd name="connsiteY4" fmla="*/ 180975 h 238125"/>
              <a:gd name="connsiteX5" fmla="*/ 349250 w 777875"/>
              <a:gd name="connsiteY5" fmla="*/ 161925 h 238125"/>
              <a:gd name="connsiteX6" fmla="*/ 422275 w 777875"/>
              <a:gd name="connsiteY6" fmla="*/ 127000 h 238125"/>
              <a:gd name="connsiteX7" fmla="*/ 511175 w 777875"/>
              <a:gd name="connsiteY7" fmla="*/ 95250 h 238125"/>
              <a:gd name="connsiteX8" fmla="*/ 600075 w 777875"/>
              <a:gd name="connsiteY8" fmla="*/ 73025 h 238125"/>
              <a:gd name="connsiteX9" fmla="*/ 650875 w 777875"/>
              <a:gd name="connsiteY9" fmla="*/ 47625 h 238125"/>
              <a:gd name="connsiteX10" fmla="*/ 736600 w 777875"/>
              <a:gd name="connsiteY10" fmla="*/ 12700 h 238125"/>
              <a:gd name="connsiteX11" fmla="*/ 777875 w 777875"/>
              <a:gd name="connsiteY11" fmla="*/ 0 h 238125"/>
              <a:gd name="connsiteX0" fmla="*/ 0 w 736600"/>
              <a:gd name="connsiteY0" fmla="*/ 225425 h 225425"/>
              <a:gd name="connsiteX1" fmla="*/ 57150 w 736600"/>
              <a:gd name="connsiteY1" fmla="*/ 200025 h 225425"/>
              <a:gd name="connsiteX2" fmla="*/ 120650 w 736600"/>
              <a:gd name="connsiteY2" fmla="*/ 200025 h 225425"/>
              <a:gd name="connsiteX3" fmla="*/ 161925 w 736600"/>
              <a:gd name="connsiteY3" fmla="*/ 193675 h 225425"/>
              <a:gd name="connsiteX4" fmla="*/ 244475 w 736600"/>
              <a:gd name="connsiteY4" fmla="*/ 168275 h 225425"/>
              <a:gd name="connsiteX5" fmla="*/ 349250 w 736600"/>
              <a:gd name="connsiteY5" fmla="*/ 149225 h 225425"/>
              <a:gd name="connsiteX6" fmla="*/ 422275 w 736600"/>
              <a:gd name="connsiteY6" fmla="*/ 114300 h 225425"/>
              <a:gd name="connsiteX7" fmla="*/ 511175 w 736600"/>
              <a:gd name="connsiteY7" fmla="*/ 82550 h 225425"/>
              <a:gd name="connsiteX8" fmla="*/ 600075 w 736600"/>
              <a:gd name="connsiteY8" fmla="*/ 60325 h 225425"/>
              <a:gd name="connsiteX9" fmla="*/ 650875 w 736600"/>
              <a:gd name="connsiteY9" fmla="*/ 34925 h 225425"/>
              <a:gd name="connsiteX10" fmla="*/ 736600 w 736600"/>
              <a:gd name="connsiteY10" fmla="*/ 0 h 225425"/>
              <a:gd name="connsiteX0" fmla="*/ 0 w 650875"/>
              <a:gd name="connsiteY0" fmla="*/ 190500 h 190500"/>
              <a:gd name="connsiteX1" fmla="*/ 57150 w 650875"/>
              <a:gd name="connsiteY1" fmla="*/ 165100 h 190500"/>
              <a:gd name="connsiteX2" fmla="*/ 120650 w 650875"/>
              <a:gd name="connsiteY2" fmla="*/ 165100 h 190500"/>
              <a:gd name="connsiteX3" fmla="*/ 161925 w 650875"/>
              <a:gd name="connsiteY3" fmla="*/ 158750 h 190500"/>
              <a:gd name="connsiteX4" fmla="*/ 244475 w 650875"/>
              <a:gd name="connsiteY4" fmla="*/ 133350 h 190500"/>
              <a:gd name="connsiteX5" fmla="*/ 349250 w 650875"/>
              <a:gd name="connsiteY5" fmla="*/ 114300 h 190500"/>
              <a:gd name="connsiteX6" fmla="*/ 422275 w 650875"/>
              <a:gd name="connsiteY6" fmla="*/ 79375 h 190500"/>
              <a:gd name="connsiteX7" fmla="*/ 511175 w 650875"/>
              <a:gd name="connsiteY7" fmla="*/ 47625 h 190500"/>
              <a:gd name="connsiteX8" fmla="*/ 600075 w 650875"/>
              <a:gd name="connsiteY8" fmla="*/ 25400 h 190500"/>
              <a:gd name="connsiteX9" fmla="*/ 650875 w 650875"/>
              <a:gd name="connsiteY9" fmla="*/ 0 h 190500"/>
              <a:gd name="connsiteX0" fmla="*/ 0 w 600075"/>
              <a:gd name="connsiteY0" fmla="*/ 165100 h 165100"/>
              <a:gd name="connsiteX1" fmla="*/ 57150 w 600075"/>
              <a:gd name="connsiteY1" fmla="*/ 139700 h 165100"/>
              <a:gd name="connsiteX2" fmla="*/ 120650 w 600075"/>
              <a:gd name="connsiteY2" fmla="*/ 139700 h 165100"/>
              <a:gd name="connsiteX3" fmla="*/ 161925 w 600075"/>
              <a:gd name="connsiteY3" fmla="*/ 133350 h 165100"/>
              <a:gd name="connsiteX4" fmla="*/ 244475 w 600075"/>
              <a:gd name="connsiteY4" fmla="*/ 107950 h 165100"/>
              <a:gd name="connsiteX5" fmla="*/ 349250 w 600075"/>
              <a:gd name="connsiteY5" fmla="*/ 88900 h 165100"/>
              <a:gd name="connsiteX6" fmla="*/ 422275 w 600075"/>
              <a:gd name="connsiteY6" fmla="*/ 53975 h 165100"/>
              <a:gd name="connsiteX7" fmla="*/ 511175 w 600075"/>
              <a:gd name="connsiteY7" fmla="*/ 22225 h 165100"/>
              <a:gd name="connsiteX8" fmla="*/ 600075 w 600075"/>
              <a:gd name="connsiteY8" fmla="*/ 0 h 165100"/>
              <a:gd name="connsiteX0" fmla="*/ 0 w 511175"/>
              <a:gd name="connsiteY0" fmla="*/ 142875 h 142875"/>
              <a:gd name="connsiteX1" fmla="*/ 57150 w 511175"/>
              <a:gd name="connsiteY1" fmla="*/ 117475 h 142875"/>
              <a:gd name="connsiteX2" fmla="*/ 120650 w 511175"/>
              <a:gd name="connsiteY2" fmla="*/ 117475 h 142875"/>
              <a:gd name="connsiteX3" fmla="*/ 161925 w 511175"/>
              <a:gd name="connsiteY3" fmla="*/ 111125 h 142875"/>
              <a:gd name="connsiteX4" fmla="*/ 244475 w 511175"/>
              <a:gd name="connsiteY4" fmla="*/ 85725 h 142875"/>
              <a:gd name="connsiteX5" fmla="*/ 349250 w 511175"/>
              <a:gd name="connsiteY5" fmla="*/ 66675 h 142875"/>
              <a:gd name="connsiteX6" fmla="*/ 422275 w 511175"/>
              <a:gd name="connsiteY6" fmla="*/ 31750 h 142875"/>
              <a:gd name="connsiteX7" fmla="*/ 511175 w 511175"/>
              <a:gd name="connsiteY7" fmla="*/ 0 h 142875"/>
              <a:gd name="connsiteX0" fmla="*/ 0 w 422275"/>
              <a:gd name="connsiteY0" fmla="*/ 111125 h 111125"/>
              <a:gd name="connsiteX1" fmla="*/ 57150 w 422275"/>
              <a:gd name="connsiteY1" fmla="*/ 85725 h 111125"/>
              <a:gd name="connsiteX2" fmla="*/ 120650 w 422275"/>
              <a:gd name="connsiteY2" fmla="*/ 85725 h 111125"/>
              <a:gd name="connsiteX3" fmla="*/ 161925 w 422275"/>
              <a:gd name="connsiteY3" fmla="*/ 79375 h 111125"/>
              <a:gd name="connsiteX4" fmla="*/ 244475 w 422275"/>
              <a:gd name="connsiteY4" fmla="*/ 53975 h 111125"/>
              <a:gd name="connsiteX5" fmla="*/ 349250 w 422275"/>
              <a:gd name="connsiteY5" fmla="*/ 34925 h 111125"/>
              <a:gd name="connsiteX6" fmla="*/ 422275 w 422275"/>
              <a:gd name="connsiteY6" fmla="*/ 0 h 111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275" h="111125">
                <a:moveTo>
                  <a:pt x="0" y="111125"/>
                </a:moveTo>
                <a:cubicBezTo>
                  <a:pt x="18521" y="100541"/>
                  <a:pt x="37042" y="89958"/>
                  <a:pt x="57150" y="85725"/>
                </a:cubicBezTo>
                <a:cubicBezTo>
                  <a:pt x="77258" y="81492"/>
                  <a:pt x="103188" y="86783"/>
                  <a:pt x="120650" y="85725"/>
                </a:cubicBezTo>
                <a:cubicBezTo>
                  <a:pt x="138112" y="84667"/>
                  <a:pt x="141288" y="84667"/>
                  <a:pt x="161925" y="79375"/>
                </a:cubicBezTo>
                <a:cubicBezTo>
                  <a:pt x="182562" y="74083"/>
                  <a:pt x="213254" y="61383"/>
                  <a:pt x="244475" y="53975"/>
                </a:cubicBezTo>
                <a:cubicBezTo>
                  <a:pt x="275696" y="46567"/>
                  <a:pt x="319617" y="43921"/>
                  <a:pt x="349250" y="34925"/>
                </a:cubicBezTo>
                <a:cubicBezTo>
                  <a:pt x="378883" y="25929"/>
                  <a:pt x="395288" y="11112"/>
                  <a:pt x="422275" y="0"/>
                </a:cubicBezTo>
              </a:path>
            </a:pathLst>
          </a:custGeom>
          <a:solidFill>
            <a:srgbClr val="00B050"/>
          </a:solidFill>
          <a:ln w="101600" cmpd="sng">
            <a:solidFill>
              <a:schemeClr val="tx1">
                <a:lumMod val="65000"/>
                <a:lumOff val="3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5508108" y="2814429"/>
            <a:ext cx="48791" cy="104984"/>
          </a:xfrm>
          <a:prstGeom prst="line">
            <a:avLst/>
          </a:prstGeom>
          <a:ln w="381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Блок-схема: узел 64"/>
          <p:cNvSpPr/>
          <p:nvPr/>
        </p:nvSpPr>
        <p:spPr>
          <a:xfrm>
            <a:off x="4917152" y="2919414"/>
            <a:ext cx="148807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Блок-схема: узел 65"/>
          <p:cNvSpPr/>
          <p:nvPr/>
        </p:nvSpPr>
        <p:spPr>
          <a:xfrm>
            <a:off x="8053539" y="1841558"/>
            <a:ext cx="152400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кругленный прямоугольник 66"/>
          <p:cNvSpPr/>
          <p:nvPr/>
        </p:nvSpPr>
        <p:spPr bwMode="auto">
          <a:xfrm>
            <a:off x="4742966" y="376341"/>
            <a:ext cx="3240271" cy="949196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Ақтөбе-Қандыағаш</a:t>
            </a: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11-100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96 км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2 </a:t>
            </a:r>
          </a:p>
          <a:p>
            <a:pPr>
              <a:lnSpc>
                <a:spcPts val="1100"/>
              </a:lnSpc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ТОО «СМС», ТОО «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Ассана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Дор Строй»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63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АБР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21-2023 ж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23322" y="483519"/>
            <a:ext cx="3303548" cy="712878"/>
          </a:xfrm>
          <a:prstGeom prst="roundRect">
            <a:avLst>
              <a:gd name="adj" fmla="val 8102"/>
            </a:avLst>
          </a:prstGeom>
          <a:solidFill>
            <a:schemeClr val="bg1">
              <a:lumMod val="95000"/>
            </a:schemeClr>
          </a:solidFill>
          <a:ln w="9525">
            <a:solidFill>
              <a:srgbClr val="00206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tabLst>
                <a:tab pos="1704975" algn="l"/>
                <a:tab pos="1793875" algn="l"/>
              </a:tabLst>
              <a:defRPr/>
            </a:pPr>
            <a:r>
              <a:rPr lang="ru-RU" sz="1400" b="1" dirty="0" err="1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Қашықтығы</a:t>
            </a:r>
            <a:r>
              <a:rPr lang="ru-RU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:	</a:t>
            </a:r>
            <a:r>
              <a:rPr lang="ru-RU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- 736 км</a:t>
            </a:r>
          </a:p>
          <a:p>
            <a:pPr>
              <a:lnSpc>
                <a:spcPct val="150000"/>
              </a:lnSpc>
              <a:tabLst>
                <a:tab pos="1704975" algn="l"/>
                <a:tab pos="1793875" algn="l"/>
              </a:tabLst>
              <a:defRPr/>
            </a:pPr>
            <a:r>
              <a:rPr lang="kk-KZ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Толық аяқталуы:</a:t>
            </a:r>
            <a:r>
              <a:rPr lang="kk-KZ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	- 2023 жыл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 bwMode="auto">
          <a:xfrm>
            <a:off x="3400169" y="1346428"/>
            <a:ext cx="2486726" cy="1314605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«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Кандыагаш-Ма</a:t>
            </a:r>
            <a:r>
              <a:rPr lang="kk-KZ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қ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ат</a:t>
            </a: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100-330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cs typeface="Times New Roman" panose="02020603050405020304" pitchFamily="18" charset="0"/>
              </a:rPr>
              <a:t>(Актюбинская область)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214 км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4 </a:t>
            </a:r>
          </a:p>
          <a:p>
            <a:pPr>
              <a:lnSpc>
                <a:spcPts val="1100"/>
              </a:lnSpc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ТОО «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Юнисерв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»,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«</a:t>
            </a:r>
            <a:r>
              <a:rPr lang="en-US" altLang="ru-RU" sz="1050" b="1" i="1" dirty="0" err="1">
                <a:cs typeface="Times New Roman" panose="02020603050405020304" pitchFamily="18" charset="0"/>
              </a:rPr>
              <a:t>Todini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»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 46,7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АБР, РБ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Завершено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– 115 км, </a:t>
            </a:r>
            <a:r>
              <a:rPr lang="ru-RU" altLang="ru-RU" sz="1050" b="1" dirty="0" err="1" smtClean="0">
                <a:solidFill>
                  <a:srgbClr val="0070C0"/>
                </a:solidFill>
                <a:cs typeface="Times New Roman" panose="02020603050405020304" pitchFamily="18" charset="0"/>
              </a:rPr>
              <a:t>қалдық</a:t>
            </a:r>
            <a:r>
              <a:rPr lang="ru-RU" altLang="ru-RU" sz="1050" b="1" i="1" dirty="0" smtClean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100 км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18-2022 ж</a:t>
            </a:r>
          </a:p>
        </p:txBody>
      </p:sp>
      <p:sp>
        <p:nvSpPr>
          <p:cNvPr id="80" name="Скругленный прямоугольник 79"/>
          <p:cNvSpPr/>
          <p:nvPr/>
        </p:nvSpPr>
        <p:spPr bwMode="auto">
          <a:xfrm>
            <a:off x="5552216" y="2957314"/>
            <a:ext cx="3546064" cy="1155791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а/д «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Кандыагаш-Мақат</a:t>
            </a: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» км 330-458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chemeClr val="tx1"/>
                </a:solidFill>
                <a:cs typeface="Times New Roman" panose="02020603050405020304" pitchFamily="18" charset="0"/>
              </a:rPr>
              <a:t>(</a:t>
            </a:r>
            <a:r>
              <a:rPr lang="ru-RU" altLang="ru-RU" sz="1050" b="1" dirty="0" err="1">
                <a:solidFill>
                  <a:schemeClr val="tx1"/>
                </a:solidFill>
                <a:cs typeface="Times New Roman" panose="02020603050405020304" pitchFamily="18" charset="0"/>
              </a:rPr>
              <a:t>Атырауская</a:t>
            </a:r>
            <a:r>
              <a:rPr lang="ru-RU" altLang="ru-RU" sz="1050" b="1" dirty="0">
                <a:solidFill>
                  <a:schemeClr val="tx1"/>
                </a:solidFill>
                <a:cs typeface="Times New Roman" panose="02020603050405020304" pitchFamily="18" charset="0"/>
              </a:rPr>
              <a:t> область)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125 км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3 </a:t>
            </a:r>
          </a:p>
          <a:p>
            <a:pPr>
              <a:lnSpc>
                <a:spcPts val="1100"/>
              </a:lnSpc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«</a:t>
            </a:r>
            <a:r>
              <a:rPr lang="en-US" altLang="ru-RU" sz="1050" b="1" i="1" dirty="0">
                <a:cs typeface="Times New Roman" panose="02020603050405020304" pitchFamily="18" charset="0"/>
              </a:rPr>
              <a:t>Shanghai Construction»</a:t>
            </a:r>
            <a:r>
              <a:rPr lang="ru-RU" altLang="ru-RU" sz="1050" b="1" i="1" dirty="0">
                <a:cs typeface="Times New Roman" panose="02020603050405020304" pitchFamily="18" charset="0"/>
              </a:rPr>
              <a:t>,«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АкЖолКурылыс</a:t>
            </a:r>
            <a:r>
              <a:rPr lang="ru-RU" altLang="ru-RU" sz="1050" b="1" i="1" dirty="0">
                <a:cs typeface="Times New Roman" panose="02020603050405020304" pitchFamily="18" charset="0"/>
              </a:rPr>
              <a:t>»</a:t>
            </a:r>
          </a:p>
          <a:p>
            <a:pPr>
              <a:lnSpc>
                <a:spcPts val="1100"/>
              </a:lnSpc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6,6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АБР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19-2022 ж</a:t>
            </a:r>
          </a:p>
        </p:txBody>
      </p:sp>
      <p:sp>
        <p:nvSpPr>
          <p:cNvPr id="84" name="Полилиния 83"/>
          <p:cNvSpPr/>
          <p:nvPr/>
        </p:nvSpPr>
        <p:spPr>
          <a:xfrm>
            <a:off x="5529911" y="2803230"/>
            <a:ext cx="53975" cy="98527"/>
          </a:xfrm>
          <a:custGeom>
            <a:avLst/>
            <a:gdLst>
              <a:gd name="connsiteX0" fmla="*/ 0 w 107950"/>
              <a:gd name="connsiteY0" fmla="*/ 0 h 76200"/>
              <a:gd name="connsiteX1" fmla="*/ 107950 w 107950"/>
              <a:gd name="connsiteY1" fmla="*/ 76200 h 7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950" h="76200">
                <a:moveTo>
                  <a:pt x="0" y="0"/>
                </a:moveTo>
                <a:lnTo>
                  <a:pt x="107950" y="76200"/>
                </a:lnTo>
              </a:path>
            </a:pathLst>
          </a:cu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6" name="Прямая со стрелкой 85"/>
          <p:cNvCxnSpPr>
            <a:stCxn id="79" idx="3"/>
          </p:cNvCxnSpPr>
          <p:nvPr/>
        </p:nvCxnSpPr>
        <p:spPr>
          <a:xfrm>
            <a:off x="5886895" y="2003731"/>
            <a:ext cx="1245728" cy="224992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126"/>
          <p:cNvSpPr/>
          <p:nvPr/>
        </p:nvSpPr>
        <p:spPr bwMode="auto">
          <a:xfrm>
            <a:off x="328417" y="2017587"/>
            <a:ext cx="2473175" cy="979869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1">
                <a:lumMod val="75000"/>
                <a:lumOff val="25000"/>
              </a:schemeClr>
            </a:solidFill>
            <a:prstDash val="sysDot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«Атырау-</a:t>
            </a:r>
            <a:r>
              <a:rPr lang="ru-RU" altLang="ru-RU" sz="1050" b="1" dirty="0" err="1">
                <a:solidFill>
                  <a:srgbClr val="C00000"/>
                </a:solidFill>
                <a:cs typeface="Times New Roman" panose="02020603050405020304" pitchFamily="18" charset="0"/>
              </a:rPr>
              <a:t>Астрахан</a:t>
            </a:r>
            <a:r>
              <a:rPr lang="ru-RU" altLang="ru-RU" sz="1050" b="1" dirty="0">
                <a:solidFill>
                  <a:srgbClr val="C00000"/>
                </a:solidFill>
                <a:cs typeface="Times New Roman" panose="02020603050405020304" pitchFamily="18" charset="0"/>
              </a:rPr>
              <a:t>»</a:t>
            </a:r>
            <a:r>
              <a:rPr lang="ru-RU" altLang="ru-RU" sz="1050" b="1" dirty="0">
                <a:solidFill>
                  <a:srgbClr val="C00000"/>
                </a:solidFill>
                <a:cs typeface="Arial" panose="020B0604020202020204" pitchFamily="34" charset="0"/>
              </a:rPr>
              <a:t> км 833-893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Жалп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шықтығ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58 км 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Учаске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саны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– 2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дігерлер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СП «СМС»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елісімшарт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сомасы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>
                <a:cs typeface="Times New Roman" panose="02020603050405020304" pitchFamily="18" charset="0"/>
              </a:rPr>
              <a:t>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3,4 </a:t>
            </a:r>
            <a:r>
              <a:rPr lang="ru-RU" altLang="ru-RU" sz="1050" b="1" i="1" dirty="0" err="1">
                <a:cs typeface="Times New Roman" panose="02020603050405020304" pitchFamily="18" charset="0"/>
              </a:rPr>
              <a:t>млрд.тг</a:t>
            </a:r>
            <a:r>
              <a:rPr lang="ru-RU" altLang="ru-RU" sz="1050" b="1" i="1" dirty="0">
                <a:cs typeface="Times New Roman" panose="02020603050405020304" pitchFamily="18" charset="0"/>
              </a:rPr>
              <a:t> </a:t>
            </a:r>
          </a:p>
          <a:p>
            <a:pPr algn="just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Қаржыландыр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көз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–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РБ</a:t>
            </a:r>
          </a:p>
          <a:p>
            <a:pPr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Орындалу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</a:t>
            </a:r>
            <a:r>
              <a:rPr lang="ru-RU" altLang="ru-RU" sz="1050" b="1" dirty="0" err="1">
                <a:solidFill>
                  <a:srgbClr val="0070C0"/>
                </a:solidFill>
                <a:cs typeface="Times New Roman" panose="02020603050405020304" pitchFamily="18" charset="0"/>
              </a:rPr>
              <a:t>мерзімі</a:t>
            </a:r>
            <a:r>
              <a:rPr lang="ru-RU" altLang="ru-RU" sz="1050" b="1" dirty="0">
                <a:solidFill>
                  <a:srgbClr val="0070C0"/>
                </a:solidFill>
                <a:cs typeface="Times New Roman" panose="02020603050405020304" pitchFamily="18" charset="0"/>
              </a:rPr>
              <a:t> -</a:t>
            </a:r>
            <a:r>
              <a:rPr lang="en-US" altLang="ru-RU" sz="1050" b="1" dirty="0">
                <a:cs typeface="Times New Roman" panose="02020603050405020304" pitchFamily="18" charset="0"/>
              </a:rPr>
              <a:t> </a:t>
            </a:r>
            <a:r>
              <a:rPr lang="ru-RU" altLang="ru-RU" sz="1050" b="1" i="1" dirty="0">
                <a:cs typeface="Times New Roman" panose="02020603050405020304" pitchFamily="18" charset="0"/>
              </a:rPr>
              <a:t>2018-2022 ж</a:t>
            </a:r>
          </a:p>
        </p:txBody>
      </p:sp>
      <p:cxnSp>
        <p:nvCxnSpPr>
          <p:cNvPr id="78" name="Прямая со стрелкой 77">
            <a:extLst>
              <a:ext uri="{FF2B5EF4-FFF2-40B4-BE49-F238E27FC236}">
                <a16:creationId xmlns:a16="http://schemas.microsoft.com/office/drawing/2014/main" id="{A1277259-C4D7-4416-9411-888B5A990E27}"/>
              </a:ext>
            </a:extLst>
          </p:cNvPr>
          <p:cNvCxnSpPr>
            <a:cxnSpLocks/>
            <a:stCxn id="127" idx="2"/>
          </p:cNvCxnSpPr>
          <p:nvPr/>
        </p:nvCxnSpPr>
        <p:spPr>
          <a:xfrm>
            <a:off x="1565005" y="2997456"/>
            <a:ext cx="291109" cy="289490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олилиния 43"/>
          <p:cNvSpPr/>
          <p:nvPr/>
        </p:nvSpPr>
        <p:spPr>
          <a:xfrm>
            <a:off x="5563001" y="2549141"/>
            <a:ext cx="800100" cy="291465"/>
          </a:xfrm>
          <a:custGeom>
            <a:avLst/>
            <a:gdLst>
              <a:gd name="connsiteX0" fmla="*/ 0 w 800100"/>
              <a:gd name="connsiteY0" fmla="*/ 388620 h 388620"/>
              <a:gd name="connsiteX1" fmla="*/ 167640 w 800100"/>
              <a:gd name="connsiteY1" fmla="*/ 350520 h 388620"/>
              <a:gd name="connsiteX2" fmla="*/ 228600 w 800100"/>
              <a:gd name="connsiteY2" fmla="*/ 320040 h 388620"/>
              <a:gd name="connsiteX3" fmla="*/ 411480 w 800100"/>
              <a:gd name="connsiteY3" fmla="*/ 259080 h 388620"/>
              <a:gd name="connsiteX4" fmla="*/ 518160 w 800100"/>
              <a:gd name="connsiteY4" fmla="*/ 228600 h 388620"/>
              <a:gd name="connsiteX5" fmla="*/ 571500 w 800100"/>
              <a:gd name="connsiteY5" fmla="*/ 175260 h 388620"/>
              <a:gd name="connsiteX6" fmla="*/ 601980 w 800100"/>
              <a:gd name="connsiteY6" fmla="*/ 137160 h 388620"/>
              <a:gd name="connsiteX7" fmla="*/ 701040 w 800100"/>
              <a:gd name="connsiteY7" fmla="*/ 152400 h 388620"/>
              <a:gd name="connsiteX8" fmla="*/ 731520 w 800100"/>
              <a:gd name="connsiteY8" fmla="*/ 76200 h 388620"/>
              <a:gd name="connsiteX9" fmla="*/ 762000 w 800100"/>
              <a:gd name="connsiteY9" fmla="*/ 45720 h 388620"/>
              <a:gd name="connsiteX10" fmla="*/ 800100 w 800100"/>
              <a:gd name="connsiteY10" fmla="*/ 0 h 388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00100" h="388620">
                <a:moveTo>
                  <a:pt x="0" y="388620"/>
                </a:moveTo>
                <a:cubicBezTo>
                  <a:pt x="64770" y="375285"/>
                  <a:pt x="129540" y="361950"/>
                  <a:pt x="167640" y="350520"/>
                </a:cubicBezTo>
                <a:cubicBezTo>
                  <a:pt x="205740" y="339090"/>
                  <a:pt x="187960" y="335280"/>
                  <a:pt x="228600" y="320040"/>
                </a:cubicBezTo>
                <a:cubicBezTo>
                  <a:pt x="269240" y="304800"/>
                  <a:pt x="363220" y="274320"/>
                  <a:pt x="411480" y="259080"/>
                </a:cubicBezTo>
                <a:cubicBezTo>
                  <a:pt x="459740" y="243840"/>
                  <a:pt x="491490" y="242570"/>
                  <a:pt x="518160" y="228600"/>
                </a:cubicBezTo>
                <a:cubicBezTo>
                  <a:pt x="544830" y="214630"/>
                  <a:pt x="557530" y="190500"/>
                  <a:pt x="571500" y="175260"/>
                </a:cubicBezTo>
                <a:cubicBezTo>
                  <a:pt x="585470" y="160020"/>
                  <a:pt x="580390" y="140970"/>
                  <a:pt x="601980" y="137160"/>
                </a:cubicBezTo>
                <a:cubicBezTo>
                  <a:pt x="623570" y="133350"/>
                  <a:pt x="679450" y="162560"/>
                  <a:pt x="701040" y="152400"/>
                </a:cubicBezTo>
                <a:cubicBezTo>
                  <a:pt x="722630" y="142240"/>
                  <a:pt x="721360" y="93980"/>
                  <a:pt x="731520" y="76200"/>
                </a:cubicBezTo>
                <a:cubicBezTo>
                  <a:pt x="741680" y="58420"/>
                  <a:pt x="750570" y="58420"/>
                  <a:pt x="762000" y="45720"/>
                </a:cubicBezTo>
                <a:cubicBezTo>
                  <a:pt x="773430" y="33020"/>
                  <a:pt x="786765" y="16510"/>
                  <a:pt x="800100" y="0"/>
                </a:cubicBezTo>
              </a:path>
            </a:pathLst>
          </a:custGeom>
          <a:ln w="1143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Полилиния 87"/>
          <p:cNvSpPr/>
          <p:nvPr/>
        </p:nvSpPr>
        <p:spPr>
          <a:xfrm>
            <a:off x="5137150" y="1867224"/>
            <a:ext cx="3011360" cy="1063334"/>
          </a:xfrm>
          <a:custGeom>
            <a:avLst/>
            <a:gdLst>
              <a:gd name="connsiteX0" fmla="*/ 0 w 3011360"/>
              <a:gd name="connsiteY0" fmla="*/ 1417778 h 1417778"/>
              <a:gd name="connsiteX1" fmla="*/ 57150 w 3011360"/>
              <a:gd name="connsiteY1" fmla="*/ 1392378 h 1417778"/>
              <a:gd name="connsiteX2" fmla="*/ 120650 w 3011360"/>
              <a:gd name="connsiteY2" fmla="*/ 1392378 h 1417778"/>
              <a:gd name="connsiteX3" fmla="*/ 161925 w 3011360"/>
              <a:gd name="connsiteY3" fmla="*/ 1386028 h 1417778"/>
              <a:gd name="connsiteX4" fmla="*/ 244475 w 3011360"/>
              <a:gd name="connsiteY4" fmla="*/ 1360628 h 1417778"/>
              <a:gd name="connsiteX5" fmla="*/ 349250 w 3011360"/>
              <a:gd name="connsiteY5" fmla="*/ 1341578 h 1417778"/>
              <a:gd name="connsiteX6" fmla="*/ 422275 w 3011360"/>
              <a:gd name="connsiteY6" fmla="*/ 1306653 h 1417778"/>
              <a:gd name="connsiteX7" fmla="*/ 511175 w 3011360"/>
              <a:gd name="connsiteY7" fmla="*/ 1274903 h 1417778"/>
              <a:gd name="connsiteX8" fmla="*/ 600075 w 3011360"/>
              <a:gd name="connsiteY8" fmla="*/ 1252678 h 1417778"/>
              <a:gd name="connsiteX9" fmla="*/ 650875 w 3011360"/>
              <a:gd name="connsiteY9" fmla="*/ 1227278 h 1417778"/>
              <a:gd name="connsiteX10" fmla="*/ 736600 w 3011360"/>
              <a:gd name="connsiteY10" fmla="*/ 1192353 h 1417778"/>
              <a:gd name="connsiteX11" fmla="*/ 777875 w 3011360"/>
              <a:gd name="connsiteY11" fmla="*/ 1179653 h 1417778"/>
              <a:gd name="connsiteX12" fmla="*/ 828675 w 3011360"/>
              <a:gd name="connsiteY12" fmla="*/ 1163778 h 1417778"/>
              <a:gd name="connsiteX13" fmla="*/ 898525 w 3011360"/>
              <a:gd name="connsiteY13" fmla="*/ 1147903 h 1417778"/>
              <a:gd name="connsiteX14" fmla="*/ 946150 w 3011360"/>
              <a:gd name="connsiteY14" fmla="*/ 1128853 h 1417778"/>
              <a:gd name="connsiteX15" fmla="*/ 977900 w 3011360"/>
              <a:gd name="connsiteY15" fmla="*/ 1093928 h 1417778"/>
              <a:gd name="connsiteX16" fmla="*/ 1012825 w 3011360"/>
              <a:gd name="connsiteY16" fmla="*/ 1055828 h 1417778"/>
              <a:gd name="connsiteX17" fmla="*/ 1076325 w 3011360"/>
              <a:gd name="connsiteY17" fmla="*/ 1052653 h 1417778"/>
              <a:gd name="connsiteX18" fmla="*/ 1146175 w 3011360"/>
              <a:gd name="connsiteY18" fmla="*/ 1043128 h 1417778"/>
              <a:gd name="connsiteX19" fmla="*/ 1168400 w 3011360"/>
              <a:gd name="connsiteY19" fmla="*/ 1014553 h 1417778"/>
              <a:gd name="connsiteX20" fmla="*/ 1181100 w 3011360"/>
              <a:gd name="connsiteY20" fmla="*/ 973278 h 1417778"/>
              <a:gd name="connsiteX21" fmla="*/ 1200150 w 3011360"/>
              <a:gd name="connsiteY21" fmla="*/ 951053 h 1417778"/>
              <a:gd name="connsiteX22" fmla="*/ 1244600 w 3011360"/>
              <a:gd name="connsiteY22" fmla="*/ 938353 h 1417778"/>
              <a:gd name="connsiteX23" fmla="*/ 1285875 w 3011360"/>
              <a:gd name="connsiteY23" fmla="*/ 868503 h 1417778"/>
              <a:gd name="connsiteX24" fmla="*/ 1343025 w 3011360"/>
              <a:gd name="connsiteY24" fmla="*/ 855803 h 1417778"/>
              <a:gd name="connsiteX25" fmla="*/ 1441450 w 3011360"/>
              <a:gd name="connsiteY25" fmla="*/ 830403 h 1417778"/>
              <a:gd name="connsiteX26" fmla="*/ 1565275 w 3011360"/>
              <a:gd name="connsiteY26" fmla="*/ 805003 h 1417778"/>
              <a:gd name="connsiteX27" fmla="*/ 1638300 w 3011360"/>
              <a:gd name="connsiteY27" fmla="*/ 779603 h 1417778"/>
              <a:gd name="connsiteX28" fmla="*/ 1689100 w 3011360"/>
              <a:gd name="connsiteY28" fmla="*/ 792303 h 1417778"/>
              <a:gd name="connsiteX29" fmla="*/ 1774825 w 3011360"/>
              <a:gd name="connsiteY29" fmla="*/ 792303 h 1417778"/>
              <a:gd name="connsiteX30" fmla="*/ 1822450 w 3011360"/>
              <a:gd name="connsiteY30" fmla="*/ 770078 h 1417778"/>
              <a:gd name="connsiteX31" fmla="*/ 1863725 w 3011360"/>
              <a:gd name="connsiteY31" fmla="*/ 738328 h 1417778"/>
              <a:gd name="connsiteX32" fmla="*/ 1892300 w 3011360"/>
              <a:gd name="connsiteY32" fmla="*/ 703403 h 1417778"/>
              <a:gd name="connsiteX33" fmla="*/ 1901825 w 3011360"/>
              <a:gd name="connsiteY33" fmla="*/ 655778 h 1417778"/>
              <a:gd name="connsiteX34" fmla="*/ 1939925 w 3011360"/>
              <a:gd name="connsiteY34" fmla="*/ 617678 h 1417778"/>
              <a:gd name="connsiteX35" fmla="*/ 2012950 w 3011360"/>
              <a:gd name="connsiteY35" fmla="*/ 563703 h 1417778"/>
              <a:gd name="connsiteX36" fmla="*/ 2070100 w 3011360"/>
              <a:gd name="connsiteY36" fmla="*/ 516078 h 1417778"/>
              <a:gd name="connsiteX37" fmla="*/ 2111375 w 3011360"/>
              <a:gd name="connsiteY37" fmla="*/ 468453 h 1417778"/>
              <a:gd name="connsiteX38" fmla="*/ 2178050 w 3011360"/>
              <a:gd name="connsiteY38" fmla="*/ 401778 h 1417778"/>
              <a:gd name="connsiteX39" fmla="*/ 2219325 w 3011360"/>
              <a:gd name="connsiteY39" fmla="*/ 354153 h 1417778"/>
              <a:gd name="connsiteX40" fmla="*/ 2251075 w 3011360"/>
              <a:gd name="connsiteY40" fmla="*/ 319228 h 1417778"/>
              <a:gd name="connsiteX41" fmla="*/ 2282825 w 3011360"/>
              <a:gd name="connsiteY41" fmla="*/ 284303 h 1417778"/>
              <a:gd name="connsiteX42" fmla="*/ 2352675 w 3011360"/>
              <a:gd name="connsiteY42" fmla="*/ 233503 h 1417778"/>
              <a:gd name="connsiteX43" fmla="*/ 2413000 w 3011360"/>
              <a:gd name="connsiteY43" fmla="*/ 214453 h 1417778"/>
              <a:gd name="connsiteX44" fmla="*/ 2486025 w 3011360"/>
              <a:gd name="connsiteY44" fmla="*/ 204928 h 1417778"/>
              <a:gd name="connsiteX45" fmla="*/ 2555875 w 3011360"/>
              <a:gd name="connsiteY45" fmla="*/ 214453 h 1417778"/>
              <a:gd name="connsiteX46" fmla="*/ 2609850 w 3011360"/>
              <a:gd name="connsiteY46" fmla="*/ 208103 h 1417778"/>
              <a:gd name="connsiteX47" fmla="*/ 2673350 w 3011360"/>
              <a:gd name="connsiteY47" fmla="*/ 182703 h 1417778"/>
              <a:gd name="connsiteX48" fmla="*/ 2727325 w 3011360"/>
              <a:gd name="connsiteY48" fmla="*/ 141428 h 1417778"/>
              <a:gd name="connsiteX49" fmla="*/ 2771775 w 3011360"/>
              <a:gd name="connsiteY49" fmla="*/ 109678 h 1417778"/>
              <a:gd name="connsiteX50" fmla="*/ 2813050 w 3011360"/>
              <a:gd name="connsiteY50" fmla="*/ 87453 h 1417778"/>
              <a:gd name="connsiteX51" fmla="*/ 2901950 w 3011360"/>
              <a:gd name="connsiteY51" fmla="*/ 77928 h 1417778"/>
              <a:gd name="connsiteX52" fmla="*/ 2949575 w 3011360"/>
              <a:gd name="connsiteY52" fmla="*/ 65228 h 1417778"/>
              <a:gd name="connsiteX53" fmla="*/ 3003550 w 3011360"/>
              <a:gd name="connsiteY53" fmla="*/ 8078 h 1417778"/>
              <a:gd name="connsiteX54" fmla="*/ 3009900 w 3011360"/>
              <a:gd name="connsiteY54" fmla="*/ 1728 h 1417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3011360" h="1417778">
                <a:moveTo>
                  <a:pt x="0" y="1417778"/>
                </a:moveTo>
                <a:cubicBezTo>
                  <a:pt x="18521" y="1407194"/>
                  <a:pt x="37042" y="1396611"/>
                  <a:pt x="57150" y="1392378"/>
                </a:cubicBezTo>
                <a:cubicBezTo>
                  <a:pt x="77258" y="1388145"/>
                  <a:pt x="103188" y="1393436"/>
                  <a:pt x="120650" y="1392378"/>
                </a:cubicBezTo>
                <a:cubicBezTo>
                  <a:pt x="138112" y="1391320"/>
                  <a:pt x="141288" y="1391320"/>
                  <a:pt x="161925" y="1386028"/>
                </a:cubicBezTo>
                <a:cubicBezTo>
                  <a:pt x="182562" y="1380736"/>
                  <a:pt x="213254" y="1368036"/>
                  <a:pt x="244475" y="1360628"/>
                </a:cubicBezTo>
                <a:cubicBezTo>
                  <a:pt x="275696" y="1353220"/>
                  <a:pt x="319617" y="1350574"/>
                  <a:pt x="349250" y="1341578"/>
                </a:cubicBezTo>
                <a:cubicBezTo>
                  <a:pt x="378883" y="1332582"/>
                  <a:pt x="395288" y="1317765"/>
                  <a:pt x="422275" y="1306653"/>
                </a:cubicBezTo>
                <a:cubicBezTo>
                  <a:pt x="449262" y="1295541"/>
                  <a:pt x="481542" y="1283899"/>
                  <a:pt x="511175" y="1274903"/>
                </a:cubicBezTo>
                <a:cubicBezTo>
                  <a:pt x="540808" y="1265907"/>
                  <a:pt x="576792" y="1260615"/>
                  <a:pt x="600075" y="1252678"/>
                </a:cubicBezTo>
                <a:cubicBezTo>
                  <a:pt x="623358" y="1244740"/>
                  <a:pt x="628121" y="1237332"/>
                  <a:pt x="650875" y="1227278"/>
                </a:cubicBezTo>
                <a:cubicBezTo>
                  <a:pt x="673629" y="1217224"/>
                  <a:pt x="715433" y="1200290"/>
                  <a:pt x="736600" y="1192353"/>
                </a:cubicBezTo>
                <a:cubicBezTo>
                  <a:pt x="757767" y="1184415"/>
                  <a:pt x="777875" y="1179653"/>
                  <a:pt x="777875" y="1179653"/>
                </a:cubicBezTo>
                <a:cubicBezTo>
                  <a:pt x="793221" y="1174890"/>
                  <a:pt x="808567" y="1169070"/>
                  <a:pt x="828675" y="1163778"/>
                </a:cubicBezTo>
                <a:cubicBezTo>
                  <a:pt x="848783" y="1158486"/>
                  <a:pt x="878946" y="1153724"/>
                  <a:pt x="898525" y="1147903"/>
                </a:cubicBezTo>
                <a:cubicBezTo>
                  <a:pt x="918104" y="1142082"/>
                  <a:pt x="932921" y="1137849"/>
                  <a:pt x="946150" y="1128853"/>
                </a:cubicBezTo>
                <a:cubicBezTo>
                  <a:pt x="959379" y="1119857"/>
                  <a:pt x="977900" y="1093928"/>
                  <a:pt x="977900" y="1093928"/>
                </a:cubicBezTo>
                <a:cubicBezTo>
                  <a:pt x="989013" y="1081757"/>
                  <a:pt x="996421" y="1062707"/>
                  <a:pt x="1012825" y="1055828"/>
                </a:cubicBezTo>
                <a:cubicBezTo>
                  <a:pt x="1029229" y="1048949"/>
                  <a:pt x="1054100" y="1054770"/>
                  <a:pt x="1076325" y="1052653"/>
                </a:cubicBezTo>
                <a:cubicBezTo>
                  <a:pt x="1098550" y="1050536"/>
                  <a:pt x="1130829" y="1049478"/>
                  <a:pt x="1146175" y="1043128"/>
                </a:cubicBezTo>
                <a:cubicBezTo>
                  <a:pt x="1161521" y="1036778"/>
                  <a:pt x="1162579" y="1026195"/>
                  <a:pt x="1168400" y="1014553"/>
                </a:cubicBezTo>
                <a:cubicBezTo>
                  <a:pt x="1174221" y="1002911"/>
                  <a:pt x="1175808" y="983861"/>
                  <a:pt x="1181100" y="973278"/>
                </a:cubicBezTo>
                <a:cubicBezTo>
                  <a:pt x="1186392" y="962695"/>
                  <a:pt x="1189567" y="956874"/>
                  <a:pt x="1200150" y="951053"/>
                </a:cubicBezTo>
                <a:cubicBezTo>
                  <a:pt x="1210733" y="945232"/>
                  <a:pt x="1230312" y="952111"/>
                  <a:pt x="1244600" y="938353"/>
                </a:cubicBezTo>
                <a:cubicBezTo>
                  <a:pt x="1258888" y="924595"/>
                  <a:pt x="1269471" y="882261"/>
                  <a:pt x="1285875" y="868503"/>
                </a:cubicBezTo>
                <a:cubicBezTo>
                  <a:pt x="1302279" y="854745"/>
                  <a:pt x="1317096" y="862153"/>
                  <a:pt x="1343025" y="855803"/>
                </a:cubicBezTo>
                <a:cubicBezTo>
                  <a:pt x="1368954" y="849453"/>
                  <a:pt x="1404408" y="838870"/>
                  <a:pt x="1441450" y="830403"/>
                </a:cubicBezTo>
                <a:cubicBezTo>
                  <a:pt x="1478492" y="821936"/>
                  <a:pt x="1532467" y="813470"/>
                  <a:pt x="1565275" y="805003"/>
                </a:cubicBezTo>
                <a:cubicBezTo>
                  <a:pt x="1598083" y="796536"/>
                  <a:pt x="1617663" y="781720"/>
                  <a:pt x="1638300" y="779603"/>
                </a:cubicBezTo>
                <a:cubicBezTo>
                  <a:pt x="1658937" y="777486"/>
                  <a:pt x="1666346" y="790186"/>
                  <a:pt x="1689100" y="792303"/>
                </a:cubicBezTo>
                <a:cubicBezTo>
                  <a:pt x="1711854" y="794420"/>
                  <a:pt x="1752600" y="796007"/>
                  <a:pt x="1774825" y="792303"/>
                </a:cubicBezTo>
                <a:cubicBezTo>
                  <a:pt x="1797050" y="788599"/>
                  <a:pt x="1807633" y="779074"/>
                  <a:pt x="1822450" y="770078"/>
                </a:cubicBezTo>
                <a:cubicBezTo>
                  <a:pt x="1837267" y="761082"/>
                  <a:pt x="1852083" y="749440"/>
                  <a:pt x="1863725" y="738328"/>
                </a:cubicBezTo>
                <a:cubicBezTo>
                  <a:pt x="1875367" y="727215"/>
                  <a:pt x="1885950" y="717161"/>
                  <a:pt x="1892300" y="703403"/>
                </a:cubicBezTo>
                <a:cubicBezTo>
                  <a:pt x="1898650" y="689645"/>
                  <a:pt x="1893888" y="670065"/>
                  <a:pt x="1901825" y="655778"/>
                </a:cubicBezTo>
                <a:cubicBezTo>
                  <a:pt x="1909762" y="641491"/>
                  <a:pt x="1921404" y="633024"/>
                  <a:pt x="1939925" y="617678"/>
                </a:cubicBezTo>
                <a:cubicBezTo>
                  <a:pt x="1958446" y="602332"/>
                  <a:pt x="1991254" y="580636"/>
                  <a:pt x="2012950" y="563703"/>
                </a:cubicBezTo>
                <a:cubicBezTo>
                  <a:pt x="2034646" y="546770"/>
                  <a:pt x="2053696" y="531953"/>
                  <a:pt x="2070100" y="516078"/>
                </a:cubicBezTo>
                <a:cubicBezTo>
                  <a:pt x="2086504" y="500203"/>
                  <a:pt x="2093383" y="487503"/>
                  <a:pt x="2111375" y="468453"/>
                </a:cubicBezTo>
                <a:cubicBezTo>
                  <a:pt x="2129367" y="449403"/>
                  <a:pt x="2160058" y="420828"/>
                  <a:pt x="2178050" y="401778"/>
                </a:cubicBezTo>
                <a:cubicBezTo>
                  <a:pt x="2196042" y="382728"/>
                  <a:pt x="2207154" y="367911"/>
                  <a:pt x="2219325" y="354153"/>
                </a:cubicBezTo>
                <a:cubicBezTo>
                  <a:pt x="2231496" y="340395"/>
                  <a:pt x="2251075" y="319228"/>
                  <a:pt x="2251075" y="319228"/>
                </a:cubicBezTo>
                <a:cubicBezTo>
                  <a:pt x="2261658" y="307586"/>
                  <a:pt x="2265892" y="298590"/>
                  <a:pt x="2282825" y="284303"/>
                </a:cubicBezTo>
                <a:cubicBezTo>
                  <a:pt x="2299758" y="270016"/>
                  <a:pt x="2330979" y="245145"/>
                  <a:pt x="2352675" y="233503"/>
                </a:cubicBezTo>
                <a:cubicBezTo>
                  <a:pt x="2374371" y="221861"/>
                  <a:pt x="2390775" y="219215"/>
                  <a:pt x="2413000" y="214453"/>
                </a:cubicBezTo>
                <a:cubicBezTo>
                  <a:pt x="2435225" y="209690"/>
                  <a:pt x="2462213" y="204928"/>
                  <a:pt x="2486025" y="204928"/>
                </a:cubicBezTo>
                <a:cubicBezTo>
                  <a:pt x="2509837" y="204928"/>
                  <a:pt x="2535238" y="213924"/>
                  <a:pt x="2555875" y="214453"/>
                </a:cubicBezTo>
                <a:cubicBezTo>
                  <a:pt x="2576512" y="214982"/>
                  <a:pt x="2590271" y="213395"/>
                  <a:pt x="2609850" y="208103"/>
                </a:cubicBezTo>
                <a:cubicBezTo>
                  <a:pt x="2629429" y="202811"/>
                  <a:pt x="2653771" y="193815"/>
                  <a:pt x="2673350" y="182703"/>
                </a:cubicBezTo>
                <a:cubicBezTo>
                  <a:pt x="2692929" y="171591"/>
                  <a:pt x="2710921" y="153599"/>
                  <a:pt x="2727325" y="141428"/>
                </a:cubicBezTo>
                <a:cubicBezTo>
                  <a:pt x="2743729" y="129257"/>
                  <a:pt x="2757488" y="118674"/>
                  <a:pt x="2771775" y="109678"/>
                </a:cubicBezTo>
                <a:cubicBezTo>
                  <a:pt x="2786062" y="100682"/>
                  <a:pt x="2791354" y="92745"/>
                  <a:pt x="2813050" y="87453"/>
                </a:cubicBezTo>
                <a:cubicBezTo>
                  <a:pt x="2834746" y="82161"/>
                  <a:pt x="2879196" y="81632"/>
                  <a:pt x="2901950" y="77928"/>
                </a:cubicBezTo>
                <a:cubicBezTo>
                  <a:pt x="2924704" y="74224"/>
                  <a:pt x="2932642" y="76870"/>
                  <a:pt x="2949575" y="65228"/>
                </a:cubicBezTo>
                <a:cubicBezTo>
                  <a:pt x="2966508" y="53586"/>
                  <a:pt x="2993496" y="18661"/>
                  <a:pt x="3003550" y="8078"/>
                </a:cubicBezTo>
                <a:cubicBezTo>
                  <a:pt x="3013604" y="-2505"/>
                  <a:pt x="3011752" y="-389"/>
                  <a:pt x="3009900" y="1728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Полилиния 90"/>
          <p:cNvSpPr/>
          <p:nvPr/>
        </p:nvSpPr>
        <p:spPr>
          <a:xfrm>
            <a:off x="6314007" y="2493324"/>
            <a:ext cx="133901" cy="160048"/>
          </a:xfrm>
          <a:custGeom>
            <a:avLst/>
            <a:gdLst>
              <a:gd name="connsiteX0" fmla="*/ 0 w 107950"/>
              <a:gd name="connsiteY0" fmla="*/ 0 h 76200"/>
              <a:gd name="connsiteX1" fmla="*/ 107950 w 107950"/>
              <a:gd name="connsiteY1" fmla="*/ 76200 h 7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7950" h="76200">
                <a:moveTo>
                  <a:pt x="0" y="0"/>
                </a:moveTo>
                <a:lnTo>
                  <a:pt x="107950" y="76200"/>
                </a:lnTo>
              </a:path>
            </a:pathLst>
          </a:cu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5" name="Прямая со стрелкой 94"/>
          <p:cNvCxnSpPr>
            <a:stCxn id="80" idx="0"/>
            <a:endCxn id="44" idx="3"/>
          </p:cNvCxnSpPr>
          <p:nvPr/>
        </p:nvCxnSpPr>
        <p:spPr>
          <a:xfrm flipH="1" flipV="1">
            <a:off x="5974481" y="2743451"/>
            <a:ext cx="1350767" cy="213863"/>
          </a:xfrm>
          <a:prstGeom prst="straightConnector1">
            <a:avLst/>
          </a:prstGeom>
          <a:ln w="158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AutoShape 19"/>
          <p:cNvSpPr>
            <a:spLocks noChangeArrowheads="1"/>
          </p:cNvSpPr>
          <p:nvPr/>
        </p:nvSpPr>
        <p:spPr bwMode="auto">
          <a:xfrm>
            <a:off x="6481328" y="2605923"/>
            <a:ext cx="2555168" cy="151272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8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төбе</a:t>
            </a: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тырау </a:t>
            </a:r>
            <a:r>
              <a:rPr lang="ru-RU" sz="8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арының</a:t>
            </a:r>
            <a:r>
              <a:rPr lang="ru-RU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сы</a:t>
            </a:r>
            <a:endParaRPr lang="ru-RU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AutoShape 19"/>
          <p:cNvSpPr>
            <a:spLocks noChangeArrowheads="1"/>
          </p:cNvSpPr>
          <p:nvPr/>
        </p:nvSpPr>
        <p:spPr bwMode="auto">
          <a:xfrm>
            <a:off x="1949985" y="3093213"/>
            <a:ext cx="884155" cy="12099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 err="1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рмангазы</a:t>
            </a:r>
            <a:endParaRPr lang="ru-RU" sz="105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Блок-схема: узел 99"/>
          <p:cNvSpPr/>
          <p:nvPr/>
        </p:nvSpPr>
        <p:spPr>
          <a:xfrm>
            <a:off x="1413505" y="3221469"/>
            <a:ext cx="148807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Блок-схема: узел 100"/>
          <p:cNvSpPr/>
          <p:nvPr/>
        </p:nvSpPr>
        <p:spPr>
          <a:xfrm>
            <a:off x="1916144" y="3219302"/>
            <a:ext cx="148807" cy="102119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AutoShape 19"/>
          <p:cNvSpPr>
            <a:spLocks noChangeArrowheads="1"/>
          </p:cNvSpPr>
          <p:nvPr/>
        </p:nvSpPr>
        <p:spPr bwMode="auto">
          <a:xfrm>
            <a:off x="745546" y="3374677"/>
            <a:ext cx="884155" cy="120998"/>
          </a:xfrm>
          <a:prstGeom prst="roundRect">
            <a:avLst>
              <a:gd name="adj" fmla="val 16667"/>
            </a:avLst>
          </a:prstGeom>
          <a:solidFill>
            <a:srgbClr val="FFFFFF">
              <a:alpha val="87843"/>
            </a:srgbClr>
          </a:solidFill>
          <a:ln w="317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tIns="36000" rIns="18000" bIns="36000" anchor="ctr"/>
          <a:lstStyle/>
          <a:p>
            <a:pPr algn="ctr">
              <a:defRPr/>
            </a:pPr>
            <a:r>
              <a:rPr lang="ru-RU" sz="105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тяевка</a:t>
            </a:r>
          </a:p>
        </p:txBody>
      </p:sp>
      <p:sp>
        <p:nvSpPr>
          <p:cNvPr id="82" name="Заголовок 5"/>
          <p:cNvSpPr>
            <a:spLocks/>
          </p:cNvSpPr>
          <p:nvPr/>
        </p:nvSpPr>
        <p:spPr bwMode="auto">
          <a:xfrm>
            <a:off x="23322" y="42203"/>
            <a:ext cx="9078175" cy="297299"/>
          </a:xfrm>
          <a:prstGeom prst="roundRect">
            <a:avLst>
              <a:gd name="adj" fmla="val 8801"/>
            </a:avLst>
          </a:prstGeom>
          <a:solidFill>
            <a:schemeClr val="bg1"/>
          </a:solidFill>
          <a:ln>
            <a:noFill/>
          </a:ln>
        </p:spPr>
        <p:txBody>
          <a:bodyPr lIns="110087" tIns="55043" rIns="110087" bIns="55043" anchor="ctr"/>
          <a:lstStyle/>
          <a:p>
            <a:pPr algn="ctr"/>
            <a:r>
              <a:rPr lang="ru-RU" altLang="ru-RU" sz="1500" dirty="0">
                <a:latin typeface="Impact" pitchFamily="34" charset="0"/>
              </a:rPr>
              <a:t> </a:t>
            </a:r>
            <a:r>
              <a:rPr lang="ru-RU" altLang="ko-KR" sz="15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АҚТӨБЕ-АТЫРАУ – РФ ШЕКАРАСЫ (АСТРАХАНҒА)» АВТОЖОЛЫН РЕКОНСТРУКЦИЯЛАУ </a:t>
            </a:r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>
            <a:off x="2321" y="320659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Номер слайда 3"/>
          <p:cNvSpPr txBox="1">
            <a:spLocks/>
          </p:cNvSpPr>
          <p:nvPr/>
        </p:nvSpPr>
        <p:spPr>
          <a:xfrm>
            <a:off x="7153241" y="4910121"/>
            <a:ext cx="2057797" cy="273350"/>
          </a:xfrm>
          <a:prstGeom prst="rect">
            <a:avLst/>
          </a:prstGeom>
        </p:spPr>
        <p:txBody>
          <a:bodyPr vert="horz" lIns="91336" tIns="45666" rIns="91336" bIns="45666" rtlCol="0" anchor="ctr">
            <a:normAutofit lnSpcReduction="10000"/>
          </a:bodyPr>
          <a:lstStyle>
            <a:defPPr>
              <a:defRPr lang="ru-RU"/>
            </a:defPPr>
            <a:lvl1pPr marL="0" algn="r" defTabSz="913298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6626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298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9940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6597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225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39857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6511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3165" algn="l" defTabSz="91329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8</a:t>
            </a:r>
            <a:endParaRPr lang="ru-RU" dirty="0"/>
          </a:p>
        </p:txBody>
      </p:sp>
      <p:sp>
        <p:nvSpPr>
          <p:cNvPr id="30" name="Блок-схема: узел 29"/>
          <p:cNvSpPr/>
          <p:nvPr/>
        </p:nvSpPr>
        <p:spPr>
          <a:xfrm>
            <a:off x="6101568" y="2493986"/>
            <a:ext cx="135703" cy="107900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олилиния 28"/>
          <p:cNvSpPr/>
          <p:nvPr/>
        </p:nvSpPr>
        <p:spPr>
          <a:xfrm>
            <a:off x="4002662" y="2962130"/>
            <a:ext cx="992037" cy="259840"/>
          </a:xfrm>
          <a:custGeom>
            <a:avLst/>
            <a:gdLst>
              <a:gd name="connsiteX0" fmla="*/ 0 w 992037"/>
              <a:gd name="connsiteY0" fmla="*/ 346453 h 346453"/>
              <a:gd name="connsiteX1" fmla="*/ 120769 w 992037"/>
              <a:gd name="connsiteY1" fmla="*/ 277441 h 346453"/>
              <a:gd name="connsiteX2" fmla="*/ 284671 w 992037"/>
              <a:gd name="connsiteY2" fmla="*/ 199804 h 346453"/>
              <a:gd name="connsiteX3" fmla="*/ 422694 w 992037"/>
              <a:gd name="connsiteY3" fmla="*/ 165298 h 346453"/>
              <a:gd name="connsiteX4" fmla="*/ 491705 w 992037"/>
              <a:gd name="connsiteY4" fmla="*/ 122166 h 346453"/>
              <a:gd name="connsiteX5" fmla="*/ 569343 w 992037"/>
              <a:gd name="connsiteY5" fmla="*/ 96287 h 346453"/>
              <a:gd name="connsiteX6" fmla="*/ 690113 w 992037"/>
              <a:gd name="connsiteY6" fmla="*/ 148045 h 346453"/>
              <a:gd name="connsiteX7" fmla="*/ 707366 w 992037"/>
              <a:gd name="connsiteY7" fmla="*/ 148045 h 346453"/>
              <a:gd name="connsiteX8" fmla="*/ 845388 w 992037"/>
              <a:gd name="connsiteY8" fmla="*/ 35902 h 346453"/>
              <a:gd name="connsiteX9" fmla="*/ 948905 w 992037"/>
              <a:gd name="connsiteY9" fmla="*/ 1396 h 346453"/>
              <a:gd name="connsiteX10" fmla="*/ 992037 w 992037"/>
              <a:gd name="connsiteY10" fmla="*/ 10023 h 346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92037" h="346453">
                <a:moveTo>
                  <a:pt x="0" y="346453"/>
                </a:moveTo>
                <a:cubicBezTo>
                  <a:pt x="36662" y="324167"/>
                  <a:pt x="73324" y="301882"/>
                  <a:pt x="120769" y="277441"/>
                </a:cubicBezTo>
                <a:cubicBezTo>
                  <a:pt x="168214" y="253000"/>
                  <a:pt x="234350" y="218494"/>
                  <a:pt x="284671" y="199804"/>
                </a:cubicBezTo>
                <a:cubicBezTo>
                  <a:pt x="334992" y="181113"/>
                  <a:pt x="388188" y="178238"/>
                  <a:pt x="422694" y="165298"/>
                </a:cubicBezTo>
                <a:cubicBezTo>
                  <a:pt x="457200" y="152358"/>
                  <a:pt x="467264" y="133668"/>
                  <a:pt x="491705" y="122166"/>
                </a:cubicBezTo>
                <a:cubicBezTo>
                  <a:pt x="516147" y="110664"/>
                  <a:pt x="536275" y="91974"/>
                  <a:pt x="569343" y="96287"/>
                </a:cubicBezTo>
                <a:cubicBezTo>
                  <a:pt x="602411" y="100600"/>
                  <a:pt x="667109" y="139419"/>
                  <a:pt x="690113" y="148045"/>
                </a:cubicBezTo>
                <a:cubicBezTo>
                  <a:pt x="713117" y="156671"/>
                  <a:pt x="681487" y="166735"/>
                  <a:pt x="707366" y="148045"/>
                </a:cubicBezTo>
                <a:cubicBezTo>
                  <a:pt x="733245" y="129355"/>
                  <a:pt x="805132" y="60343"/>
                  <a:pt x="845388" y="35902"/>
                </a:cubicBezTo>
                <a:cubicBezTo>
                  <a:pt x="885645" y="11460"/>
                  <a:pt x="924464" y="5709"/>
                  <a:pt x="948905" y="1396"/>
                </a:cubicBezTo>
                <a:cubicBezTo>
                  <a:pt x="973346" y="-2917"/>
                  <a:pt x="982691" y="3553"/>
                  <a:pt x="992037" y="10023"/>
                </a:cubicBezTo>
              </a:path>
            </a:pathLst>
          </a:custGeom>
          <a:noFill/>
          <a:ln w="1270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 bwMode="auto">
          <a:xfrm>
            <a:off x="6588224" y="4473067"/>
            <a:ext cx="2448272" cy="528953"/>
          </a:xfrm>
          <a:prstGeom prst="roundRect">
            <a:avLst/>
          </a:prstGeom>
          <a:solidFill>
            <a:schemeClr val="bg1">
              <a:alpha val="70000"/>
            </a:schemeClr>
          </a:solidFill>
          <a:ln w="12700">
            <a:solidFill>
              <a:schemeClr val="tx2">
                <a:lumMod val="60000"/>
                <a:lumOff val="40000"/>
              </a:schemeClr>
            </a:solidFill>
            <a:prstDash val="solid"/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36000" tIns="45708" rIns="36000" bIns="45708" anchor="ctr"/>
          <a:lstStyle/>
          <a:p>
            <a:pPr algn="ctr">
              <a:defRPr/>
            </a:pPr>
            <a:r>
              <a:rPr lang="ru-RU" altLang="ru-RU" sz="1000" b="1" dirty="0" err="1">
                <a:solidFill>
                  <a:schemeClr val="tx1"/>
                </a:solidFill>
                <a:ea typeface="MS PGothic"/>
                <a:cs typeface="MS PGothic"/>
              </a:rPr>
              <a:t>Шартты</a:t>
            </a:r>
            <a:r>
              <a:rPr lang="ru-RU" altLang="ru-RU" sz="1000" b="1" dirty="0">
                <a:solidFill>
                  <a:schemeClr val="tx1"/>
                </a:solidFill>
                <a:ea typeface="MS PGothic"/>
                <a:cs typeface="MS PGothic"/>
              </a:rPr>
              <a:t> </a:t>
            </a:r>
            <a:r>
              <a:rPr lang="ru-RU" altLang="ru-RU" sz="1000" b="1" dirty="0" err="1">
                <a:solidFill>
                  <a:schemeClr val="tx1"/>
                </a:solidFill>
                <a:ea typeface="MS PGothic"/>
                <a:cs typeface="MS PGothic"/>
              </a:rPr>
              <a:t>белг</a:t>
            </a:r>
            <a:r>
              <a:rPr lang="kk-KZ" altLang="ru-RU" sz="1000" b="1" dirty="0">
                <a:solidFill>
                  <a:schemeClr val="tx1"/>
                </a:solidFill>
                <a:ea typeface="MS PGothic"/>
                <a:cs typeface="MS PGothic"/>
              </a:rPr>
              <a:t>ілер</a:t>
            </a:r>
            <a:endParaRPr lang="ru-RU" altLang="ru-RU" sz="1000" b="1" dirty="0">
              <a:solidFill>
                <a:schemeClr val="tx1"/>
              </a:solidFill>
              <a:ea typeface="MS PGothic"/>
              <a:cs typeface="MS PGothic"/>
            </a:endParaRPr>
          </a:p>
          <a:p>
            <a:pPr defTabSz="0">
              <a:defRPr/>
            </a:pPr>
            <a:r>
              <a:rPr lang="ru-RU" altLang="ru-RU" sz="1000" dirty="0">
                <a:solidFill>
                  <a:srgbClr val="0070C0"/>
                </a:solidFill>
                <a:ea typeface="MS PGothic"/>
                <a:cs typeface="MS PGothic"/>
              </a:rPr>
              <a:t>        </a:t>
            </a:r>
            <a:r>
              <a:rPr lang="ru-RU" altLang="ru-RU" sz="1000" dirty="0">
                <a:solidFill>
                  <a:schemeClr val="tx1"/>
                </a:solidFill>
                <a:ea typeface="MS PGothic"/>
                <a:cs typeface="MS PGothic"/>
              </a:rPr>
              <a:t>- </a:t>
            </a:r>
            <a:r>
              <a:rPr lang="ru-RU" altLang="ru-RU" sz="1000" dirty="0" err="1">
                <a:solidFill>
                  <a:schemeClr val="tx1"/>
                </a:solidFill>
                <a:ea typeface="MS PGothic"/>
                <a:cs typeface="MS PGothic"/>
              </a:rPr>
              <a:t>Аяқталған</a:t>
            </a:r>
            <a:r>
              <a:rPr lang="ru-RU" altLang="ru-RU" sz="1000" dirty="0">
                <a:solidFill>
                  <a:schemeClr val="tx1"/>
                </a:solidFill>
                <a:ea typeface="MS PGothic"/>
                <a:cs typeface="MS PGothic"/>
              </a:rPr>
              <a:t> </a:t>
            </a:r>
            <a:r>
              <a:rPr lang="ru-RU" altLang="ru-RU" sz="1000" dirty="0" err="1">
                <a:solidFill>
                  <a:schemeClr val="tx1"/>
                </a:solidFill>
                <a:ea typeface="MS PGothic"/>
                <a:cs typeface="MS PGothic"/>
              </a:rPr>
              <a:t>учаскелер</a:t>
            </a:r>
            <a:endParaRPr lang="ru-RU" altLang="ru-RU" sz="1000" dirty="0">
              <a:solidFill>
                <a:schemeClr val="tx1"/>
              </a:solidFill>
              <a:ea typeface="MS PGothic"/>
              <a:cs typeface="MS PGothic"/>
            </a:endParaRPr>
          </a:p>
          <a:p>
            <a:pPr defTabSz="0">
              <a:defRPr/>
            </a:pPr>
            <a:r>
              <a:rPr lang="ru-RU" altLang="ru-RU" sz="1000" dirty="0">
                <a:solidFill>
                  <a:schemeClr val="tx1"/>
                </a:solidFill>
                <a:ea typeface="MS PGothic"/>
                <a:cs typeface="MS PGothic"/>
              </a:rPr>
              <a:t>        - Реконструкция </a:t>
            </a:r>
            <a:r>
              <a:rPr lang="ru-RU" altLang="ru-RU" sz="1000" dirty="0" err="1">
                <a:solidFill>
                  <a:schemeClr val="tx1"/>
                </a:solidFill>
                <a:ea typeface="MS PGothic"/>
                <a:cs typeface="MS PGothic"/>
              </a:rPr>
              <a:t>жүргізілуде</a:t>
            </a:r>
            <a:endParaRPr lang="ru-RU" altLang="ru-RU" sz="1000" dirty="0">
              <a:solidFill>
                <a:schemeClr val="tx1"/>
              </a:solidFill>
              <a:ea typeface="MS PGothic"/>
              <a:cs typeface="MS PGothic"/>
            </a:endParaRPr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6643118" y="4897435"/>
            <a:ext cx="216024" cy="0"/>
          </a:xfrm>
          <a:prstGeom prst="line">
            <a:avLst/>
          </a:prstGeom>
          <a:ln w="666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6639958" y="4731990"/>
            <a:ext cx="216024" cy="0"/>
          </a:xfrm>
          <a:prstGeom prst="line">
            <a:avLst/>
          </a:prstGeom>
          <a:ln w="666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718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4" name="Picture 4" descr="ЗКО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5089" y="141481"/>
            <a:ext cx="8999537" cy="4772025"/>
          </a:xfrm>
          <a:prstGeom prst="rect">
            <a:avLst/>
          </a:prstGeom>
          <a:noFill/>
          <a:ln w="73025">
            <a:noFill/>
            <a:miter lim="800000"/>
            <a:headEnd/>
            <a:tailEnd/>
          </a:ln>
        </p:spPr>
      </p:pic>
      <p:sp>
        <p:nvSpPr>
          <p:cNvPr id="36" name="Line 13"/>
          <p:cNvSpPr>
            <a:spLocks noChangeShapeType="1"/>
          </p:cNvSpPr>
          <p:nvPr/>
        </p:nvSpPr>
        <p:spPr bwMode="auto">
          <a:xfrm flipH="1" flipV="1">
            <a:off x="6438900" y="1694856"/>
            <a:ext cx="161925" cy="8036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5068" tIns="37534" rIns="75068" bIns="37534"/>
          <a:lstStyle/>
          <a:p>
            <a:endParaRPr lang="ru-RU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олилиния 13"/>
          <p:cNvSpPr/>
          <p:nvPr/>
        </p:nvSpPr>
        <p:spPr>
          <a:xfrm>
            <a:off x="2688179" y="2070391"/>
            <a:ext cx="338070" cy="157193"/>
          </a:xfrm>
          <a:custGeom>
            <a:avLst/>
            <a:gdLst>
              <a:gd name="connsiteX0" fmla="*/ 295275 w 295275"/>
              <a:gd name="connsiteY0" fmla="*/ 180975 h 180975"/>
              <a:gd name="connsiteX1" fmla="*/ 119063 w 295275"/>
              <a:gd name="connsiteY1" fmla="*/ 128587 h 180975"/>
              <a:gd name="connsiteX2" fmla="*/ 0 w 295275"/>
              <a:gd name="connsiteY2" fmla="*/ 0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275" h="180975">
                <a:moveTo>
                  <a:pt x="295275" y="180975"/>
                </a:moveTo>
                <a:cubicBezTo>
                  <a:pt x="231775" y="169862"/>
                  <a:pt x="168275" y="158749"/>
                  <a:pt x="119063" y="128587"/>
                </a:cubicBezTo>
                <a:cubicBezTo>
                  <a:pt x="69851" y="98425"/>
                  <a:pt x="34925" y="49212"/>
                  <a:pt x="0" y="0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7" name="Полилиния 86"/>
          <p:cNvSpPr/>
          <p:nvPr/>
        </p:nvSpPr>
        <p:spPr>
          <a:xfrm>
            <a:off x="2688180" y="2088077"/>
            <a:ext cx="337764" cy="143819"/>
          </a:xfrm>
          <a:custGeom>
            <a:avLst/>
            <a:gdLst>
              <a:gd name="connsiteX0" fmla="*/ 295275 w 295275"/>
              <a:gd name="connsiteY0" fmla="*/ 180975 h 180975"/>
              <a:gd name="connsiteX1" fmla="*/ 119063 w 295275"/>
              <a:gd name="connsiteY1" fmla="*/ 128587 h 180975"/>
              <a:gd name="connsiteX2" fmla="*/ 0 w 295275"/>
              <a:gd name="connsiteY2" fmla="*/ 0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95275" h="180975">
                <a:moveTo>
                  <a:pt x="295275" y="180975"/>
                </a:moveTo>
                <a:cubicBezTo>
                  <a:pt x="231775" y="169862"/>
                  <a:pt x="168275" y="158749"/>
                  <a:pt x="119063" y="128587"/>
                </a:cubicBezTo>
                <a:cubicBezTo>
                  <a:pt x="69851" y="98425"/>
                  <a:pt x="34925" y="49212"/>
                  <a:pt x="0" y="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" name="Полилиния 16"/>
          <p:cNvSpPr/>
          <p:nvPr/>
        </p:nvSpPr>
        <p:spPr>
          <a:xfrm>
            <a:off x="1416050" y="2185988"/>
            <a:ext cx="19050" cy="381000"/>
          </a:xfrm>
          <a:custGeom>
            <a:avLst/>
            <a:gdLst>
              <a:gd name="connsiteX0" fmla="*/ 19050 w 19050"/>
              <a:gd name="connsiteY0" fmla="*/ 0 h 508000"/>
              <a:gd name="connsiteX1" fmla="*/ 0 w 19050"/>
              <a:gd name="connsiteY1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050" h="508000">
                <a:moveTo>
                  <a:pt x="19050" y="0"/>
                </a:moveTo>
                <a:lnTo>
                  <a:pt x="0" y="508000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18" name="Полилиния 17"/>
          <p:cNvSpPr/>
          <p:nvPr/>
        </p:nvSpPr>
        <p:spPr>
          <a:xfrm>
            <a:off x="558801" y="2552700"/>
            <a:ext cx="863600" cy="52388"/>
          </a:xfrm>
          <a:custGeom>
            <a:avLst/>
            <a:gdLst>
              <a:gd name="connsiteX0" fmla="*/ 0 w 863600"/>
              <a:gd name="connsiteY0" fmla="*/ 0 h 69850"/>
              <a:gd name="connsiteX1" fmla="*/ 177800 w 863600"/>
              <a:gd name="connsiteY1" fmla="*/ 57150 h 69850"/>
              <a:gd name="connsiteX2" fmla="*/ 342900 w 863600"/>
              <a:gd name="connsiteY2" fmla="*/ 69850 h 69850"/>
              <a:gd name="connsiteX3" fmla="*/ 482600 w 863600"/>
              <a:gd name="connsiteY3" fmla="*/ 57150 h 69850"/>
              <a:gd name="connsiteX4" fmla="*/ 615950 w 863600"/>
              <a:gd name="connsiteY4" fmla="*/ 31750 h 69850"/>
              <a:gd name="connsiteX5" fmla="*/ 762000 w 863600"/>
              <a:gd name="connsiteY5" fmla="*/ 12700 h 69850"/>
              <a:gd name="connsiteX6" fmla="*/ 863600 w 863600"/>
              <a:gd name="connsiteY6" fmla="*/ 19050 h 6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3600" h="69850">
                <a:moveTo>
                  <a:pt x="0" y="0"/>
                </a:moveTo>
                <a:cubicBezTo>
                  <a:pt x="60325" y="22754"/>
                  <a:pt x="120650" y="45508"/>
                  <a:pt x="177800" y="57150"/>
                </a:cubicBezTo>
                <a:cubicBezTo>
                  <a:pt x="234950" y="68792"/>
                  <a:pt x="292100" y="69850"/>
                  <a:pt x="342900" y="69850"/>
                </a:cubicBezTo>
                <a:cubicBezTo>
                  <a:pt x="393700" y="69850"/>
                  <a:pt x="437092" y="63500"/>
                  <a:pt x="482600" y="57150"/>
                </a:cubicBezTo>
                <a:cubicBezTo>
                  <a:pt x="528108" y="50800"/>
                  <a:pt x="569383" y="39158"/>
                  <a:pt x="615950" y="31750"/>
                </a:cubicBezTo>
                <a:cubicBezTo>
                  <a:pt x="662517" y="24342"/>
                  <a:pt x="720725" y="14817"/>
                  <a:pt x="762000" y="12700"/>
                </a:cubicBezTo>
                <a:cubicBezTo>
                  <a:pt x="803275" y="10583"/>
                  <a:pt x="833437" y="14816"/>
                  <a:pt x="863600" y="19050"/>
                </a:cubicBez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Полилиния 21"/>
          <p:cNvSpPr/>
          <p:nvPr/>
        </p:nvSpPr>
        <p:spPr>
          <a:xfrm>
            <a:off x="1428751" y="2154997"/>
            <a:ext cx="1041419" cy="51185"/>
          </a:xfrm>
          <a:custGeom>
            <a:avLst/>
            <a:gdLst>
              <a:gd name="connsiteX0" fmla="*/ 0 w 1041419"/>
              <a:gd name="connsiteY0" fmla="*/ 15923 h 68247"/>
              <a:gd name="connsiteX1" fmla="*/ 177800 w 1041419"/>
              <a:gd name="connsiteY1" fmla="*/ 54023 h 68247"/>
              <a:gd name="connsiteX2" fmla="*/ 260350 w 1041419"/>
              <a:gd name="connsiteY2" fmla="*/ 66723 h 68247"/>
              <a:gd name="connsiteX3" fmla="*/ 342900 w 1041419"/>
              <a:gd name="connsiteY3" fmla="*/ 22273 h 68247"/>
              <a:gd name="connsiteX4" fmla="*/ 444500 w 1041419"/>
              <a:gd name="connsiteY4" fmla="*/ 3223 h 68247"/>
              <a:gd name="connsiteX5" fmla="*/ 609600 w 1041419"/>
              <a:gd name="connsiteY5" fmla="*/ 3223 h 68247"/>
              <a:gd name="connsiteX6" fmla="*/ 895350 w 1041419"/>
              <a:gd name="connsiteY6" fmla="*/ 34973 h 68247"/>
              <a:gd name="connsiteX7" fmla="*/ 1022350 w 1041419"/>
              <a:gd name="connsiteY7" fmla="*/ 60373 h 68247"/>
              <a:gd name="connsiteX8" fmla="*/ 1041400 w 1041419"/>
              <a:gd name="connsiteY8" fmla="*/ 41323 h 6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1419" h="68247">
                <a:moveTo>
                  <a:pt x="0" y="15923"/>
                </a:moveTo>
                <a:lnTo>
                  <a:pt x="177800" y="54023"/>
                </a:lnTo>
                <a:cubicBezTo>
                  <a:pt x="221192" y="62490"/>
                  <a:pt x="232833" y="72015"/>
                  <a:pt x="260350" y="66723"/>
                </a:cubicBezTo>
                <a:cubicBezTo>
                  <a:pt x="287867" y="61431"/>
                  <a:pt x="312208" y="32856"/>
                  <a:pt x="342900" y="22273"/>
                </a:cubicBezTo>
                <a:cubicBezTo>
                  <a:pt x="373592" y="11690"/>
                  <a:pt x="400050" y="6398"/>
                  <a:pt x="444500" y="3223"/>
                </a:cubicBezTo>
                <a:cubicBezTo>
                  <a:pt x="488950" y="48"/>
                  <a:pt x="534458" y="-2069"/>
                  <a:pt x="609600" y="3223"/>
                </a:cubicBezTo>
                <a:cubicBezTo>
                  <a:pt x="684742" y="8515"/>
                  <a:pt x="826558" y="25448"/>
                  <a:pt x="895350" y="34973"/>
                </a:cubicBezTo>
                <a:cubicBezTo>
                  <a:pt x="964142" y="44498"/>
                  <a:pt x="998008" y="59315"/>
                  <a:pt x="1022350" y="60373"/>
                </a:cubicBezTo>
                <a:cubicBezTo>
                  <a:pt x="1046692" y="61431"/>
                  <a:pt x="1040342" y="44498"/>
                  <a:pt x="1041400" y="41323"/>
                </a:cubicBez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24" name="Полилиния 23"/>
          <p:cNvSpPr/>
          <p:nvPr/>
        </p:nvSpPr>
        <p:spPr>
          <a:xfrm>
            <a:off x="931342" y="2031690"/>
            <a:ext cx="501650" cy="128588"/>
          </a:xfrm>
          <a:custGeom>
            <a:avLst/>
            <a:gdLst>
              <a:gd name="connsiteX0" fmla="*/ 501650 w 501650"/>
              <a:gd name="connsiteY0" fmla="*/ 171450 h 171450"/>
              <a:gd name="connsiteX1" fmla="*/ 171450 w 501650"/>
              <a:gd name="connsiteY1" fmla="*/ 139700 h 171450"/>
              <a:gd name="connsiteX2" fmla="*/ 0 w 501650"/>
              <a:gd name="connsiteY2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1650" h="171450">
                <a:moveTo>
                  <a:pt x="501650" y="171450"/>
                </a:moveTo>
                <a:cubicBezTo>
                  <a:pt x="378354" y="169862"/>
                  <a:pt x="255058" y="168275"/>
                  <a:pt x="171450" y="139700"/>
                </a:cubicBezTo>
                <a:cubicBezTo>
                  <a:pt x="87842" y="111125"/>
                  <a:pt x="27517" y="22225"/>
                  <a:pt x="0" y="0"/>
                </a:cubicBez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cxnSp>
        <p:nvCxnSpPr>
          <p:cNvPr id="81" name="Прямая со стрелкой 80"/>
          <p:cNvCxnSpPr>
            <a:stCxn id="83" idx="0"/>
          </p:cNvCxnSpPr>
          <p:nvPr/>
        </p:nvCxnSpPr>
        <p:spPr>
          <a:xfrm flipH="1" flipV="1">
            <a:off x="1516663" y="2513034"/>
            <a:ext cx="1510922" cy="292050"/>
          </a:xfrm>
          <a:prstGeom prst="straightConnector1">
            <a:avLst/>
          </a:prstGeom>
          <a:ln w="127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9405" name="Полилиния 59404"/>
          <p:cNvSpPr/>
          <p:nvPr/>
        </p:nvSpPr>
        <p:spPr>
          <a:xfrm>
            <a:off x="5220072" y="707232"/>
            <a:ext cx="3843338" cy="1888327"/>
          </a:xfrm>
          <a:custGeom>
            <a:avLst/>
            <a:gdLst>
              <a:gd name="connsiteX0" fmla="*/ 0 w 3843338"/>
              <a:gd name="connsiteY0" fmla="*/ 0 h 2517769"/>
              <a:gd name="connsiteX1" fmla="*/ 161925 w 3843338"/>
              <a:gd name="connsiteY1" fmla="*/ 285750 h 2517769"/>
              <a:gd name="connsiteX2" fmla="*/ 271463 w 3843338"/>
              <a:gd name="connsiteY2" fmla="*/ 523875 h 2517769"/>
              <a:gd name="connsiteX3" fmla="*/ 242888 w 3843338"/>
              <a:gd name="connsiteY3" fmla="*/ 652463 h 2517769"/>
              <a:gd name="connsiteX4" fmla="*/ 252413 w 3843338"/>
              <a:gd name="connsiteY4" fmla="*/ 776288 h 2517769"/>
              <a:gd name="connsiteX5" fmla="*/ 419100 w 3843338"/>
              <a:gd name="connsiteY5" fmla="*/ 995363 h 2517769"/>
              <a:gd name="connsiteX6" fmla="*/ 514350 w 3843338"/>
              <a:gd name="connsiteY6" fmla="*/ 1171575 h 2517769"/>
              <a:gd name="connsiteX7" fmla="*/ 619125 w 3843338"/>
              <a:gd name="connsiteY7" fmla="*/ 1371600 h 2517769"/>
              <a:gd name="connsiteX8" fmla="*/ 809625 w 3843338"/>
              <a:gd name="connsiteY8" fmla="*/ 1552575 h 2517769"/>
              <a:gd name="connsiteX9" fmla="*/ 842963 w 3843338"/>
              <a:gd name="connsiteY9" fmla="*/ 1595438 h 2517769"/>
              <a:gd name="connsiteX10" fmla="*/ 852488 w 3843338"/>
              <a:gd name="connsiteY10" fmla="*/ 1662113 h 2517769"/>
              <a:gd name="connsiteX11" fmla="*/ 952500 w 3843338"/>
              <a:gd name="connsiteY11" fmla="*/ 1771650 h 2517769"/>
              <a:gd name="connsiteX12" fmla="*/ 995363 w 3843338"/>
              <a:gd name="connsiteY12" fmla="*/ 1852613 h 2517769"/>
              <a:gd name="connsiteX13" fmla="*/ 1004888 w 3843338"/>
              <a:gd name="connsiteY13" fmla="*/ 1938338 h 2517769"/>
              <a:gd name="connsiteX14" fmla="*/ 1343025 w 3843338"/>
              <a:gd name="connsiteY14" fmla="*/ 2062163 h 2517769"/>
              <a:gd name="connsiteX15" fmla="*/ 1976438 w 3843338"/>
              <a:gd name="connsiteY15" fmla="*/ 2252663 h 2517769"/>
              <a:gd name="connsiteX16" fmla="*/ 2381250 w 3843338"/>
              <a:gd name="connsiteY16" fmla="*/ 2376488 h 2517769"/>
              <a:gd name="connsiteX17" fmla="*/ 2538413 w 3843338"/>
              <a:gd name="connsiteY17" fmla="*/ 2366963 h 2517769"/>
              <a:gd name="connsiteX18" fmla="*/ 2828925 w 3843338"/>
              <a:gd name="connsiteY18" fmla="*/ 2419350 h 2517769"/>
              <a:gd name="connsiteX19" fmla="*/ 3290888 w 3843338"/>
              <a:gd name="connsiteY19" fmla="*/ 2457450 h 2517769"/>
              <a:gd name="connsiteX20" fmla="*/ 3552825 w 3843338"/>
              <a:gd name="connsiteY20" fmla="*/ 2514600 h 2517769"/>
              <a:gd name="connsiteX21" fmla="*/ 3757613 w 3843338"/>
              <a:gd name="connsiteY21" fmla="*/ 2509838 h 2517769"/>
              <a:gd name="connsiteX22" fmla="*/ 3843338 w 3843338"/>
              <a:gd name="connsiteY22" fmla="*/ 2505075 h 2517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43338" h="2517769">
                <a:moveTo>
                  <a:pt x="0" y="0"/>
                </a:moveTo>
                <a:cubicBezTo>
                  <a:pt x="58340" y="99218"/>
                  <a:pt x="116681" y="198437"/>
                  <a:pt x="161925" y="285750"/>
                </a:cubicBezTo>
                <a:cubicBezTo>
                  <a:pt x="207169" y="373063"/>
                  <a:pt x="257969" y="462756"/>
                  <a:pt x="271463" y="523875"/>
                </a:cubicBezTo>
                <a:cubicBezTo>
                  <a:pt x="284957" y="584994"/>
                  <a:pt x="246063" y="610394"/>
                  <a:pt x="242888" y="652463"/>
                </a:cubicBezTo>
                <a:cubicBezTo>
                  <a:pt x="239713" y="694532"/>
                  <a:pt x="223044" y="719138"/>
                  <a:pt x="252413" y="776288"/>
                </a:cubicBezTo>
                <a:cubicBezTo>
                  <a:pt x="281782" y="833438"/>
                  <a:pt x="375444" y="929482"/>
                  <a:pt x="419100" y="995363"/>
                </a:cubicBezTo>
                <a:cubicBezTo>
                  <a:pt x="462756" y="1061244"/>
                  <a:pt x="481013" y="1108869"/>
                  <a:pt x="514350" y="1171575"/>
                </a:cubicBezTo>
                <a:cubicBezTo>
                  <a:pt x="547687" y="1234281"/>
                  <a:pt x="569913" y="1308100"/>
                  <a:pt x="619125" y="1371600"/>
                </a:cubicBezTo>
                <a:cubicBezTo>
                  <a:pt x="668337" y="1435100"/>
                  <a:pt x="772319" y="1515269"/>
                  <a:pt x="809625" y="1552575"/>
                </a:cubicBezTo>
                <a:cubicBezTo>
                  <a:pt x="846931" y="1589881"/>
                  <a:pt x="835819" y="1577182"/>
                  <a:pt x="842963" y="1595438"/>
                </a:cubicBezTo>
                <a:cubicBezTo>
                  <a:pt x="850107" y="1613694"/>
                  <a:pt x="834232" y="1632744"/>
                  <a:pt x="852488" y="1662113"/>
                </a:cubicBezTo>
                <a:cubicBezTo>
                  <a:pt x="870744" y="1691482"/>
                  <a:pt x="928688" y="1739900"/>
                  <a:pt x="952500" y="1771650"/>
                </a:cubicBezTo>
                <a:cubicBezTo>
                  <a:pt x="976312" y="1803400"/>
                  <a:pt x="986632" y="1824832"/>
                  <a:pt x="995363" y="1852613"/>
                </a:cubicBezTo>
                <a:cubicBezTo>
                  <a:pt x="1004094" y="1880394"/>
                  <a:pt x="946944" y="1903413"/>
                  <a:pt x="1004888" y="1938338"/>
                </a:cubicBezTo>
                <a:cubicBezTo>
                  <a:pt x="1062832" y="1973263"/>
                  <a:pt x="1181100" y="2009776"/>
                  <a:pt x="1343025" y="2062163"/>
                </a:cubicBezTo>
                <a:cubicBezTo>
                  <a:pt x="1504950" y="2114551"/>
                  <a:pt x="1976438" y="2252663"/>
                  <a:pt x="1976438" y="2252663"/>
                </a:cubicBezTo>
                <a:cubicBezTo>
                  <a:pt x="2149475" y="2305050"/>
                  <a:pt x="2287588" y="2357438"/>
                  <a:pt x="2381250" y="2376488"/>
                </a:cubicBezTo>
                <a:cubicBezTo>
                  <a:pt x="2474912" y="2395538"/>
                  <a:pt x="2463801" y="2359819"/>
                  <a:pt x="2538413" y="2366963"/>
                </a:cubicBezTo>
                <a:cubicBezTo>
                  <a:pt x="2613025" y="2374107"/>
                  <a:pt x="2703513" y="2404269"/>
                  <a:pt x="2828925" y="2419350"/>
                </a:cubicBezTo>
                <a:cubicBezTo>
                  <a:pt x="2954337" y="2434431"/>
                  <a:pt x="3170238" y="2441575"/>
                  <a:pt x="3290888" y="2457450"/>
                </a:cubicBezTo>
                <a:cubicBezTo>
                  <a:pt x="3411538" y="2473325"/>
                  <a:pt x="3475037" y="2505869"/>
                  <a:pt x="3552825" y="2514600"/>
                </a:cubicBezTo>
                <a:cubicBezTo>
                  <a:pt x="3630613" y="2523331"/>
                  <a:pt x="3709194" y="2511425"/>
                  <a:pt x="3757613" y="2509838"/>
                </a:cubicBezTo>
                <a:cubicBezTo>
                  <a:pt x="3806032" y="2508251"/>
                  <a:pt x="3831432" y="2507456"/>
                  <a:pt x="3843338" y="2505075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59414" name="Полилиния 59413"/>
          <p:cNvSpPr/>
          <p:nvPr/>
        </p:nvSpPr>
        <p:spPr>
          <a:xfrm>
            <a:off x="4200527" y="1039416"/>
            <a:ext cx="1133474" cy="189585"/>
          </a:xfrm>
          <a:custGeom>
            <a:avLst/>
            <a:gdLst>
              <a:gd name="connsiteX0" fmla="*/ 1133475 w 1133475"/>
              <a:gd name="connsiteY0" fmla="*/ 204787 h 252780"/>
              <a:gd name="connsiteX1" fmla="*/ 971550 w 1133475"/>
              <a:gd name="connsiteY1" fmla="*/ 171450 h 252780"/>
              <a:gd name="connsiteX2" fmla="*/ 838200 w 1133475"/>
              <a:gd name="connsiteY2" fmla="*/ 247650 h 252780"/>
              <a:gd name="connsiteX3" fmla="*/ 700088 w 1133475"/>
              <a:gd name="connsiteY3" fmla="*/ 242887 h 252780"/>
              <a:gd name="connsiteX4" fmla="*/ 504825 w 1133475"/>
              <a:gd name="connsiteY4" fmla="*/ 219075 h 252780"/>
              <a:gd name="connsiteX5" fmla="*/ 342900 w 1133475"/>
              <a:gd name="connsiteY5" fmla="*/ 223837 h 252780"/>
              <a:gd name="connsiteX6" fmla="*/ 252413 w 1133475"/>
              <a:gd name="connsiteY6" fmla="*/ 204787 h 252780"/>
              <a:gd name="connsiteX7" fmla="*/ 157163 w 1133475"/>
              <a:gd name="connsiteY7" fmla="*/ 138112 h 252780"/>
              <a:gd name="connsiteX8" fmla="*/ 0 w 1133475"/>
              <a:gd name="connsiteY8" fmla="*/ 0 h 25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33475" h="252780">
                <a:moveTo>
                  <a:pt x="1133475" y="204787"/>
                </a:moveTo>
                <a:cubicBezTo>
                  <a:pt x="1077118" y="184546"/>
                  <a:pt x="1020762" y="164306"/>
                  <a:pt x="971550" y="171450"/>
                </a:cubicBezTo>
                <a:cubicBezTo>
                  <a:pt x="922338" y="178594"/>
                  <a:pt x="883444" y="235744"/>
                  <a:pt x="838200" y="247650"/>
                </a:cubicBezTo>
                <a:cubicBezTo>
                  <a:pt x="792956" y="259556"/>
                  <a:pt x="755650" y="247650"/>
                  <a:pt x="700088" y="242887"/>
                </a:cubicBezTo>
                <a:cubicBezTo>
                  <a:pt x="644525" y="238125"/>
                  <a:pt x="564356" y="222250"/>
                  <a:pt x="504825" y="219075"/>
                </a:cubicBezTo>
                <a:cubicBezTo>
                  <a:pt x="445294" y="215900"/>
                  <a:pt x="384969" y="226218"/>
                  <a:pt x="342900" y="223837"/>
                </a:cubicBezTo>
                <a:cubicBezTo>
                  <a:pt x="300831" y="221456"/>
                  <a:pt x="283369" y="219075"/>
                  <a:pt x="252413" y="204787"/>
                </a:cubicBezTo>
                <a:cubicBezTo>
                  <a:pt x="221457" y="190499"/>
                  <a:pt x="199232" y="172243"/>
                  <a:pt x="157163" y="138112"/>
                </a:cubicBezTo>
                <a:cubicBezTo>
                  <a:pt x="115094" y="103981"/>
                  <a:pt x="57547" y="51990"/>
                  <a:pt x="0" y="0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59415" name="Полилиния 59414"/>
          <p:cNvSpPr/>
          <p:nvPr/>
        </p:nvSpPr>
        <p:spPr>
          <a:xfrm>
            <a:off x="3019425" y="2003541"/>
            <a:ext cx="1919288" cy="252569"/>
          </a:xfrm>
          <a:custGeom>
            <a:avLst/>
            <a:gdLst>
              <a:gd name="connsiteX0" fmla="*/ 1919288 w 1919288"/>
              <a:gd name="connsiteY0" fmla="*/ 71814 h 336759"/>
              <a:gd name="connsiteX1" fmla="*/ 1747838 w 1919288"/>
              <a:gd name="connsiteY1" fmla="*/ 62289 h 336759"/>
              <a:gd name="connsiteX2" fmla="*/ 1666875 w 1919288"/>
              <a:gd name="connsiteY2" fmla="*/ 38477 h 336759"/>
              <a:gd name="connsiteX3" fmla="*/ 1628775 w 1919288"/>
              <a:gd name="connsiteY3" fmla="*/ 24189 h 336759"/>
              <a:gd name="connsiteX4" fmla="*/ 1481138 w 1919288"/>
              <a:gd name="connsiteY4" fmla="*/ 28952 h 336759"/>
              <a:gd name="connsiteX5" fmla="*/ 1319213 w 1919288"/>
              <a:gd name="connsiteY5" fmla="*/ 377 h 336759"/>
              <a:gd name="connsiteX6" fmla="*/ 1219200 w 1919288"/>
              <a:gd name="connsiteY6" fmla="*/ 52764 h 336759"/>
              <a:gd name="connsiteX7" fmla="*/ 1104900 w 1919288"/>
              <a:gd name="connsiteY7" fmla="*/ 67052 h 336759"/>
              <a:gd name="connsiteX8" fmla="*/ 947738 w 1919288"/>
              <a:gd name="connsiteY8" fmla="*/ 105152 h 336759"/>
              <a:gd name="connsiteX9" fmla="*/ 762000 w 1919288"/>
              <a:gd name="connsiteY9" fmla="*/ 209927 h 336759"/>
              <a:gd name="connsiteX10" fmla="*/ 609600 w 1919288"/>
              <a:gd name="connsiteY10" fmla="*/ 290889 h 336759"/>
              <a:gd name="connsiteX11" fmla="*/ 419100 w 1919288"/>
              <a:gd name="connsiteY11" fmla="*/ 328989 h 336759"/>
              <a:gd name="connsiteX12" fmla="*/ 304800 w 1919288"/>
              <a:gd name="connsiteY12" fmla="*/ 333752 h 336759"/>
              <a:gd name="connsiteX13" fmla="*/ 100013 w 1919288"/>
              <a:gd name="connsiteY13" fmla="*/ 333752 h 336759"/>
              <a:gd name="connsiteX14" fmla="*/ 0 w 1919288"/>
              <a:gd name="connsiteY14" fmla="*/ 295652 h 336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19288" h="336759">
                <a:moveTo>
                  <a:pt x="1919288" y="71814"/>
                </a:moveTo>
                <a:cubicBezTo>
                  <a:pt x="1854597" y="69829"/>
                  <a:pt x="1789907" y="67845"/>
                  <a:pt x="1747838" y="62289"/>
                </a:cubicBezTo>
                <a:cubicBezTo>
                  <a:pt x="1705769" y="56733"/>
                  <a:pt x="1686719" y="44827"/>
                  <a:pt x="1666875" y="38477"/>
                </a:cubicBezTo>
                <a:cubicBezTo>
                  <a:pt x="1647031" y="32127"/>
                  <a:pt x="1659731" y="25776"/>
                  <a:pt x="1628775" y="24189"/>
                </a:cubicBezTo>
                <a:cubicBezTo>
                  <a:pt x="1597819" y="22602"/>
                  <a:pt x="1532732" y="32921"/>
                  <a:pt x="1481138" y="28952"/>
                </a:cubicBezTo>
                <a:cubicBezTo>
                  <a:pt x="1429544" y="24983"/>
                  <a:pt x="1362869" y="-3592"/>
                  <a:pt x="1319213" y="377"/>
                </a:cubicBezTo>
                <a:cubicBezTo>
                  <a:pt x="1275557" y="4346"/>
                  <a:pt x="1254919" y="41651"/>
                  <a:pt x="1219200" y="52764"/>
                </a:cubicBezTo>
                <a:cubicBezTo>
                  <a:pt x="1183481" y="63876"/>
                  <a:pt x="1150143" y="58321"/>
                  <a:pt x="1104900" y="67052"/>
                </a:cubicBezTo>
                <a:cubicBezTo>
                  <a:pt x="1059657" y="75783"/>
                  <a:pt x="1004888" y="81340"/>
                  <a:pt x="947738" y="105152"/>
                </a:cubicBezTo>
                <a:cubicBezTo>
                  <a:pt x="890588" y="128964"/>
                  <a:pt x="818356" y="178971"/>
                  <a:pt x="762000" y="209927"/>
                </a:cubicBezTo>
                <a:cubicBezTo>
                  <a:pt x="705644" y="240883"/>
                  <a:pt x="666750" y="271045"/>
                  <a:pt x="609600" y="290889"/>
                </a:cubicBezTo>
                <a:cubicBezTo>
                  <a:pt x="552450" y="310733"/>
                  <a:pt x="469900" y="321845"/>
                  <a:pt x="419100" y="328989"/>
                </a:cubicBezTo>
                <a:cubicBezTo>
                  <a:pt x="368300" y="336133"/>
                  <a:pt x="357981" y="332958"/>
                  <a:pt x="304800" y="333752"/>
                </a:cubicBezTo>
                <a:cubicBezTo>
                  <a:pt x="251619" y="334546"/>
                  <a:pt x="150813" y="340102"/>
                  <a:pt x="100013" y="333752"/>
                </a:cubicBezTo>
                <a:cubicBezTo>
                  <a:pt x="49213" y="327402"/>
                  <a:pt x="24606" y="311527"/>
                  <a:pt x="0" y="295652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2080" name="Полилиния 2079"/>
          <p:cNvSpPr/>
          <p:nvPr/>
        </p:nvSpPr>
        <p:spPr>
          <a:xfrm>
            <a:off x="5530852" y="1174845"/>
            <a:ext cx="1739900" cy="94652"/>
          </a:xfrm>
          <a:custGeom>
            <a:avLst/>
            <a:gdLst>
              <a:gd name="connsiteX0" fmla="*/ 0 w 1739900"/>
              <a:gd name="connsiteY0" fmla="*/ 109940 h 126202"/>
              <a:gd name="connsiteX1" fmla="*/ 127000 w 1739900"/>
              <a:gd name="connsiteY1" fmla="*/ 97240 h 126202"/>
              <a:gd name="connsiteX2" fmla="*/ 177800 w 1739900"/>
              <a:gd name="connsiteY2" fmla="*/ 65490 h 126202"/>
              <a:gd name="connsiteX3" fmla="*/ 336550 w 1739900"/>
              <a:gd name="connsiteY3" fmla="*/ 122640 h 126202"/>
              <a:gd name="connsiteX4" fmla="*/ 508000 w 1739900"/>
              <a:gd name="connsiteY4" fmla="*/ 116290 h 126202"/>
              <a:gd name="connsiteX5" fmla="*/ 615950 w 1739900"/>
              <a:gd name="connsiteY5" fmla="*/ 84540 h 126202"/>
              <a:gd name="connsiteX6" fmla="*/ 717550 w 1739900"/>
              <a:gd name="connsiteY6" fmla="*/ 84540 h 126202"/>
              <a:gd name="connsiteX7" fmla="*/ 819150 w 1739900"/>
              <a:gd name="connsiteY7" fmla="*/ 97240 h 126202"/>
              <a:gd name="connsiteX8" fmla="*/ 952500 w 1739900"/>
              <a:gd name="connsiteY8" fmla="*/ 78190 h 126202"/>
              <a:gd name="connsiteX9" fmla="*/ 1041400 w 1739900"/>
              <a:gd name="connsiteY9" fmla="*/ 40090 h 126202"/>
              <a:gd name="connsiteX10" fmla="*/ 1123950 w 1739900"/>
              <a:gd name="connsiteY10" fmla="*/ 1990 h 126202"/>
              <a:gd name="connsiteX11" fmla="*/ 1250950 w 1739900"/>
              <a:gd name="connsiteY11" fmla="*/ 8340 h 126202"/>
              <a:gd name="connsiteX12" fmla="*/ 1358900 w 1739900"/>
              <a:gd name="connsiteY12" fmla="*/ 33740 h 126202"/>
              <a:gd name="connsiteX13" fmla="*/ 1485900 w 1739900"/>
              <a:gd name="connsiteY13" fmla="*/ 14690 h 126202"/>
              <a:gd name="connsiteX14" fmla="*/ 1574800 w 1739900"/>
              <a:gd name="connsiteY14" fmla="*/ 14690 h 126202"/>
              <a:gd name="connsiteX15" fmla="*/ 1676400 w 1739900"/>
              <a:gd name="connsiteY15" fmla="*/ 21040 h 126202"/>
              <a:gd name="connsiteX16" fmla="*/ 1739900 w 1739900"/>
              <a:gd name="connsiteY16" fmla="*/ 8340 h 126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39900" h="126202">
                <a:moveTo>
                  <a:pt x="0" y="109940"/>
                </a:moveTo>
                <a:cubicBezTo>
                  <a:pt x="48683" y="107294"/>
                  <a:pt x="97367" y="104648"/>
                  <a:pt x="127000" y="97240"/>
                </a:cubicBezTo>
                <a:cubicBezTo>
                  <a:pt x="156633" y="89832"/>
                  <a:pt x="142875" y="61257"/>
                  <a:pt x="177800" y="65490"/>
                </a:cubicBezTo>
                <a:cubicBezTo>
                  <a:pt x="212725" y="69723"/>
                  <a:pt x="281517" y="114173"/>
                  <a:pt x="336550" y="122640"/>
                </a:cubicBezTo>
                <a:cubicBezTo>
                  <a:pt x="391583" y="131107"/>
                  <a:pt x="461433" y="122640"/>
                  <a:pt x="508000" y="116290"/>
                </a:cubicBezTo>
                <a:cubicBezTo>
                  <a:pt x="554567" y="109940"/>
                  <a:pt x="581025" y="89832"/>
                  <a:pt x="615950" y="84540"/>
                </a:cubicBezTo>
                <a:cubicBezTo>
                  <a:pt x="650875" y="79248"/>
                  <a:pt x="683683" y="82423"/>
                  <a:pt x="717550" y="84540"/>
                </a:cubicBezTo>
                <a:cubicBezTo>
                  <a:pt x="751417" y="86657"/>
                  <a:pt x="779992" y="98298"/>
                  <a:pt x="819150" y="97240"/>
                </a:cubicBezTo>
                <a:cubicBezTo>
                  <a:pt x="858308" y="96182"/>
                  <a:pt x="915458" y="87715"/>
                  <a:pt x="952500" y="78190"/>
                </a:cubicBezTo>
                <a:cubicBezTo>
                  <a:pt x="989542" y="68665"/>
                  <a:pt x="1012825" y="52790"/>
                  <a:pt x="1041400" y="40090"/>
                </a:cubicBezTo>
                <a:cubicBezTo>
                  <a:pt x="1069975" y="27390"/>
                  <a:pt x="1089025" y="7282"/>
                  <a:pt x="1123950" y="1990"/>
                </a:cubicBezTo>
                <a:cubicBezTo>
                  <a:pt x="1158875" y="-3302"/>
                  <a:pt x="1211792" y="3048"/>
                  <a:pt x="1250950" y="8340"/>
                </a:cubicBezTo>
                <a:cubicBezTo>
                  <a:pt x="1290108" y="13632"/>
                  <a:pt x="1319742" y="32682"/>
                  <a:pt x="1358900" y="33740"/>
                </a:cubicBezTo>
                <a:cubicBezTo>
                  <a:pt x="1398058" y="34798"/>
                  <a:pt x="1449917" y="17865"/>
                  <a:pt x="1485900" y="14690"/>
                </a:cubicBezTo>
                <a:cubicBezTo>
                  <a:pt x="1521883" y="11515"/>
                  <a:pt x="1543050" y="13632"/>
                  <a:pt x="1574800" y="14690"/>
                </a:cubicBezTo>
                <a:cubicBezTo>
                  <a:pt x="1606550" y="15748"/>
                  <a:pt x="1648883" y="22098"/>
                  <a:pt x="1676400" y="21040"/>
                </a:cubicBezTo>
                <a:cubicBezTo>
                  <a:pt x="1703917" y="19982"/>
                  <a:pt x="1721908" y="14161"/>
                  <a:pt x="1739900" y="8340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2081" name="Полилиния 2080"/>
          <p:cNvSpPr/>
          <p:nvPr/>
        </p:nvSpPr>
        <p:spPr>
          <a:xfrm>
            <a:off x="4584700" y="1252537"/>
            <a:ext cx="755651" cy="2576513"/>
          </a:xfrm>
          <a:custGeom>
            <a:avLst/>
            <a:gdLst>
              <a:gd name="connsiteX0" fmla="*/ 755650 w 755650"/>
              <a:gd name="connsiteY0" fmla="*/ 0 h 3435350"/>
              <a:gd name="connsiteX1" fmla="*/ 552450 w 755650"/>
              <a:gd name="connsiteY1" fmla="*/ 209550 h 3435350"/>
              <a:gd name="connsiteX2" fmla="*/ 501650 w 755650"/>
              <a:gd name="connsiteY2" fmla="*/ 355600 h 3435350"/>
              <a:gd name="connsiteX3" fmla="*/ 457200 w 755650"/>
              <a:gd name="connsiteY3" fmla="*/ 469900 h 3435350"/>
              <a:gd name="connsiteX4" fmla="*/ 412750 w 755650"/>
              <a:gd name="connsiteY4" fmla="*/ 520700 h 3435350"/>
              <a:gd name="connsiteX5" fmla="*/ 412750 w 755650"/>
              <a:gd name="connsiteY5" fmla="*/ 609600 h 3435350"/>
              <a:gd name="connsiteX6" fmla="*/ 361950 w 755650"/>
              <a:gd name="connsiteY6" fmla="*/ 698500 h 3435350"/>
              <a:gd name="connsiteX7" fmla="*/ 273050 w 755650"/>
              <a:gd name="connsiteY7" fmla="*/ 806450 h 3435350"/>
              <a:gd name="connsiteX8" fmla="*/ 228600 w 755650"/>
              <a:gd name="connsiteY8" fmla="*/ 895350 h 3435350"/>
              <a:gd name="connsiteX9" fmla="*/ 266700 w 755650"/>
              <a:gd name="connsiteY9" fmla="*/ 977900 h 3435350"/>
              <a:gd name="connsiteX10" fmla="*/ 355600 w 755650"/>
              <a:gd name="connsiteY10" fmla="*/ 1041400 h 3435350"/>
              <a:gd name="connsiteX11" fmla="*/ 387350 w 755650"/>
              <a:gd name="connsiteY11" fmla="*/ 1187450 h 3435350"/>
              <a:gd name="connsiteX12" fmla="*/ 393700 w 755650"/>
              <a:gd name="connsiteY12" fmla="*/ 1504950 h 3435350"/>
              <a:gd name="connsiteX13" fmla="*/ 431800 w 755650"/>
              <a:gd name="connsiteY13" fmla="*/ 1720850 h 3435350"/>
              <a:gd name="connsiteX14" fmla="*/ 514350 w 755650"/>
              <a:gd name="connsiteY14" fmla="*/ 1898650 h 3435350"/>
              <a:gd name="connsiteX15" fmla="*/ 615950 w 755650"/>
              <a:gd name="connsiteY15" fmla="*/ 2070100 h 3435350"/>
              <a:gd name="connsiteX16" fmla="*/ 692150 w 755650"/>
              <a:gd name="connsiteY16" fmla="*/ 2260600 h 3435350"/>
              <a:gd name="connsiteX17" fmla="*/ 685800 w 755650"/>
              <a:gd name="connsiteY17" fmla="*/ 2368550 h 3435350"/>
              <a:gd name="connsiteX18" fmla="*/ 590550 w 755650"/>
              <a:gd name="connsiteY18" fmla="*/ 2476500 h 3435350"/>
              <a:gd name="connsiteX19" fmla="*/ 488950 w 755650"/>
              <a:gd name="connsiteY19" fmla="*/ 2628900 h 3435350"/>
              <a:gd name="connsiteX20" fmla="*/ 431800 w 755650"/>
              <a:gd name="connsiteY20" fmla="*/ 2813050 h 3435350"/>
              <a:gd name="connsiteX21" fmla="*/ 400050 w 755650"/>
              <a:gd name="connsiteY21" fmla="*/ 2889250 h 3435350"/>
              <a:gd name="connsiteX22" fmla="*/ 222250 w 755650"/>
              <a:gd name="connsiteY22" fmla="*/ 3028950 h 3435350"/>
              <a:gd name="connsiteX23" fmla="*/ 133350 w 755650"/>
              <a:gd name="connsiteY23" fmla="*/ 3086100 h 3435350"/>
              <a:gd name="connsiteX24" fmla="*/ 44450 w 755650"/>
              <a:gd name="connsiteY24" fmla="*/ 3257550 h 3435350"/>
              <a:gd name="connsiteX25" fmla="*/ 0 w 755650"/>
              <a:gd name="connsiteY25" fmla="*/ 3435350 h 343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55650" h="3435350">
                <a:moveTo>
                  <a:pt x="755650" y="0"/>
                </a:moveTo>
                <a:cubicBezTo>
                  <a:pt x="675216" y="75141"/>
                  <a:pt x="594783" y="150283"/>
                  <a:pt x="552450" y="209550"/>
                </a:cubicBezTo>
                <a:cubicBezTo>
                  <a:pt x="510117" y="268817"/>
                  <a:pt x="517525" y="312208"/>
                  <a:pt x="501650" y="355600"/>
                </a:cubicBezTo>
                <a:cubicBezTo>
                  <a:pt x="485775" y="398992"/>
                  <a:pt x="472017" y="442383"/>
                  <a:pt x="457200" y="469900"/>
                </a:cubicBezTo>
                <a:cubicBezTo>
                  <a:pt x="442383" y="497417"/>
                  <a:pt x="420158" y="497417"/>
                  <a:pt x="412750" y="520700"/>
                </a:cubicBezTo>
                <a:cubicBezTo>
                  <a:pt x="405342" y="543983"/>
                  <a:pt x="421217" y="579967"/>
                  <a:pt x="412750" y="609600"/>
                </a:cubicBezTo>
                <a:cubicBezTo>
                  <a:pt x="404283" y="639233"/>
                  <a:pt x="385233" y="665692"/>
                  <a:pt x="361950" y="698500"/>
                </a:cubicBezTo>
                <a:cubicBezTo>
                  <a:pt x="338667" y="731308"/>
                  <a:pt x="295275" y="773642"/>
                  <a:pt x="273050" y="806450"/>
                </a:cubicBezTo>
                <a:cubicBezTo>
                  <a:pt x="250825" y="839258"/>
                  <a:pt x="229658" y="866775"/>
                  <a:pt x="228600" y="895350"/>
                </a:cubicBezTo>
                <a:cubicBezTo>
                  <a:pt x="227542" y="923925"/>
                  <a:pt x="245533" y="953558"/>
                  <a:pt x="266700" y="977900"/>
                </a:cubicBezTo>
                <a:cubicBezTo>
                  <a:pt x="287867" y="1002242"/>
                  <a:pt x="335492" y="1006475"/>
                  <a:pt x="355600" y="1041400"/>
                </a:cubicBezTo>
                <a:cubicBezTo>
                  <a:pt x="375708" y="1076325"/>
                  <a:pt x="381000" y="1110192"/>
                  <a:pt x="387350" y="1187450"/>
                </a:cubicBezTo>
                <a:cubicBezTo>
                  <a:pt x="393700" y="1264708"/>
                  <a:pt x="386292" y="1416050"/>
                  <a:pt x="393700" y="1504950"/>
                </a:cubicBezTo>
                <a:cubicBezTo>
                  <a:pt x="401108" y="1593850"/>
                  <a:pt x="411692" y="1655233"/>
                  <a:pt x="431800" y="1720850"/>
                </a:cubicBezTo>
                <a:cubicBezTo>
                  <a:pt x="451908" y="1786467"/>
                  <a:pt x="483658" y="1840442"/>
                  <a:pt x="514350" y="1898650"/>
                </a:cubicBezTo>
                <a:cubicBezTo>
                  <a:pt x="545042" y="1956858"/>
                  <a:pt x="586317" y="2009775"/>
                  <a:pt x="615950" y="2070100"/>
                </a:cubicBezTo>
                <a:cubicBezTo>
                  <a:pt x="645583" y="2130425"/>
                  <a:pt x="680508" y="2210858"/>
                  <a:pt x="692150" y="2260600"/>
                </a:cubicBezTo>
                <a:cubicBezTo>
                  <a:pt x="703792" y="2310342"/>
                  <a:pt x="702733" y="2332567"/>
                  <a:pt x="685800" y="2368550"/>
                </a:cubicBezTo>
                <a:cubicBezTo>
                  <a:pt x="668867" y="2404533"/>
                  <a:pt x="623358" y="2433108"/>
                  <a:pt x="590550" y="2476500"/>
                </a:cubicBezTo>
                <a:cubicBezTo>
                  <a:pt x="557742" y="2519892"/>
                  <a:pt x="515408" y="2572809"/>
                  <a:pt x="488950" y="2628900"/>
                </a:cubicBezTo>
                <a:cubicBezTo>
                  <a:pt x="462492" y="2684991"/>
                  <a:pt x="446617" y="2769658"/>
                  <a:pt x="431800" y="2813050"/>
                </a:cubicBezTo>
                <a:cubicBezTo>
                  <a:pt x="416983" y="2856442"/>
                  <a:pt x="434975" y="2853267"/>
                  <a:pt x="400050" y="2889250"/>
                </a:cubicBezTo>
                <a:cubicBezTo>
                  <a:pt x="365125" y="2925233"/>
                  <a:pt x="266700" y="2996142"/>
                  <a:pt x="222250" y="3028950"/>
                </a:cubicBezTo>
                <a:cubicBezTo>
                  <a:pt x="177800" y="3061758"/>
                  <a:pt x="162983" y="3048000"/>
                  <a:pt x="133350" y="3086100"/>
                </a:cubicBezTo>
                <a:cubicBezTo>
                  <a:pt x="103717" y="3124200"/>
                  <a:pt x="66675" y="3199342"/>
                  <a:pt x="44450" y="3257550"/>
                </a:cubicBezTo>
                <a:cubicBezTo>
                  <a:pt x="22225" y="3315758"/>
                  <a:pt x="8467" y="3400425"/>
                  <a:pt x="0" y="3435350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2082" name="Полилиния 2081"/>
          <p:cNvSpPr/>
          <p:nvPr/>
        </p:nvSpPr>
        <p:spPr>
          <a:xfrm>
            <a:off x="4517629" y="3795519"/>
            <a:ext cx="146168" cy="919356"/>
          </a:xfrm>
          <a:custGeom>
            <a:avLst/>
            <a:gdLst>
              <a:gd name="connsiteX0" fmla="*/ 93378 w 146168"/>
              <a:gd name="connsiteY0" fmla="*/ 0 h 1181100"/>
              <a:gd name="connsiteX1" fmla="*/ 74328 w 146168"/>
              <a:gd name="connsiteY1" fmla="*/ 63500 h 1181100"/>
              <a:gd name="connsiteX2" fmla="*/ 99728 w 146168"/>
              <a:gd name="connsiteY2" fmla="*/ 177800 h 1181100"/>
              <a:gd name="connsiteX3" fmla="*/ 99728 w 146168"/>
              <a:gd name="connsiteY3" fmla="*/ 228600 h 1181100"/>
              <a:gd name="connsiteX4" fmla="*/ 61628 w 146168"/>
              <a:gd name="connsiteY4" fmla="*/ 374650 h 1181100"/>
              <a:gd name="connsiteX5" fmla="*/ 4478 w 146168"/>
              <a:gd name="connsiteY5" fmla="*/ 660400 h 1181100"/>
              <a:gd name="connsiteX6" fmla="*/ 4478 w 146168"/>
              <a:gd name="connsiteY6" fmla="*/ 806450 h 1181100"/>
              <a:gd name="connsiteX7" fmla="*/ 10828 w 146168"/>
              <a:gd name="connsiteY7" fmla="*/ 882650 h 1181100"/>
              <a:gd name="connsiteX8" fmla="*/ 106078 w 146168"/>
              <a:gd name="connsiteY8" fmla="*/ 996950 h 1181100"/>
              <a:gd name="connsiteX9" fmla="*/ 144178 w 146168"/>
              <a:gd name="connsiteY9" fmla="*/ 1111250 h 1181100"/>
              <a:gd name="connsiteX10" fmla="*/ 137828 w 146168"/>
              <a:gd name="connsiteY10" fmla="*/ 11811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6168" h="1181100">
                <a:moveTo>
                  <a:pt x="93378" y="0"/>
                </a:moveTo>
                <a:cubicBezTo>
                  <a:pt x="83324" y="16933"/>
                  <a:pt x="73270" y="33867"/>
                  <a:pt x="74328" y="63500"/>
                </a:cubicBezTo>
                <a:cubicBezTo>
                  <a:pt x="75386" y="93133"/>
                  <a:pt x="95495" y="150283"/>
                  <a:pt x="99728" y="177800"/>
                </a:cubicBezTo>
                <a:cubicBezTo>
                  <a:pt x="103961" y="205317"/>
                  <a:pt x="106078" y="195792"/>
                  <a:pt x="99728" y="228600"/>
                </a:cubicBezTo>
                <a:cubicBezTo>
                  <a:pt x="93378" y="261408"/>
                  <a:pt x="77503" y="302683"/>
                  <a:pt x="61628" y="374650"/>
                </a:cubicBezTo>
                <a:cubicBezTo>
                  <a:pt x="45753" y="446617"/>
                  <a:pt x="14003" y="588433"/>
                  <a:pt x="4478" y="660400"/>
                </a:cubicBezTo>
                <a:cubicBezTo>
                  <a:pt x="-5047" y="732367"/>
                  <a:pt x="3420" y="769408"/>
                  <a:pt x="4478" y="806450"/>
                </a:cubicBezTo>
                <a:cubicBezTo>
                  <a:pt x="5536" y="843492"/>
                  <a:pt x="-6105" y="850900"/>
                  <a:pt x="10828" y="882650"/>
                </a:cubicBezTo>
                <a:cubicBezTo>
                  <a:pt x="27761" y="914400"/>
                  <a:pt x="83853" y="958850"/>
                  <a:pt x="106078" y="996950"/>
                </a:cubicBezTo>
                <a:cubicBezTo>
                  <a:pt x="128303" y="1035050"/>
                  <a:pt x="138886" y="1080558"/>
                  <a:pt x="144178" y="1111250"/>
                </a:cubicBezTo>
                <a:cubicBezTo>
                  <a:pt x="149470" y="1141942"/>
                  <a:pt x="143120" y="1172633"/>
                  <a:pt x="137828" y="1181100"/>
                </a:cubicBezTo>
              </a:path>
            </a:pathLst>
          </a:custGeom>
          <a:ln w="1143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2" name="Полилиния 1"/>
          <p:cNvSpPr/>
          <p:nvPr/>
        </p:nvSpPr>
        <p:spPr>
          <a:xfrm>
            <a:off x="906236" y="2014538"/>
            <a:ext cx="106136" cy="81000"/>
          </a:xfrm>
          <a:custGeom>
            <a:avLst/>
            <a:gdLst>
              <a:gd name="connsiteX0" fmla="*/ 0 w 106135"/>
              <a:gd name="connsiteY0" fmla="*/ 0 h 106136"/>
              <a:gd name="connsiteX1" fmla="*/ 106135 w 106135"/>
              <a:gd name="connsiteY1" fmla="*/ 106136 h 10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135" h="106136">
                <a:moveTo>
                  <a:pt x="0" y="0"/>
                </a:moveTo>
                <a:lnTo>
                  <a:pt x="106135" y="106136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72" name="Полилиния 71"/>
          <p:cNvSpPr/>
          <p:nvPr/>
        </p:nvSpPr>
        <p:spPr>
          <a:xfrm>
            <a:off x="4592110" y="1249621"/>
            <a:ext cx="755651" cy="2576513"/>
          </a:xfrm>
          <a:custGeom>
            <a:avLst/>
            <a:gdLst>
              <a:gd name="connsiteX0" fmla="*/ 755650 w 755650"/>
              <a:gd name="connsiteY0" fmla="*/ 0 h 3435350"/>
              <a:gd name="connsiteX1" fmla="*/ 552450 w 755650"/>
              <a:gd name="connsiteY1" fmla="*/ 209550 h 3435350"/>
              <a:gd name="connsiteX2" fmla="*/ 501650 w 755650"/>
              <a:gd name="connsiteY2" fmla="*/ 355600 h 3435350"/>
              <a:gd name="connsiteX3" fmla="*/ 457200 w 755650"/>
              <a:gd name="connsiteY3" fmla="*/ 469900 h 3435350"/>
              <a:gd name="connsiteX4" fmla="*/ 412750 w 755650"/>
              <a:gd name="connsiteY4" fmla="*/ 520700 h 3435350"/>
              <a:gd name="connsiteX5" fmla="*/ 412750 w 755650"/>
              <a:gd name="connsiteY5" fmla="*/ 609600 h 3435350"/>
              <a:gd name="connsiteX6" fmla="*/ 361950 w 755650"/>
              <a:gd name="connsiteY6" fmla="*/ 698500 h 3435350"/>
              <a:gd name="connsiteX7" fmla="*/ 273050 w 755650"/>
              <a:gd name="connsiteY7" fmla="*/ 806450 h 3435350"/>
              <a:gd name="connsiteX8" fmla="*/ 228600 w 755650"/>
              <a:gd name="connsiteY8" fmla="*/ 895350 h 3435350"/>
              <a:gd name="connsiteX9" fmla="*/ 266700 w 755650"/>
              <a:gd name="connsiteY9" fmla="*/ 977900 h 3435350"/>
              <a:gd name="connsiteX10" fmla="*/ 355600 w 755650"/>
              <a:gd name="connsiteY10" fmla="*/ 1041400 h 3435350"/>
              <a:gd name="connsiteX11" fmla="*/ 387350 w 755650"/>
              <a:gd name="connsiteY11" fmla="*/ 1187450 h 3435350"/>
              <a:gd name="connsiteX12" fmla="*/ 393700 w 755650"/>
              <a:gd name="connsiteY12" fmla="*/ 1504950 h 3435350"/>
              <a:gd name="connsiteX13" fmla="*/ 431800 w 755650"/>
              <a:gd name="connsiteY13" fmla="*/ 1720850 h 3435350"/>
              <a:gd name="connsiteX14" fmla="*/ 514350 w 755650"/>
              <a:gd name="connsiteY14" fmla="*/ 1898650 h 3435350"/>
              <a:gd name="connsiteX15" fmla="*/ 615950 w 755650"/>
              <a:gd name="connsiteY15" fmla="*/ 2070100 h 3435350"/>
              <a:gd name="connsiteX16" fmla="*/ 692150 w 755650"/>
              <a:gd name="connsiteY16" fmla="*/ 2260600 h 3435350"/>
              <a:gd name="connsiteX17" fmla="*/ 685800 w 755650"/>
              <a:gd name="connsiteY17" fmla="*/ 2368550 h 3435350"/>
              <a:gd name="connsiteX18" fmla="*/ 590550 w 755650"/>
              <a:gd name="connsiteY18" fmla="*/ 2476500 h 3435350"/>
              <a:gd name="connsiteX19" fmla="*/ 488950 w 755650"/>
              <a:gd name="connsiteY19" fmla="*/ 2628900 h 3435350"/>
              <a:gd name="connsiteX20" fmla="*/ 431800 w 755650"/>
              <a:gd name="connsiteY20" fmla="*/ 2813050 h 3435350"/>
              <a:gd name="connsiteX21" fmla="*/ 400050 w 755650"/>
              <a:gd name="connsiteY21" fmla="*/ 2889250 h 3435350"/>
              <a:gd name="connsiteX22" fmla="*/ 222250 w 755650"/>
              <a:gd name="connsiteY22" fmla="*/ 3028950 h 3435350"/>
              <a:gd name="connsiteX23" fmla="*/ 133350 w 755650"/>
              <a:gd name="connsiteY23" fmla="*/ 3086100 h 3435350"/>
              <a:gd name="connsiteX24" fmla="*/ 44450 w 755650"/>
              <a:gd name="connsiteY24" fmla="*/ 3257550 h 3435350"/>
              <a:gd name="connsiteX25" fmla="*/ 0 w 755650"/>
              <a:gd name="connsiteY25" fmla="*/ 3435350 h 343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755650" h="3435350">
                <a:moveTo>
                  <a:pt x="755650" y="0"/>
                </a:moveTo>
                <a:cubicBezTo>
                  <a:pt x="675216" y="75141"/>
                  <a:pt x="594783" y="150283"/>
                  <a:pt x="552450" y="209550"/>
                </a:cubicBezTo>
                <a:cubicBezTo>
                  <a:pt x="510117" y="268817"/>
                  <a:pt x="517525" y="312208"/>
                  <a:pt x="501650" y="355600"/>
                </a:cubicBezTo>
                <a:cubicBezTo>
                  <a:pt x="485775" y="398992"/>
                  <a:pt x="472017" y="442383"/>
                  <a:pt x="457200" y="469900"/>
                </a:cubicBezTo>
                <a:cubicBezTo>
                  <a:pt x="442383" y="497417"/>
                  <a:pt x="420158" y="497417"/>
                  <a:pt x="412750" y="520700"/>
                </a:cubicBezTo>
                <a:cubicBezTo>
                  <a:pt x="405342" y="543983"/>
                  <a:pt x="421217" y="579967"/>
                  <a:pt x="412750" y="609600"/>
                </a:cubicBezTo>
                <a:cubicBezTo>
                  <a:pt x="404283" y="639233"/>
                  <a:pt x="385233" y="665692"/>
                  <a:pt x="361950" y="698500"/>
                </a:cubicBezTo>
                <a:cubicBezTo>
                  <a:pt x="338667" y="731308"/>
                  <a:pt x="295275" y="773642"/>
                  <a:pt x="273050" y="806450"/>
                </a:cubicBezTo>
                <a:cubicBezTo>
                  <a:pt x="250825" y="839258"/>
                  <a:pt x="229658" y="866775"/>
                  <a:pt x="228600" y="895350"/>
                </a:cubicBezTo>
                <a:cubicBezTo>
                  <a:pt x="227542" y="923925"/>
                  <a:pt x="245533" y="953558"/>
                  <a:pt x="266700" y="977900"/>
                </a:cubicBezTo>
                <a:cubicBezTo>
                  <a:pt x="287867" y="1002242"/>
                  <a:pt x="335492" y="1006475"/>
                  <a:pt x="355600" y="1041400"/>
                </a:cubicBezTo>
                <a:cubicBezTo>
                  <a:pt x="375708" y="1076325"/>
                  <a:pt x="381000" y="1110192"/>
                  <a:pt x="387350" y="1187450"/>
                </a:cubicBezTo>
                <a:cubicBezTo>
                  <a:pt x="393700" y="1264708"/>
                  <a:pt x="386292" y="1416050"/>
                  <a:pt x="393700" y="1504950"/>
                </a:cubicBezTo>
                <a:cubicBezTo>
                  <a:pt x="401108" y="1593850"/>
                  <a:pt x="411692" y="1655233"/>
                  <a:pt x="431800" y="1720850"/>
                </a:cubicBezTo>
                <a:cubicBezTo>
                  <a:pt x="451908" y="1786467"/>
                  <a:pt x="483658" y="1840442"/>
                  <a:pt x="514350" y="1898650"/>
                </a:cubicBezTo>
                <a:cubicBezTo>
                  <a:pt x="545042" y="1956858"/>
                  <a:pt x="586317" y="2009775"/>
                  <a:pt x="615950" y="2070100"/>
                </a:cubicBezTo>
                <a:cubicBezTo>
                  <a:pt x="645583" y="2130425"/>
                  <a:pt x="680508" y="2210858"/>
                  <a:pt x="692150" y="2260600"/>
                </a:cubicBezTo>
                <a:cubicBezTo>
                  <a:pt x="703792" y="2310342"/>
                  <a:pt x="702733" y="2332567"/>
                  <a:pt x="685800" y="2368550"/>
                </a:cubicBezTo>
                <a:cubicBezTo>
                  <a:pt x="668867" y="2404533"/>
                  <a:pt x="623358" y="2433108"/>
                  <a:pt x="590550" y="2476500"/>
                </a:cubicBezTo>
                <a:cubicBezTo>
                  <a:pt x="557742" y="2519892"/>
                  <a:pt x="515408" y="2572809"/>
                  <a:pt x="488950" y="2628900"/>
                </a:cubicBezTo>
                <a:cubicBezTo>
                  <a:pt x="462492" y="2684991"/>
                  <a:pt x="446617" y="2769658"/>
                  <a:pt x="431800" y="2813050"/>
                </a:cubicBezTo>
                <a:cubicBezTo>
                  <a:pt x="416983" y="2856442"/>
                  <a:pt x="434975" y="2853267"/>
                  <a:pt x="400050" y="2889250"/>
                </a:cubicBezTo>
                <a:cubicBezTo>
                  <a:pt x="365125" y="2925233"/>
                  <a:pt x="266700" y="2996142"/>
                  <a:pt x="222250" y="3028950"/>
                </a:cubicBezTo>
                <a:cubicBezTo>
                  <a:pt x="177800" y="3061758"/>
                  <a:pt x="162983" y="3048000"/>
                  <a:pt x="133350" y="3086100"/>
                </a:cubicBezTo>
                <a:cubicBezTo>
                  <a:pt x="103717" y="3124200"/>
                  <a:pt x="66675" y="3199342"/>
                  <a:pt x="44450" y="3257550"/>
                </a:cubicBezTo>
                <a:cubicBezTo>
                  <a:pt x="22225" y="3315758"/>
                  <a:pt x="8467" y="3400425"/>
                  <a:pt x="0" y="343535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73" name="Полилиния 72"/>
          <p:cNvSpPr/>
          <p:nvPr/>
        </p:nvSpPr>
        <p:spPr>
          <a:xfrm>
            <a:off x="4516321" y="3784374"/>
            <a:ext cx="146168" cy="919356"/>
          </a:xfrm>
          <a:custGeom>
            <a:avLst/>
            <a:gdLst>
              <a:gd name="connsiteX0" fmla="*/ 93378 w 146168"/>
              <a:gd name="connsiteY0" fmla="*/ 0 h 1181100"/>
              <a:gd name="connsiteX1" fmla="*/ 74328 w 146168"/>
              <a:gd name="connsiteY1" fmla="*/ 63500 h 1181100"/>
              <a:gd name="connsiteX2" fmla="*/ 99728 w 146168"/>
              <a:gd name="connsiteY2" fmla="*/ 177800 h 1181100"/>
              <a:gd name="connsiteX3" fmla="*/ 99728 w 146168"/>
              <a:gd name="connsiteY3" fmla="*/ 228600 h 1181100"/>
              <a:gd name="connsiteX4" fmla="*/ 61628 w 146168"/>
              <a:gd name="connsiteY4" fmla="*/ 374650 h 1181100"/>
              <a:gd name="connsiteX5" fmla="*/ 4478 w 146168"/>
              <a:gd name="connsiteY5" fmla="*/ 660400 h 1181100"/>
              <a:gd name="connsiteX6" fmla="*/ 4478 w 146168"/>
              <a:gd name="connsiteY6" fmla="*/ 806450 h 1181100"/>
              <a:gd name="connsiteX7" fmla="*/ 10828 w 146168"/>
              <a:gd name="connsiteY7" fmla="*/ 882650 h 1181100"/>
              <a:gd name="connsiteX8" fmla="*/ 106078 w 146168"/>
              <a:gd name="connsiteY8" fmla="*/ 996950 h 1181100"/>
              <a:gd name="connsiteX9" fmla="*/ 144178 w 146168"/>
              <a:gd name="connsiteY9" fmla="*/ 1111250 h 1181100"/>
              <a:gd name="connsiteX10" fmla="*/ 137828 w 146168"/>
              <a:gd name="connsiteY10" fmla="*/ 1181100 h 1181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46168" h="1181100">
                <a:moveTo>
                  <a:pt x="93378" y="0"/>
                </a:moveTo>
                <a:cubicBezTo>
                  <a:pt x="83324" y="16933"/>
                  <a:pt x="73270" y="33867"/>
                  <a:pt x="74328" y="63500"/>
                </a:cubicBezTo>
                <a:cubicBezTo>
                  <a:pt x="75386" y="93133"/>
                  <a:pt x="95495" y="150283"/>
                  <a:pt x="99728" y="177800"/>
                </a:cubicBezTo>
                <a:cubicBezTo>
                  <a:pt x="103961" y="205317"/>
                  <a:pt x="106078" y="195792"/>
                  <a:pt x="99728" y="228600"/>
                </a:cubicBezTo>
                <a:cubicBezTo>
                  <a:pt x="93378" y="261408"/>
                  <a:pt x="77503" y="302683"/>
                  <a:pt x="61628" y="374650"/>
                </a:cubicBezTo>
                <a:cubicBezTo>
                  <a:pt x="45753" y="446617"/>
                  <a:pt x="14003" y="588433"/>
                  <a:pt x="4478" y="660400"/>
                </a:cubicBezTo>
                <a:cubicBezTo>
                  <a:pt x="-5047" y="732367"/>
                  <a:pt x="3420" y="769408"/>
                  <a:pt x="4478" y="806450"/>
                </a:cubicBezTo>
                <a:cubicBezTo>
                  <a:pt x="5536" y="843492"/>
                  <a:pt x="-6105" y="850900"/>
                  <a:pt x="10828" y="882650"/>
                </a:cubicBezTo>
                <a:cubicBezTo>
                  <a:pt x="27761" y="914400"/>
                  <a:pt x="83853" y="958850"/>
                  <a:pt x="106078" y="996950"/>
                </a:cubicBezTo>
                <a:cubicBezTo>
                  <a:pt x="128303" y="1035050"/>
                  <a:pt x="138886" y="1080558"/>
                  <a:pt x="144178" y="1111250"/>
                </a:cubicBezTo>
                <a:cubicBezTo>
                  <a:pt x="149470" y="1141942"/>
                  <a:pt x="143120" y="1172633"/>
                  <a:pt x="137828" y="118110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5217356" y="699910"/>
            <a:ext cx="3843338" cy="1888327"/>
          </a:xfrm>
          <a:custGeom>
            <a:avLst/>
            <a:gdLst>
              <a:gd name="connsiteX0" fmla="*/ 0 w 3843338"/>
              <a:gd name="connsiteY0" fmla="*/ 0 h 2517769"/>
              <a:gd name="connsiteX1" fmla="*/ 161925 w 3843338"/>
              <a:gd name="connsiteY1" fmla="*/ 285750 h 2517769"/>
              <a:gd name="connsiteX2" fmla="*/ 271463 w 3843338"/>
              <a:gd name="connsiteY2" fmla="*/ 523875 h 2517769"/>
              <a:gd name="connsiteX3" fmla="*/ 242888 w 3843338"/>
              <a:gd name="connsiteY3" fmla="*/ 652463 h 2517769"/>
              <a:gd name="connsiteX4" fmla="*/ 252413 w 3843338"/>
              <a:gd name="connsiteY4" fmla="*/ 776288 h 2517769"/>
              <a:gd name="connsiteX5" fmla="*/ 419100 w 3843338"/>
              <a:gd name="connsiteY5" fmla="*/ 995363 h 2517769"/>
              <a:gd name="connsiteX6" fmla="*/ 514350 w 3843338"/>
              <a:gd name="connsiteY6" fmla="*/ 1171575 h 2517769"/>
              <a:gd name="connsiteX7" fmla="*/ 619125 w 3843338"/>
              <a:gd name="connsiteY7" fmla="*/ 1371600 h 2517769"/>
              <a:gd name="connsiteX8" fmla="*/ 809625 w 3843338"/>
              <a:gd name="connsiteY8" fmla="*/ 1552575 h 2517769"/>
              <a:gd name="connsiteX9" fmla="*/ 842963 w 3843338"/>
              <a:gd name="connsiteY9" fmla="*/ 1595438 h 2517769"/>
              <a:gd name="connsiteX10" fmla="*/ 852488 w 3843338"/>
              <a:gd name="connsiteY10" fmla="*/ 1662113 h 2517769"/>
              <a:gd name="connsiteX11" fmla="*/ 952500 w 3843338"/>
              <a:gd name="connsiteY11" fmla="*/ 1771650 h 2517769"/>
              <a:gd name="connsiteX12" fmla="*/ 995363 w 3843338"/>
              <a:gd name="connsiteY12" fmla="*/ 1852613 h 2517769"/>
              <a:gd name="connsiteX13" fmla="*/ 1004888 w 3843338"/>
              <a:gd name="connsiteY13" fmla="*/ 1938338 h 2517769"/>
              <a:gd name="connsiteX14" fmla="*/ 1343025 w 3843338"/>
              <a:gd name="connsiteY14" fmla="*/ 2062163 h 2517769"/>
              <a:gd name="connsiteX15" fmla="*/ 1976438 w 3843338"/>
              <a:gd name="connsiteY15" fmla="*/ 2252663 h 2517769"/>
              <a:gd name="connsiteX16" fmla="*/ 2381250 w 3843338"/>
              <a:gd name="connsiteY16" fmla="*/ 2376488 h 2517769"/>
              <a:gd name="connsiteX17" fmla="*/ 2538413 w 3843338"/>
              <a:gd name="connsiteY17" fmla="*/ 2366963 h 2517769"/>
              <a:gd name="connsiteX18" fmla="*/ 2828925 w 3843338"/>
              <a:gd name="connsiteY18" fmla="*/ 2419350 h 2517769"/>
              <a:gd name="connsiteX19" fmla="*/ 3290888 w 3843338"/>
              <a:gd name="connsiteY19" fmla="*/ 2457450 h 2517769"/>
              <a:gd name="connsiteX20" fmla="*/ 3552825 w 3843338"/>
              <a:gd name="connsiteY20" fmla="*/ 2514600 h 2517769"/>
              <a:gd name="connsiteX21" fmla="*/ 3757613 w 3843338"/>
              <a:gd name="connsiteY21" fmla="*/ 2509838 h 2517769"/>
              <a:gd name="connsiteX22" fmla="*/ 3843338 w 3843338"/>
              <a:gd name="connsiteY22" fmla="*/ 2505075 h 2517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3843338" h="2517769">
                <a:moveTo>
                  <a:pt x="0" y="0"/>
                </a:moveTo>
                <a:cubicBezTo>
                  <a:pt x="58340" y="99218"/>
                  <a:pt x="116681" y="198437"/>
                  <a:pt x="161925" y="285750"/>
                </a:cubicBezTo>
                <a:cubicBezTo>
                  <a:pt x="207169" y="373063"/>
                  <a:pt x="257969" y="462756"/>
                  <a:pt x="271463" y="523875"/>
                </a:cubicBezTo>
                <a:cubicBezTo>
                  <a:pt x="284957" y="584994"/>
                  <a:pt x="246063" y="610394"/>
                  <a:pt x="242888" y="652463"/>
                </a:cubicBezTo>
                <a:cubicBezTo>
                  <a:pt x="239713" y="694532"/>
                  <a:pt x="223044" y="719138"/>
                  <a:pt x="252413" y="776288"/>
                </a:cubicBezTo>
                <a:cubicBezTo>
                  <a:pt x="281782" y="833438"/>
                  <a:pt x="375444" y="929482"/>
                  <a:pt x="419100" y="995363"/>
                </a:cubicBezTo>
                <a:cubicBezTo>
                  <a:pt x="462756" y="1061244"/>
                  <a:pt x="481013" y="1108869"/>
                  <a:pt x="514350" y="1171575"/>
                </a:cubicBezTo>
                <a:cubicBezTo>
                  <a:pt x="547687" y="1234281"/>
                  <a:pt x="569913" y="1308100"/>
                  <a:pt x="619125" y="1371600"/>
                </a:cubicBezTo>
                <a:cubicBezTo>
                  <a:pt x="668337" y="1435100"/>
                  <a:pt x="772319" y="1515269"/>
                  <a:pt x="809625" y="1552575"/>
                </a:cubicBezTo>
                <a:cubicBezTo>
                  <a:pt x="846931" y="1589881"/>
                  <a:pt x="835819" y="1577182"/>
                  <a:pt x="842963" y="1595438"/>
                </a:cubicBezTo>
                <a:cubicBezTo>
                  <a:pt x="850107" y="1613694"/>
                  <a:pt x="834232" y="1632744"/>
                  <a:pt x="852488" y="1662113"/>
                </a:cubicBezTo>
                <a:cubicBezTo>
                  <a:pt x="870744" y="1691482"/>
                  <a:pt x="928688" y="1739900"/>
                  <a:pt x="952500" y="1771650"/>
                </a:cubicBezTo>
                <a:cubicBezTo>
                  <a:pt x="976312" y="1803400"/>
                  <a:pt x="986632" y="1824832"/>
                  <a:pt x="995363" y="1852613"/>
                </a:cubicBezTo>
                <a:cubicBezTo>
                  <a:pt x="1004094" y="1880394"/>
                  <a:pt x="946944" y="1903413"/>
                  <a:pt x="1004888" y="1938338"/>
                </a:cubicBezTo>
                <a:cubicBezTo>
                  <a:pt x="1062832" y="1973263"/>
                  <a:pt x="1181100" y="2009776"/>
                  <a:pt x="1343025" y="2062163"/>
                </a:cubicBezTo>
                <a:cubicBezTo>
                  <a:pt x="1504950" y="2114551"/>
                  <a:pt x="1976438" y="2252663"/>
                  <a:pt x="1976438" y="2252663"/>
                </a:cubicBezTo>
                <a:cubicBezTo>
                  <a:pt x="2149475" y="2305050"/>
                  <a:pt x="2287588" y="2357438"/>
                  <a:pt x="2381250" y="2376488"/>
                </a:cubicBezTo>
                <a:cubicBezTo>
                  <a:pt x="2474912" y="2395538"/>
                  <a:pt x="2463801" y="2359819"/>
                  <a:pt x="2538413" y="2366963"/>
                </a:cubicBezTo>
                <a:cubicBezTo>
                  <a:pt x="2613025" y="2374107"/>
                  <a:pt x="2703513" y="2404269"/>
                  <a:pt x="2828925" y="2419350"/>
                </a:cubicBezTo>
                <a:cubicBezTo>
                  <a:pt x="2954337" y="2434431"/>
                  <a:pt x="3170238" y="2441575"/>
                  <a:pt x="3290888" y="2457450"/>
                </a:cubicBezTo>
                <a:cubicBezTo>
                  <a:pt x="3411538" y="2473325"/>
                  <a:pt x="3475037" y="2505869"/>
                  <a:pt x="3552825" y="2514600"/>
                </a:cubicBezTo>
                <a:cubicBezTo>
                  <a:pt x="3630613" y="2523331"/>
                  <a:pt x="3709194" y="2511425"/>
                  <a:pt x="3757613" y="2509838"/>
                </a:cubicBezTo>
                <a:cubicBezTo>
                  <a:pt x="3806032" y="2508251"/>
                  <a:pt x="3831432" y="2507456"/>
                  <a:pt x="3843338" y="2505075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59404" name="Овал 59403"/>
          <p:cNvSpPr/>
          <p:nvPr/>
        </p:nvSpPr>
        <p:spPr>
          <a:xfrm>
            <a:off x="5354387" y="1167594"/>
            <a:ext cx="144016" cy="108012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75" name="Полилиния 74"/>
          <p:cNvSpPr/>
          <p:nvPr/>
        </p:nvSpPr>
        <p:spPr>
          <a:xfrm>
            <a:off x="3051669" y="2002177"/>
            <a:ext cx="1919288" cy="252569"/>
          </a:xfrm>
          <a:custGeom>
            <a:avLst/>
            <a:gdLst>
              <a:gd name="connsiteX0" fmla="*/ 1919288 w 1919288"/>
              <a:gd name="connsiteY0" fmla="*/ 71814 h 336759"/>
              <a:gd name="connsiteX1" fmla="*/ 1747838 w 1919288"/>
              <a:gd name="connsiteY1" fmla="*/ 62289 h 336759"/>
              <a:gd name="connsiteX2" fmla="*/ 1666875 w 1919288"/>
              <a:gd name="connsiteY2" fmla="*/ 38477 h 336759"/>
              <a:gd name="connsiteX3" fmla="*/ 1628775 w 1919288"/>
              <a:gd name="connsiteY3" fmla="*/ 24189 h 336759"/>
              <a:gd name="connsiteX4" fmla="*/ 1481138 w 1919288"/>
              <a:gd name="connsiteY4" fmla="*/ 28952 h 336759"/>
              <a:gd name="connsiteX5" fmla="*/ 1319213 w 1919288"/>
              <a:gd name="connsiteY5" fmla="*/ 377 h 336759"/>
              <a:gd name="connsiteX6" fmla="*/ 1219200 w 1919288"/>
              <a:gd name="connsiteY6" fmla="*/ 52764 h 336759"/>
              <a:gd name="connsiteX7" fmla="*/ 1104900 w 1919288"/>
              <a:gd name="connsiteY7" fmla="*/ 67052 h 336759"/>
              <a:gd name="connsiteX8" fmla="*/ 947738 w 1919288"/>
              <a:gd name="connsiteY8" fmla="*/ 105152 h 336759"/>
              <a:gd name="connsiteX9" fmla="*/ 762000 w 1919288"/>
              <a:gd name="connsiteY9" fmla="*/ 209927 h 336759"/>
              <a:gd name="connsiteX10" fmla="*/ 609600 w 1919288"/>
              <a:gd name="connsiteY10" fmla="*/ 290889 h 336759"/>
              <a:gd name="connsiteX11" fmla="*/ 419100 w 1919288"/>
              <a:gd name="connsiteY11" fmla="*/ 328989 h 336759"/>
              <a:gd name="connsiteX12" fmla="*/ 304800 w 1919288"/>
              <a:gd name="connsiteY12" fmla="*/ 333752 h 336759"/>
              <a:gd name="connsiteX13" fmla="*/ 100013 w 1919288"/>
              <a:gd name="connsiteY13" fmla="*/ 333752 h 336759"/>
              <a:gd name="connsiteX14" fmla="*/ 0 w 1919288"/>
              <a:gd name="connsiteY14" fmla="*/ 295652 h 3367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919288" h="336759">
                <a:moveTo>
                  <a:pt x="1919288" y="71814"/>
                </a:moveTo>
                <a:cubicBezTo>
                  <a:pt x="1854597" y="69829"/>
                  <a:pt x="1789907" y="67845"/>
                  <a:pt x="1747838" y="62289"/>
                </a:cubicBezTo>
                <a:cubicBezTo>
                  <a:pt x="1705769" y="56733"/>
                  <a:pt x="1686719" y="44827"/>
                  <a:pt x="1666875" y="38477"/>
                </a:cubicBezTo>
                <a:cubicBezTo>
                  <a:pt x="1647031" y="32127"/>
                  <a:pt x="1659731" y="25776"/>
                  <a:pt x="1628775" y="24189"/>
                </a:cubicBezTo>
                <a:cubicBezTo>
                  <a:pt x="1597819" y="22602"/>
                  <a:pt x="1532732" y="32921"/>
                  <a:pt x="1481138" y="28952"/>
                </a:cubicBezTo>
                <a:cubicBezTo>
                  <a:pt x="1429544" y="24983"/>
                  <a:pt x="1362869" y="-3592"/>
                  <a:pt x="1319213" y="377"/>
                </a:cubicBezTo>
                <a:cubicBezTo>
                  <a:pt x="1275557" y="4346"/>
                  <a:pt x="1254919" y="41651"/>
                  <a:pt x="1219200" y="52764"/>
                </a:cubicBezTo>
                <a:cubicBezTo>
                  <a:pt x="1183481" y="63876"/>
                  <a:pt x="1150143" y="58321"/>
                  <a:pt x="1104900" y="67052"/>
                </a:cubicBezTo>
                <a:cubicBezTo>
                  <a:pt x="1059657" y="75783"/>
                  <a:pt x="1004888" y="81340"/>
                  <a:pt x="947738" y="105152"/>
                </a:cubicBezTo>
                <a:cubicBezTo>
                  <a:pt x="890588" y="128964"/>
                  <a:pt x="818356" y="178971"/>
                  <a:pt x="762000" y="209927"/>
                </a:cubicBezTo>
                <a:cubicBezTo>
                  <a:pt x="705644" y="240883"/>
                  <a:pt x="666750" y="271045"/>
                  <a:pt x="609600" y="290889"/>
                </a:cubicBezTo>
                <a:cubicBezTo>
                  <a:pt x="552450" y="310733"/>
                  <a:pt x="469900" y="321845"/>
                  <a:pt x="419100" y="328989"/>
                </a:cubicBezTo>
                <a:cubicBezTo>
                  <a:pt x="368300" y="336133"/>
                  <a:pt x="357981" y="332958"/>
                  <a:pt x="304800" y="333752"/>
                </a:cubicBezTo>
                <a:cubicBezTo>
                  <a:pt x="251619" y="334546"/>
                  <a:pt x="150813" y="340102"/>
                  <a:pt x="100013" y="333752"/>
                </a:cubicBezTo>
                <a:cubicBezTo>
                  <a:pt x="49213" y="327402"/>
                  <a:pt x="24606" y="311527"/>
                  <a:pt x="0" y="295652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4" name="Полилиния 83"/>
          <p:cNvSpPr/>
          <p:nvPr/>
        </p:nvSpPr>
        <p:spPr>
          <a:xfrm>
            <a:off x="4222303" y="1041213"/>
            <a:ext cx="1133474" cy="189585"/>
          </a:xfrm>
          <a:custGeom>
            <a:avLst/>
            <a:gdLst>
              <a:gd name="connsiteX0" fmla="*/ 1133475 w 1133475"/>
              <a:gd name="connsiteY0" fmla="*/ 204787 h 252780"/>
              <a:gd name="connsiteX1" fmla="*/ 971550 w 1133475"/>
              <a:gd name="connsiteY1" fmla="*/ 171450 h 252780"/>
              <a:gd name="connsiteX2" fmla="*/ 838200 w 1133475"/>
              <a:gd name="connsiteY2" fmla="*/ 247650 h 252780"/>
              <a:gd name="connsiteX3" fmla="*/ 700088 w 1133475"/>
              <a:gd name="connsiteY3" fmla="*/ 242887 h 252780"/>
              <a:gd name="connsiteX4" fmla="*/ 504825 w 1133475"/>
              <a:gd name="connsiteY4" fmla="*/ 219075 h 252780"/>
              <a:gd name="connsiteX5" fmla="*/ 342900 w 1133475"/>
              <a:gd name="connsiteY5" fmla="*/ 223837 h 252780"/>
              <a:gd name="connsiteX6" fmla="*/ 252413 w 1133475"/>
              <a:gd name="connsiteY6" fmla="*/ 204787 h 252780"/>
              <a:gd name="connsiteX7" fmla="*/ 157163 w 1133475"/>
              <a:gd name="connsiteY7" fmla="*/ 138112 h 252780"/>
              <a:gd name="connsiteX8" fmla="*/ 0 w 1133475"/>
              <a:gd name="connsiteY8" fmla="*/ 0 h 25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33475" h="252780">
                <a:moveTo>
                  <a:pt x="1133475" y="204787"/>
                </a:moveTo>
                <a:cubicBezTo>
                  <a:pt x="1077118" y="184546"/>
                  <a:pt x="1020762" y="164306"/>
                  <a:pt x="971550" y="171450"/>
                </a:cubicBezTo>
                <a:cubicBezTo>
                  <a:pt x="922338" y="178594"/>
                  <a:pt x="883444" y="235744"/>
                  <a:pt x="838200" y="247650"/>
                </a:cubicBezTo>
                <a:cubicBezTo>
                  <a:pt x="792956" y="259556"/>
                  <a:pt x="755650" y="247650"/>
                  <a:pt x="700088" y="242887"/>
                </a:cubicBezTo>
                <a:cubicBezTo>
                  <a:pt x="644525" y="238125"/>
                  <a:pt x="564356" y="222250"/>
                  <a:pt x="504825" y="219075"/>
                </a:cubicBezTo>
                <a:cubicBezTo>
                  <a:pt x="445294" y="215900"/>
                  <a:pt x="384969" y="226218"/>
                  <a:pt x="342900" y="223837"/>
                </a:cubicBezTo>
                <a:cubicBezTo>
                  <a:pt x="300831" y="221456"/>
                  <a:pt x="283369" y="219075"/>
                  <a:pt x="252413" y="204787"/>
                </a:cubicBezTo>
                <a:cubicBezTo>
                  <a:pt x="221457" y="190499"/>
                  <a:pt x="199232" y="172243"/>
                  <a:pt x="157163" y="138112"/>
                </a:cubicBezTo>
                <a:cubicBezTo>
                  <a:pt x="115094" y="103981"/>
                  <a:pt x="57547" y="51990"/>
                  <a:pt x="0" y="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5" name="Полилиния 84"/>
          <p:cNvSpPr/>
          <p:nvPr/>
        </p:nvSpPr>
        <p:spPr>
          <a:xfrm>
            <a:off x="5536299" y="1167594"/>
            <a:ext cx="1739900" cy="94652"/>
          </a:xfrm>
          <a:custGeom>
            <a:avLst/>
            <a:gdLst>
              <a:gd name="connsiteX0" fmla="*/ 0 w 1739900"/>
              <a:gd name="connsiteY0" fmla="*/ 109940 h 126202"/>
              <a:gd name="connsiteX1" fmla="*/ 127000 w 1739900"/>
              <a:gd name="connsiteY1" fmla="*/ 97240 h 126202"/>
              <a:gd name="connsiteX2" fmla="*/ 177800 w 1739900"/>
              <a:gd name="connsiteY2" fmla="*/ 65490 h 126202"/>
              <a:gd name="connsiteX3" fmla="*/ 336550 w 1739900"/>
              <a:gd name="connsiteY3" fmla="*/ 122640 h 126202"/>
              <a:gd name="connsiteX4" fmla="*/ 508000 w 1739900"/>
              <a:gd name="connsiteY4" fmla="*/ 116290 h 126202"/>
              <a:gd name="connsiteX5" fmla="*/ 615950 w 1739900"/>
              <a:gd name="connsiteY5" fmla="*/ 84540 h 126202"/>
              <a:gd name="connsiteX6" fmla="*/ 717550 w 1739900"/>
              <a:gd name="connsiteY6" fmla="*/ 84540 h 126202"/>
              <a:gd name="connsiteX7" fmla="*/ 819150 w 1739900"/>
              <a:gd name="connsiteY7" fmla="*/ 97240 h 126202"/>
              <a:gd name="connsiteX8" fmla="*/ 952500 w 1739900"/>
              <a:gd name="connsiteY8" fmla="*/ 78190 h 126202"/>
              <a:gd name="connsiteX9" fmla="*/ 1041400 w 1739900"/>
              <a:gd name="connsiteY9" fmla="*/ 40090 h 126202"/>
              <a:gd name="connsiteX10" fmla="*/ 1123950 w 1739900"/>
              <a:gd name="connsiteY10" fmla="*/ 1990 h 126202"/>
              <a:gd name="connsiteX11" fmla="*/ 1250950 w 1739900"/>
              <a:gd name="connsiteY11" fmla="*/ 8340 h 126202"/>
              <a:gd name="connsiteX12" fmla="*/ 1358900 w 1739900"/>
              <a:gd name="connsiteY12" fmla="*/ 33740 h 126202"/>
              <a:gd name="connsiteX13" fmla="*/ 1485900 w 1739900"/>
              <a:gd name="connsiteY13" fmla="*/ 14690 h 126202"/>
              <a:gd name="connsiteX14" fmla="*/ 1574800 w 1739900"/>
              <a:gd name="connsiteY14" fmla="*/ 14690 h 126202"/>
              <a:gd name="connsiteX15" fmla="*/ 1676400 w 1739900"/>
              <a:gd name="connsiteY15" fmla="*/ 21040 h 126202"/>
              <a:gd name="connsiteX16" fmla="*/ 1739900 w 1739900"/>
              <a:gd name="connsiteY16" fmla="*/ 8340 h 126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39900" h="126202">
                <a:moveTo>
                  <a:pt x="0" y="109940"/>
                </a:moveTo>
                <a:cubicBezTo>
                  <a:pt x="48683" y="107294"/>
                  <a:pt x="97367" y="104648"/>
                  <a:pt x="127000" y="97240"/>
                </a:cubicBezTo>
                <a:cubicBezTo>
                  <a:pt x="156633" y="89832"/>
                  <a:pt x="142875" y="61257"/>
                  <a:pt x="177800" y="65490"/>
                </a:cubicBezTo>
                <a:cubicBezTo>
                  <a:pt x="212725" y="69723"/>
                  <a:pt x="281517" y="114173"/>
                  <a:pt x="336550" y="122640"/>
                </a:cubicBezTo>
                <a:cubicBezTo>
                  <a:pt x="391583" y="131107"/>
                  <a:pt x="461433" y="122640"/>
                  <a:pt x="508000" y="116290"/>
                </a:cubicBezTo>
                <a:cubicBezTo>
                  <a:pt x="554567" y="109940"/>
                  <a:pt x="581025" y="89832"/>
                  <a:pt x="615950" y="84540"/>
                </a:cubicBezTo>
                <a:cubicBezTo>
                  <a:pt x="650875" y="79248"/>
                  <a:pt x="683683" y="82423"/>
                  <a:pt x="717550" y="84540"/>
                </a:cubicBezTo>
                <a:cubicBezTo>
                  <a:pt x="751417" y="86657"/>
                  <a:pt x="779992" y="98298"/>
                  <a:pt x="819150" y="97240"/>
                </a:cubicBezTo>
                <a:cubicBezTo>
                  <a:pt x="858308" y="96182"/>
                  <a:pt x="915458" y="87715"/>
                  <a:pt x="952500" y="78190"/>
                </a:cubicBezTo>
                <a:cubicBezTo>
                  <a:pt x="989542" y="68665"/>
                  <a:pt x="1012825" y="52790"/>
                  <a:pt x="1041400" y="40090"/>
                </a:cubicBezTo>
                <a:cubicBezTo>
                  <a:pt x="1069975" y="27390"/>
                  <a:pt x="1089025" y="7282"/>
                  <a:pt x="1123950" y="1990"/>
                </a:cubicBezTo>
                <a:cubicBezTo>
                  <a:pt x="1158875" y="-3302"/>
                  <a:pt x="1211792" y="3048"/>
                  <a:pt x="1250950" y="8340"/>
                </a:cubicBezTo>
                <a:cubicBezTo>
                  <a:pt x="1290108" y="13632"/>
                  <a:pt x="1319742" y="32682"/>
                  <a:pt x="1358900" y="33740"/>
                </a:cubicBezTo>
                <a:cubicBezTo>
                  <a:pt x="1398058" y="34798"/>
                  <a:pt x="1449917" y="17865"/>
                  <a:pt x="1485900" y="14690"/>
                </a:cubicBezTo>
                <a:cubicBezTo>
                  <a:pt x="1521883" y="11515"/>
                  <a:pt x="1543050" y="13632"/>
                  <a:pt x="1574800" y="14690"/>
                </a:cubicBezTo>
                <a:cubicBezTo>
                  <a:pt x="1606550" y="15748"/>
                  <a:pt x="1648883" y="22098"/>
                  <a:pt x="1676400" y="21040"/>
                </a:cubicBezTo>
                <a:cubicBezTo>
                  <a:pt x="1703917" y="19982"/>
                  <a:pt x="1721908" y="14161"/>
                  <a:pt x="1739900" y="834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93" name="Полилиния 92"/>
          <p:cNvSpPr/>
          <p:nvPr/>
        </p:nvSpPr>
        <p:spPr>
          <a:xfrm>
            <a:off x="915920" y="2030589"/>
            <a:ext cx="106136" cy="79602"/>
          </a:xfrm>
          <a:custGeom>
            <a:avLst/>
            <a:gdLst>
              <a:gd name="connsiteX0" fmla="*/ 0 w 106135"/>
              <a:gd name="connsiteY0" fmla="*/ 0 h 106136"/>
              <a:gd name="connsiteX1" fmla="*/ 106135 w 106135"/>
              <a:gd name="connsiteY1" fmla="*/ 106136 h 106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135" h="106136">
                <a:moveTo>
                  <a:pt x="0" y="0"/>
                </a:moveTo>
                <a:lnTo>
                  <a:pt x="106135" y="106136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3" name="AutoShape 19"/>
          <p:cNvSpPr>
            <a:spLocks noChangeArrowheads="1"/>
          </p:cNvSpPr>
          <p:nvPr/>
        </p:nvSpPr>
        <p:spPr bwMode="auto">
          <a:xfrm>
            <a:off x="1528616" y="2805084"/>
            <a:ext cx="2997937" cy="1438967"/>
          </a:xfrm>
          <a:prstGeom prst="roundRect">
            <a:avLst>
              <a:gd name="adj" fmla="val 11343"/>
            </a:avLst>
          </a:prstGeom>
          <a:solidFill>
            <a:schemeClr val="bg1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wrap="none" lIns="75068" tIns="37534" rIns="75068" bIns="37534" anchor="ctr"/>
          <a:lstStyle/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Үниге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- Бисен - 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Сайқын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м 0-103 (52,7 км)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18,9 млрд. т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герілді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9,4 млрд. тг</a:t>
            </a:r>
            <a:endParaRPr lang="ru-RU" sz="100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өлінді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6,5 млрд. тг.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алдық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 млрд. т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ындалу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19-2023 г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ердігерлер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қ-Жол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ұрылыс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ЖШС, </a:t>
            </a:r>
          </a:p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Атырау 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олдары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ЖШС</a:t>
            </a:r>
          </a:p>
        </p:txBody>
      </p:sp>
      <p:sp>
        <p:nvSpPr>
          <p:cNvPr id="99" name="Овал 98"/>
          <p:cNvSpPr/>
          <p:nvPr/>
        </p:nvSpPr>
        <p:spPr>
          <a:xfrm>
            <a:off x="5303496" y="1112478"/>
            <a:ext cx="230025" cy="159122"/>
          </a:xfrm>
          <a:prstGeom prst="ellipse">
            <a:avLst/>
          </a:prstGeom>
          <a:solidFill>
            <a:srgbClr val="FF0000"/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68" tIns="37534" rIns="75068" bIns="37534" anchor="ctr"/>
          <a:lstStyle/>
          <a:p>
            <a:pPr algn="ctr"/>
            <a:endParaRPr lang="ru-RU"/>
          </a:p>
        </p:txBody>
      </p:sp>
      <p:sp>
        <p:nvSpPr>
          <p:cNvPr id="101" name="Rectangle 32"/>
          <p:cNvSpPr>
            <a:spLocks noChangeArrowheads="1"/>
          </p:cNvSpPr>
          <p:nvPr/>
        </p:nvSpPr>
        <p:spPr bwMode="auto">
          <a:xfrm>
            <a:off x="1" y="7622"/>
            <a:ext cx="9144000" cy="3689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60494" tIns="30247" rIns="60494" bIns="30247" anchor="ctr"/>
          <a:lstStyle/>
          <a:p>
            <a:pPr algn="ctr">
              <a:defRPr/>
            </a:pPr>
            <a:r>
              <a:rPr lang="kk-KZ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ТЫС ҚАЗАҚСТАН ОБЛЫСЫНЫҢ ЖОЛДАРЫНДАҒЫ КҮРДЕЛІ ЖӨНДЕУ</a:t>
            </a:r>
          </a:p>
        </p:txBody>
      </p:sp>
      <p:sp>
        <p:nvSpPr>
          <p:cNvPr id="105" name="AutoShape 19"/>
          <p:cNvSpPr>
            <a:spLocks noChangeArrowheads="1"/>
          </p:cNvSpPr>
          <p:nvPr/>
        </p:nvSpPr>
        <p:spPr bwMode="auto">
          <a:xfrm>
            <a:off x="117510" y="411510"/>
            <a:ext cx="2908434" cy="1389109"/>
          </a:xfrm>
          <a:prstGeom prst="roundRect">
            <a:avLst>
              <a:gd name="adj" fmla="val 11343"/>
            </a:avLst>
          </a:prstGeom>
          <a:solidFill>
            <a:schemeClr val="bg1"/>
          </a:solidFill>
          <a:ln w="12700">
            <a:solidFill>
              <a:srgbClr val="002060"/>
            </a:solidFill>
            <a:miter lim="800000"/>
            <a:headEnd/>
            <a:tailEnd/>
          </a:ln>
        </p:spPr>
        <p:txBody>
          <a:bodyPr wrap="none" lIns="75068" tIns="37534" rIns="75068" bIns="37534" anchor="ctr"/>
          <a:lstStyle/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Казталовка - 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әнібек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- РФ»</a:t>
            </a:r>
          </a:p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м 0-165 (145 км)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8 млрд. т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Игерілді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6,4 млрд. тг</a:t>
            </a:r>
          </a:p>
          <a:p>
            <a:pPr>
              <a:defRPr/>
            </a:pP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бөлінді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8,5 млрд. т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алдық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1,6 млрд. тг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ындалу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19-2023 ж.</a:t>
            </a:r>
          </a:p>
          <a:p>
            <a:pPr>
              <a:defRPr/>
            </a:pPr>
            <a:r>
              <a:rPr lang="ru-RU" sz="10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ердігерлер</a:t>
            </a:r>
            <a:r>
              <a:rPr lang="ru-RU" sz="10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Бекет Сат </a:t>
            </a:r>
            <a:r>
              <a:rPr lang="ru-RU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ЖШС</a:t>
            </a:r>
          </a:p>
          <a:p>
            <a:pPr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kk-KZ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Теміржол Жөндеу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ЖШС, «</a:t>
            </a:r>
            <a:r>
              <a:rPr lang="en-US" sz="10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Uniserv</a:t>
            </a: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» ЖШС</a:t>
            </a:r>
          </a:p>
        </p:txBody>
      </p:sp>
      <p:sp>
        <p:nvSpPr>
          <p:cNvPr id="94" name="Скругленный прямоугольник 93"/>
          <p:cNvSpPr/>
          <p:nvPr/>
        </p:nvSpPr>
        <p:spPr>
          <a:xfrm>
            <a:off x="5393877" y="2619719"/>
            <a:ext cx="3605933" cy="225568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5068" tIns="37534" rIns="75068" bIns="37534" anchor="ctr"/>
          <a:lstStyle/>
          <a:p>
            <a:pPr>
              <a:lnSpc>
                <a:spcPts val="1396"/>
              </a:lnSpc>
              <a:defRPr/>
            </a:pPr>
            <a:r>
              <a:rPr lang="ru-RU" sz="12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обалардың</a:t>
            </a: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алпы</a:t>
            </a: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қашықтығы</a:t>
            </a: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248 </a:t>
            </a: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км:</a:t>
            </a:r>
          </a:p>
          <a:p>
            <a:pPr marL="140752" indent="-140752">
              <a:lnSpc>
                <a:spcPts val="1396"/>
              </a:lnSpc>
              <a:buFont typeface="Wingdings" pitchFamily="2" charset="2"/>
              <a:buChar char="§"/>
              <a:defRPr/>
            </a:pP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Казталовка -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әнібек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- РФ  –  </a:t>
            </a:r>
            <a:r>
              <a:rPr lang="ru-RU" sz="1200" b="1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145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км</a:t>
            </a:r>
          </a:p>
          <a:p>
            <a:pPr marL="140752" indent="-140752">
              <a:lnSpc>
                <a:spcPts val="1396"/>
              </a:lnSpc>
              <a:buFont typeface="Wingdings" pitchFamily="2" charset="2"/>
              <a:buChar char="§"/>
              <a:defRPr/>
            </a:pP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Үниге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- Бисен -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Сайқын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 –  </a:t>
            </a:r>
            <a:r>
              <a:rPr lang="ru-RU" sz="1200" b="1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103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км</a:t>
            </a:r>
          </a:p>
          <a:p>
            <a:pPr>
              <a:lnSpc>
                <a:spcPts val="1396"/>
              </a:lnSpc>
              <a:defRPr/>
            </a:pP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Бюджет – </a:t>
            </a:r>
            <a:r>
              <a:rPr lang="ru-RU" sz="12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56,8</a:t>
            </a:r>
            <a:r>
              <a:rPr lang="ru-RU" sz="12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млрд.тг.: </a:t>
            </a:r>
          </a:p>
          <a:p>
            <a:pPr marL="140752" indent="-140752">
              <a:lnSpc>
                <a:spcPts val="1396"/>
              </a:lnSpc>
              <a:buFont typeface="Wingdings" pitchFamily="2" charset="2"/>
              <a:buChar char="§"/>
              <a:defRPr/>
            </a:pP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2022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ылға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дейін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игерілді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  – </a:t>
            </a:r>
            <a:r>
              <a:rPr lang="ru-RU" sz="1200" b="1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23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млрд.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тг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.</a:t>
            </a:r>
          </a:p>
          <a:p>
            <a:pPr marL="140752" indent="-140752">
              <a:lnSpc>
                <a:spcPts val="1396"/>
              </a:lnSpc>
              <a:buFont typeface="Wingdings" pitchFamily="2" charset="2"/>
              <a:buChar char="§"/>
              <a:defRPr/>
            </a:pP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2022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ылға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бөлінді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– </a:t>
            </a:r>
            <a:r>
              <a:rPr lang="ru-RU" sz="1200" b="1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15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млрд.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тг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.</a:t>
            </a:r>
          </a:p>
          <a:p>
            <a:pPr marL="140752" indent="-140752">
              <a:lnSpc>
                <a:spcPts val="1396"/>
              </a:lnSpc>
              <a:buFont typeface="Wingdings" pitchFamily="2" charset="2"/>
              <a:buChar char="§"/>
              <a:defRPr/>
            </a:pP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2023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жылға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қалдық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 – </a:t>
            </a:r>
            <a:r>
              <a:rPr lang="ru-RU" sz="1200" b="1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18,8</a:t>
            </a:r>
            <a:r>
              <a:rPr lang="ru-RU" sz="1200" i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млрд. тг.</a:t>
            </a: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107504" y="4286783"/>
            <a:ext cx="3078756" cy="57927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00206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5068" tIns="37534" rIns="75068" bIns="37534" anchor="ctr"/>
          <a:lstStyle/>
          <a:p>
            <a:pPr>
              <a:defRPr/>
            </a:pP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озғалыс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шылды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9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55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км</a:t>
            </a:r>
            <a:r>
              <a:rPr lang="ru-RU" sz="800" i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defRPr/>
            </a:pPr>
            <a:endParaRPr lang="ru-RU" sz="800" i="1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қозғалыс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ашу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жоспарланған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900" b="1" dirty="0">
                <a:ln w="1905"/>
                <a:solidFill>
                  <a:srgbClr val="00B05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itchFamily="34" charset="0"/>
                <a:cs typeface="Arial" pitchFamily="34" charset="0"/>
              </a:rPr>
              <a:t>80 </a:t>
            </a:r>
            <a:r>
              <a:rPr lang="ru-RU" sz="9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м</a:t>
            </a:r>
            <a:endParaRPr lang="ru-RU" sz="700" b="1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571500" y="2552701"/>
            <a:ext cx="158750" cy="35719"/>
          </a:xfrm>
          <a:custGeom>
            <a:avLst/>
            <a:gdLst>
              <a:gd name="connsiteX0" fmla="*/ 0 w 158750"/>
              <a:gd name="connsiteY0" fmla="*/ 0 h 47625"/>
              <a:gd name="connsiteX1" fmla="*/ 60325 w 158750"/>
              <a:gd name="connsiteY1" fmla="*/ 25400 h 47625"/>
              <a:gd name="connsiteX2" fmla="*/ 158750 w 158750"/>
              <a:gd name="connsiteY2" fmla="*/ 47625 h 4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8750" h="47625">
                <a:moveTo>
                  <a:pt x="0" y="0"/>
                </a:moveTo>
                <a:cubicBezTo>
                  <a:pt x="16933" y="8731"/>
                  <a:pt x="33867" y="17462"/>
                  <a:pt x="60325" y="25400"/>
                </a:cubicBezTo>
                <a:cubicBezTo>
                  <a:pt x="86783" y="33338"/>
                  <a:pt x="122766" y="40481"/>
                  <a:pt x="158750" y="47625"/>
                </a:cubicBez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9" name="Полилиния 88"/>
          <p:cNvSpPr/>
          <p:nvPr/>
        </p:nvSpPr>
        <p:spPr>
          <a:xfrm>
            <a:off x="549077" y="2547175"/>
            <a:ext cx="863600" cy="52388"/>
          </a:xfrm>
          <a:custGeom>
            <a:avLst/>
            <a:gdLst>
              <a:gd name="connsiteX0" fmla="*/ 0 w 863600"/>
              <a:gd name="connsiteY0" fmla="*/ 0 h 69850"/>
              <a:gd name="connsiteX1" fmla="*/ 177800 w 863600"/>
              <a:gd name="connsiteY1" fmla="*/ 57150 h 69850"/>
              <a:gd name="connsiteX2" fmla="*/ 342900 w 863600"/>
              <a:gd name="connsiteY2" fmla="*/ 69850 h 69850"/>
              <a:gd name="connsiteX3" fmla="*/ 482600 w 863600"/>
              <a:gd name="connsiteY3" fmla="*/ 57150 h 69850"/>
              <a:gd name="connsiteX4" fmla="*/ 615950 w 863600"/>
              <a:gd name="connsiteY4" fmla="*/ 31750 h 69850"/>
              <a:gd name="connsiteX5" fmla="*/ 762000 w 863600"/>
              <a:gd name="connsiteY5" fmla="*/ 12700 h 69850"/>
              <a:gd name="connsiteX6" fmla="*/ 863600 w 863600"/>
              <a:gd name="connsiteY6" fmla="*/ 19050 h 6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3600" h="69850">
                <a:moveTo>
                  <a:pt x="0" y="0"/>
                </a:moveTo>
                <a:cubicBezTo>
                  <a:pt x="60325" y="22754"/>
                  <a:pt x="120650" y="45508"/>
                  <a:pt x="177800" y="57150"/>
                </a:cubicBezTo>
                <a:cubicBezTo>
                  <a:pt x="234950" y="68792"/>
                  <a:pt x="292100" y="69850"/>
                  <a:pt x="342900" y="69850"/>
                </a:cubicBezTo>
                <a:cubicBezTo>
                  <a:pt x="393700" y="69850"/>
                  <a:pt x="437092" y="63500"/>
                  <a:pt x="482600" y="57150"/>
                </a:cubicBezTo>
                <a:cubicBezTo>
                  <a:pt x="528108" y="50800"/>
                  <a:pt x="569383" y="39158"/>
                  <a:pt x="615950" y="31750"/>
                </a:cubicBezTo>
                <a:cubicBezTo>
                  <a:pt x="662517" y="24342"/>
                  <a:pt x="720725" y="14817"/>
                  <a:pt x="762000" y="12700"/>
                </a:cubicBezTo>
                <a:cubicBezTo>
                  <a:pt x="803275" y="10583"/>
                  <a:pt x="833437" y="14816"/>
                  <a:pt x="863600" y="1905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Полилиния 4"/>
          <p:cNvSpPr/>
          <p:nvPr/>
        </p:nvSpPr>
        <p:spPr>
          <a:xfrm>
            <a:off x="1276351" y="2155031"/>
            <a:ext cx="82550" cy="4763"/>
          </a:xfrm>
          <a:custGeom>
            <a:avLst/>
            <a:gdLst>
              <a:gd name="connsiteX0" fmla="*/ 0 w 82550"/>
              <a:gd name="connsiteY0" fmla="*/ 0 h 6350"/>
              <a:gd name="connsiteX1" fmla="*/ 82550 w 82550"/>
              <a:gd name="connsiteY1" fmla="*/ 6350 h 6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2550" h="6350">
                <a:moveTo>
                  <a:pt x="0" y="0"/>
                </a:moveTo>
                <a:lnTo>
                  <a:pt x="82550" y="6350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92" name="Полилиния 91"/>
          <p:cNvSpPr/>
          <p:nvPr/>
        </p:nvSpPr>
        <p:spPr>
          <a:xfrm>
            <a:off x="918444" y="2023783"/>
            <a:ext cx="501650" cy="128588"/>
          </a:xfrm>
          <a:custGeom>
            <a:avLst/>
            <a:gdLst>
              <a:gd name="connsiteX0" fmla="*/ 501650 w 501650"/>
              <a:gd name="connsiteY0" fmla="*/ 171450 h 171450"/>
              <a:gd name="connsiteX1" fmla="*/ 171450 w 501650"/>
              <a:gd name="connsiteY1" fmla="*/ 139700 h 171450"/>
              <a:gd name="connsiteX2" fmla="*/ 0 w 501650"/>
              <a:gd name="connsiteY2" fmla="*/ 0 h 171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1650" h="171450">
                <a:moveTo>
                  <a:pt x="501650" y="171450"/>
                </a:moveTo>
                <a:cubicBezTo>
                  <a:pt x="378354" y="169862"/>
                  <a:pt x="255058" y="168275"/>
                  <a:pt x="171450" y="139700"/>
                </a:cubicBezTo>
                <a:cubicBezTo>
                  <a:pt x="87842" y="111125"/>
                  <a:pt x="27517" y="22225"/>
                  <a:pt x="0" y="0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6" name="Полилиния 5"/>
          <p:cNvSpPr/>
          <p:nvPr/>
        </p:nvSpPr>
        <p:spPr>
          <a:xfrm>
            <a:off x="1428751" y="2216945"/>
            <a:ext cx="3176" cy="54769"/>
          </a:xfrm>
          <a:custGeom>
            <a:avLst/>
            <a:gdLst>
              <a:gd name="connsiteX0" fmla="*/ 3175 w 3175"/>
              <a:gd name="connsiteY0" fmla="*/ 0 h 73025"/>
              <a:gd name="connsiteX1" fmla="*/ 0 w 3175"/>
              <a:gd name="connsiteY1" fmla="*/ 73025 h 7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75" h="73025">
                <a:moveTo>
                  <a:pt x="3175" y="0"/>
                </a:moveTo>
                <a:lnTo>
                  <a:pt x="0" y="73025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88" name="Полилиния 87"/>
          <p:cNvSpPr/>
          <p:nvPr/>
        </p:nvSpPr>
        <p:spPr>
          <a:xfrm>
            <a:off x="1411316" y="2178081"/>
            <a:ext cx="19050" cy="381000"/>
          </a:xfrm>
          <a:custGeom>
            <a:avLst/>
            <a:gdLst>
              <a:gd name="connsiteX0" fmla="*/ 19050 w 19050"/>
              <a:gd name="connsiteY0" fmla="*/ 0 h 508000"/>
              <a:gd name="connsiteX1" fmla="*/ 0 w 19050"/>
              <a:gd name="connsiteY1" fmla="*/ 508000 h 5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050" h="508000">
                <a:moveTo>
                  <a:pt x="19050" y="0"/>
                </a:moveTo>
                <a:lnTo>
                  <a:pt x="0" y="508000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>
            <a:off x="1528615" y="2128461"/>
            <a:ext cx="1" cy="102248"/>
          </a:xfrm>
          <a:prstGeom prst="line">
            <a:avLst/>
          </a:pr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олилиния 19"/>
          <p:cNvSpPr/>
          <p:nvPr/>
        </p:nvSpPr>
        <p:spPr>
          <a:xfrm>
            <a:off x="2463801" y="2090738"/>
            <a:ext cx="209551" cy="95250"/>
          </a:xfrm>
          <a:custGeom>
            <a:avLst/>
            <a:gdLst>
              <a:gd name="connsiteX0" fmla="*/ 0 w 209550"/>
              <a:gd name="connsiteY0" fmla="*/ 127000 h 127000"/>
              <a:gd name="connsiteX1" fmla="*/ 209550 w 209550"/>
              <a:gd name="connsiteY1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9550" h="127000">
                <a:moveTo>
                  <a:pt x="0" y="127000"/>
                </a:moveTo>
                <a:lnTo>
                  <a:pt x="209550" y="0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90" name="Полилиния 89"/>
          <p:cNvSpPr/>
          <p:nvPr/>
        </p:nvSpPr>
        <p:spPr>
          <a:xfrm>
            <a:off x="2450902" y="2082831"/>
            <a:ext cx="209551" cy="95250"/>
          </a:xfrm>
          <a:custGeom>
            <a:avLst/>
            <a:gdLst>
              <a:gd name="connsiteX0" fmla="*/ 0 w 209550"/>
              <a:gd name="connsiteY0" fmla="*/ 127000 h 127000"/>
              <a:gd name="connsiteX1" fmla="*/ 209550 w 209550"/>
              <a:gd name="connsiteY1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9550" h="127000">
                <a:moveTo>
                  <a:pt x="0" y="127000"/>
                </a:moveTo>
                <a:lnTo>
                  <a:pt x="209550" y="0"/>
                </a:ln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2044701" y="2157413"/>
            <a:ext cx="111125" cy="9525"/>
          </a:xfrm>
          <a:custGeom>
            <a:avLst/>
            <a:gdLst>
              <a:gd name="connsiteX0" fmla="*/ 111125 w 111125"/>
              <a:gd name="connsiteY0" fmla="*/ 12700 h 12700"/>
              <a:gd name="connsiteX1" fmla="*/ 0 w 111125"/>
              <a:gd name="connsiteY1" fmla="*/ 0 h 1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1125" h="12700">
                <a:moveTo>
                  <a:pt x="111125" y="12700"/>
                </a:moveTo>
                <a:lnTo>
                  <a:pt x="0" y="0"/>
                </a:lnTo>
              </a:path>
            </a:pathLst>
          </a:custGeom>
          <a:ln w="139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/>
          </a:p>
        </p:txBody>
      </p:sp>
      <p:sp>
        <p:nvSpPr>
          <p:cNvPr id="91" name="Полилиния 90"/>
          <p:cNvSpPr/>
          <p:nvPr/>
        </p:nvSpPr>
        <p:spPr>
          <a:xfrm>
            <a:off x="1415854" y="2147090"/>
            <a:ext cx="1041419" cy="51185"/>
          </a:xfrm>
          <a:custGeom>
            <a:avLst/>
            <a:gdLst>
              <a:gd name="connsiteX0" fmla="*/ 0 w 1041419"/>
              <a:gd name="connsiteY0" fmla="*/ 15923 h 68247"/>
              <a:gd name="connsiteX1" fmla="*/ 177800 w 1041419"/>
              <a:gd name="connsiteY1" fmla="*/ 54023 h 68247"/>
              <a:gd name="connsiteX2" fmla="*/ 260350 w 1041419"/>
              <a:gd name="connsiteY2" fmla="*/ 66723 h 68247"/>
              <a:gd name="connsiteX3" fmla="*/ 342900 w 1041419"/>
              <a:gd name="connsiteY3" fmla="*/ 22273 h 68247"/>
              <a:gd name="connsiteX4" fmla="*/ 444500 w 1041419"/>
              <a:gd name="connsiteY4" fmla="*/ 3223 h 68247"/>
              <a:gd name="connsiteX5" fmla="*/ 609600 w 1041419"/>
              <a:gd name="connsiteY5" fmla="*/ 3223 h 68247"/>
              <a:gd name="connsiteX6" fmla="*/ 895350 w 1041419"/>
              <a:gd name="connsiteY6" fmla="*/ 34973 h 68247"/>
              <a:gd name="connsiteX7" fmla="*/ 1022350 w 1041419"/>
              <a:gd name="connsiteY7" fmla="*/ 60373 h 68247"/>
              <a:gd name="connsiteX8" fmla="*/ 1041400 w 1041419"/>
              <a:gd name="connsiteY8" fmla="*/ 41323 h 68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41419" h="68247">
                <a:moveTo>
                  <a:pt x="0" y="15923"/>
                </a:moveTo>
                <a:lnTo>
                  <a:pt x="177800" y="54023"/>
                </a:lnTo>
                <a:cubicBezTo>
                  <a:pt x="221192" y="62490"/>
                  <a:pt x="232833" y="72015"/>
                  <a:pt x="260350" y="66723"/>
                </a:cubicBezTo>
                <a:cubicBezTo>
                  <a:pt x="287867" y="61431"/>
                  <a:pt x="312208" y="32856"/>
                  <a:pt x="342900" y="22273"/>
                </a:cubicBezTo>
                <a:cubicBezTo>
                  <a:pt x="373592" y="11690"/>
                  <a:pt x="400050" y="6398"/>
                  <a:pt x="444500" y="3223"/>
                </a:cubicBezTo>
                <a:cubicBezTo>
                  <a:pt x="488950" y="48"/>
                  <a:pt x="534458" y="-2069"/>
                  <a:pt x="609600" y="3223"/>
                </a:cubicBezTo>
                <a:cubicBezTo>
                  <a:pt x="684742" y="8515"/>
                  <a:pt x="826558" y="25448"/>
                  <a:pt x="895350" y="34973"/>
                </a:cubicBezTo>
                <a:cubicBezTo>
                  <a:pt x="964142" y="44498"/>
                  <a:pt x="998008" y="59315"/>
                  <a:pt x="1022350" y="60373"/>
                </a:cubicBezTo>
                <a:cubicBezTo>
                  <a:pt x="1046692" y="61431"/>
                  <a:pt x="1040342" y="44498"/>
                  <a:pt x="1041400" y="41323"/>
                </a:cubicBezTo>
              </a:path>
            </a:pathLst>
          </a:cu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5068" tIns="37534" rIns="75068" bIns="37534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86" name="Прямая со стрелкой 85"/>
          <p:cNvCxnSpPr>
            <a:stCxn id="105" idx="2"/>
          </p:cNvCxnSpPr>
          <p:nvPr/>
        </p:nvCxnSpPr>
        <p:spPr>
          <a:xfrm>
            <a:off x="1571727" y="1800619"/>
            <a:ext cx="335977" cy="269771"/>
          </a:xfrm>
          <a:prstGeom prst="straightConnector1">
            <a:avLst/>
          </a:prstGeom>
          <a:ln w="12700"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8" name="Скругленный прямоугольник 147"/>
          <p:cNvSpPr/>
          <p:nvPr/>
        </p:nvSpPr>
        <p:spPr>
          <a:xfrm>
            <a:off x="5347761" y="918808"/>
            <a:ext cx="592392" cy="17109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5068" tIns="37534" rIns="75068" bIns="37534" anchor="ctr"/>
          <a:lstStyle/>
          <a:p>
            <a:pPr algn="ctr">
              <a:defRPr/>
            </a:pPr>
            <a:r>
              <a:rPr lang="ru-RU" sz="10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рал</a:t>
            </a:r>
          </a:p>
        </p:txBody>
      </p:sp>
      <p:sp>
        <p:nvSpPr>
          <p:cNvPr id="71" name="TextBox 77">
            <a:extLst>
              <a:ext uri="{FF2B5EF4-FFF2-40B4-BE49-F238E27FC236}">
                <a16:creationId xmlns:a16="http://schemas.microsoft.com/office/drawing/2014/main" id="{A186856B-9CF9-417D-920A-5309524DCB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464" y="4922044"/>
            <a:ext cx="426493" cy="253916"/>
          </a:xfrm>
          <a:prstGeom prst="rect">
            <a:avLst/>
          </a:prstGeom>
        </p:spPr>
        <p:txBody>
          <a:bodyPr vert="horz" lIns="91336" tIns="45666" rIns="91336" bIns="45666" rtlCol="0" anchor="ctr">
            <a:noAutofit/>
          </a:bodyPr>
          <a:lstStyle>
            <a:defPPr>
              <a:defRPr lang="ru-RU"/>
            </a:defPPr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altLang="x-none" sz="1100" dirty="0"/>
              <a:t>9</a:t>
            </a:r>
            <a:endParaRPr lang="x-none" altLang="x-none" sz="1100" dirty="0"/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2321" y="328869"/>
            <a:ext cx="9144000" cy="0"/>
          </a:xfrm>
          <a:prstGeom prst="line">
            <a:avLst/>
          </a:prstGeom>
          <a:ln w="222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9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o0O8Wqv9YDQ7RU4_GpK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92</TotalTime>
  <Words>2881</Words>
  <Application>Microsoft Office PowerPoint</Application>
  <PresentationFormat>Экран (16:9)</PresentationFormat>
  <Paragraphs>750</Paragraphs>
  <Slides>18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5" baseType="lpstr">
      <vt:lpstr>맑은 고딕</vt:lpstr>
      <vt:lpstr>MS PGothic</vt:lpstr>
      <vt:lpstr>Agency FB</vt:lpstr>
      <vt:lpstr>Amatic SC</vt:lpstr>
      <vt:lpstr>Aparajita</vt:lpstr>
      <vt:lpstr>Arial</vt:lpstr>
      <vt:lpstr>Arial Black</vt:lpstr>
      <vt:lpstr>Arial Narrow</vt:lpstr>
      <vt:lpstr>Calibri</vt:lpstr>
      <vt:lpstr>Franklin Gothic Medium Cond</vt:lpstr>
      <vt:lpstr>Impact</vt:lpstr>
      <vt:lpstr>Tahoma</vt:lpstr>
      <vt:lpstr>Times New Roman</vt:lpstr>
      <vt:lpstr>Verdana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Зейнолла Ахметжанов</dc:creator>
  <cp:lastModifiedBy>Operator Mazhilis</cp:lastModifiedBy>
  <cp:revision>736</cp:revision>
  <cp:lastPrinted>2022-10-13T07:33:39Z</cp:lastPrinted>
  <dcterms:created xsi:type="dcterms:W3CDTF">2021-01-18T03:59:53Z</dcterms:created>
  <dcterms:modified xsi:type="dcterms:W3CDTF">2022-10-15T05:56:45Z</dcterms:modified>
</cp:coreProperties>
</file>